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svg" ContentType="image/svg"/>
  <Default Extension="gif" ContentType="image/gif"/>
  <Override PartName="/customXml/item1.xml" ContentType="application/xml"/>
  <Override PartName="/customXml/item2.xml" ContentType="application/xml"/>
  <Override PartName="/customXml/item3.xml" ContentType="application/xml"/>
  <Override PartName="/customXml/item4.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&#65279;<?xml version="1.0" encoding="utf-8" standalone="yes"?><Relationships xmlns="http://schemas.openxmlformats.org/package/2006/relationships"><Relationship Id="rId1" Type="http://schemas.openxmlformats.org/officeDocument/2006/relationships/officeDocument" Target="ppt/presentation.xml" /><Relationship Id="rId2" Type="http://schemas.openxmlformats.org/package/2006/relationships/metadata/core-properties" Target="docProps/core.xml" /><Relationship Id="rId3" Type="http://schemas.openxmlformats.org/officeDocument/2006/relationships/extended-properties" Target="docProps/app.xml" /><Relationship Id="rId4" Type="http://schemas.openxmlformats.org/package/2006/relationships/metadata/thumbnail" Target="docProps/thumbnail.jpeg" /><Relationship Id="rId5" Type="http://schemas.openxmlformats.org/officeDocument/2006/relationships/custom-properties" Target="docProps/custom.xml" /></Relationships>
</file>

<file path=ppt/presentation.xml><?xml version="1.0" encoding="utf-8"?>
<!--Generated by Aspose.Slides for .NET 21.3-->
<p:presentation xmlns:r="http://schemas.openxmlformats.org/officeDocument/2006/relationships" xmlns:a="http://schemas.openxmlformats.org/drawingml/2006/main" xmlns:p="http://schemas.openxmlformats.org/presentationml/2006/main" showSpecialPlsOnTitleSld="0" removePersonalInfoOnSave="1" saveSubsetFonts="1">
  <p:sldMasterIdLst>
    <p:sldMasterId id="2147483648" r:id="rId6"/>
    <p:sldMasterId id="2147483681" r:id="rId7"/>
  </p:sldMasterIdLst>
  <p:notesMasterIdLst>
    <p:notesMasterId r:id="rId8"/>
  </p:notesMasterIdLst>
  <p:handoutMasterIdLst>
    <p:handoutMasterId r:id="rId9"/>
  </p:handoutMasterIdLst>
  <p:sldIdLst>
    <p:sldId id="300" r:id="rId10"/>
    <p:sldId id="441" r:id="rId11"/>
    <p:sldId id="290" r:id="rId12"/>
    <p:sldId id="353" r:id="rId13"/>
    <p:sldId id="354" r:id="rId14"/>
    <p:sldId id="323" r:id="rId15"/>
    <p:sldId id="355" r:id="rId16"/>
    <p:sldId id="327" r:id="rId17"/>
    <p:sldId id="330" r:id="rId18"/>
    <p:sldId id="370" r:id="rId19"/>
    <p:sldId id="372" r:id="rId20"/>
    <p:sldId id="331" r:id="rId21"/>
    <p:sldId id="374" r:id="rId22"/>
    <p:sldId id="376" r:id="rId23"/>
    <p:sldId id="365" r:id="rId24"/>
    <p:sldId id="435" r:id="rId25"/>
    <p:sldId id="377" r:id="rId26"/>
    <p:sldId id="356" r:id="rId27"/>
    <p:sldId id="423" r:id="rId28"/>
    <p:sldId id="424" r:id="rId29"/>
    <p:sldId id="425" r:id="rId30"/>
    <p:sldId id="426" r:id="rId31"/>
    <p:sldId id="427" r:id="rId32"/>
    <p:sldId id="428" r:id="rId33"/>
    <p:sldId id="429" r:id="rId34"/>
    <p:sldId id="430" r:id="rId35"/>
    <p:sldId id="431" r:id="rId36"/>
    <p:sldId id="351" r:id="rId37"/>
    <p:sldId id="432" r:id="rId38"/>
    <p:sldId id="283" r:id="rId39"/>
    <p:sldId id="366" r:id="rId40"/>
    <p:sldId id="367" r:id="rId41"/>
    <p:sldId id="434" r:id="rId42"/>
    <p:sldId id="358" r:id="rId43"/>
    <p:sldId id="437" r:id="rId44"/>
    <p:sldId id="438" r:id="rId45"/>
    <p:sldId id="439" r:id="rId46"/>
    <p:sldId id="436" r:id="rId47"/>
    <p:sldId id="591" r:id="rId48"/>
    <p:sldId id="592" r:id="rId49"/>
    <p:sldId id="524" r:id="rId50"/>
    <p:sldId id="340" r:id="rId51"/>
  </p:sldIdLst>
  <p:sldSz cx="12192000" cy="6858000"/>
  <p:notesSz cx="7010400" cy="9296400"/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1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p="http://schemas.openxmlformats.org/presentationml/2006/main">
  <p:cmAuthor id="2" name="Author" initials="A" lastIdx="0" clrIdx="1"/>
</p:cmAuthorLst>
</file>

<file path=ppt/presProps.xml><?xml version="1.0" encoding="utf-8"?>
<p:presentationPr xmlns:r="http://schemas.openxmlformats.org/officeDocument/2006/relationships" xmlns:a="http://schemas.openxmlformats.org/drawingml/2006/main" xmlns:p="http://schemas.openxmlformats.org/presentationml/2006/main"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0"/>
    </p:ext>
  </p:extLst>
</p:presentationPr>
</file>

<file path=ppt/tableStyles.xml><?xml version="1.0" encoding="utf-8"?>
<a:tblStyleLst xmlns:r="http://schemas.openxmlformats.org/officeDocument/2006/relationships"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81" autoAdjust="0"/>
    <p:restoredTop sz="95428" autoAdjust="0"/>
  </p:normalViewPr>
  <p:slideViewPr>
    <p:cSldViewPr snapToGrid="0">
      <p:cViewPr varScale="1">
        <p:scale>
          <a:sx n="100" d="100"/>
          <a:sy n="100" d="100"/>
        </p:scale>
        <p:origin x="342" y="90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3654"/>
    </p:cViewPr>
  </p:sorterViewPr>
  <p:notesViewPr>
    <p:cSldViewPr snapToGrid="0">
      <p:cViewPr varScale="1">
        <p:scale>
          <a:sx n="83" d="100"/>
          <a:sy n="83" d="100"/>
        </p:scale>
        <p:origin x="2628" y="90"/>
      </p:cViewPr>
      <p:guideLst/>
    </p:cSldViewPr>
  </p:notesViewPr>
  <p:gridSpacing cx="76200" cy="76200"/>
</p:viewPr>
</file>

<file path=ppt/_rels/presentation.xml.rels>&#65279;<?xml version="1.0" encoding="utf-8" standalone="yes"?><Relationships xmlns="http://schemas.openxmlformats.org/package/2006/relationships"><Relationship Id="rId1" Type="http://schemas.openxmlformats.org/officeDocument/2006/relationships/customXml" Target="../customXml/item1.xml" /><Relationship Id="rId10" Type="http://schemas.openxmlformats.org/officeDocument/2006/relationships/slide" Target="slides/slide1.xml" /><Relationship Id="rId11" Type="http://schemas.openxmlformats.org/officeDocument/2006/relationships/slide" Target="slides/slide2.xml" /><Relationship Id="rId12" Type="http://schemas.openxmlformats.org/officeDocument/2006/relationships/slide" Target="slides/slide3.xml" /><Relationship Id="rId13" Type="http://schemas.openxmlformats.org/officeDocument/2006/relationships/slide" Target="slides/slide4.xml" /><Relationship Id="rId14" Type="http://schemas.openxmlformats.org/officeDocument/2006/relationships/slide" Target="slides/slide5.xml" /><Relationship Id="rId15" Type="http://schemas.openxmlformats.org/officeDocument/2006/relationships/slide" Target="slides/slide6.xml" /><Relationship Id="rId16" Type="http://schemas.openxmlformats.org/officeDocument/2006/relationships/slide" Target="slides/slide7.xml" /><Relationship Id="rId17" Type="http://schemas.openxmlformats.org/officeDocument/2006/relationships/slide" Target="slides/slide8.xml" /><Relationship Id="rId18" Type="http://schemas.openxmlformats.org/officeDocument/2006/relationships/slide" Target="slides/slide9.xml" /><Relationship Id="rId19" Type="http://schemas.openxmlformats.org/officeDocument/2006/relationships/slide" Target="slides/slide10.xml" /><Relationship Id="rId2" Type="http://schemas.openxmlformats.org/officeDocument/2006/relationships/customXml" Target="../customXml/item2.xml" /><Relationship Id="rId20" Type="http://schemas.openxmlformats.org/officeDocument/2006/relationships/slide" Target="slides/slide11.xml" /><Relationship Id="rId21" Type="http://schemas.openxmlformats.org/officeDocument/2006/relationships/slide" Target="slides/slide12.xml" /><Relationship Id="rId22" Type="http://schemas.openxmlformats.org/officeDocument/2006/relationships/slide" Target="slides/slide13.xml" /><Relationship Id="rId23" Type="http://schemas.openxmlformats.org/officeDocument/2006/relationships/slide" Target="slides/slide14.xml" /><Relationship Id="rId24" Type="http://schemas.openxmlformats.org/officeDocument/2006/relationships/slide" Target="slides/slide15.xml" /><Relationship Id="rId25" Type="http://schemas.openxmlformats.org/officeDocument/2006/relationships/slide" Target="slides/slide16.xml" /><Relationship Id="rId26" Type="http://schemas.openxmlformats.org/officeDocument/2006/relationships/slide" Target="slides/slide17.xml" /><Relationship Id="rId27" Type="http://schemas.openxmlformats.org/officeDocument/2006/relationships/slide" Target="slides/slide18.xml" /><Relationship Id="rId28" Type="http://schemas.openxmlformats.org/officeDocument/2006/relationships/slide" Target="slides/slide19.xml" /><Relationship Id="rId29" Type="http://schemas.openxmlformats.org/officeDocument/2006/relationships/slide" Target="slides/slide20.xml" /><Relationship Id="rId3" Type="http://schemas.openxmlformats.org/officeDocument/2006/relationships/customXml" Target="../customXml/item3.xml" /><Relationship Id="rId30" Type="http://schemas.openxmlformats.org/officeDocument/2006/relationships/slide" Target="slides/slide21.xml" /><Relationship Id="rId31" Type="http://schemas.openxmlformats.org/officeDocument/2006/relationships/slide" Target="slides/slide22.xml" /><Relationship Id="rId32" Type="http://schemas.openxmlformats.org/officeDocument/2006/relationships/slide" Target="slides/slide23.xml" /><Relationship Id="rId33" Type="http://schemas.openxmlformats.org/officeDocument/2006/relationships/slide" Target="slides/slide24.xml" /><Relationship Id="rId34" Type="http://schemas.openxmlformats.org/officeDocument/2006/relationships/slide" Target="slides/slide25.xml" /><Relationship Id="rId35" Type="http://schemas.openxmlformats.org/officeDocument/2006/relationships/slide" Target="slides/slide26.xml" /><Relationship Id="rId36" Type="http://schemas.openxmlformats.org/officeDocument/2006/relationships/slide" Target="slides/slide27.xml" /><Relationship Id="rId37" Type="http://schemas.openxmlformats.org/officeDocument/2006/relationships/slide" Target="slides/slide28.xml" /><Relationship Id="rId38" Type="http://schemas.openxmlformats.org/officeDocument/2006/relationships/slide" Target="slides/slide29.xml" /><Relationship Id="rId39" Type="http://schemas.openxmlformats.org/officeDocument/2006/relationships/slide" Target="slides/slide30.xml" /><Relationship Id="rId4" Type="http://schemas.openxmlformats.org/officeDocument/2006/relationships/customXml" Target="../customXml/item4.xml" /><Relationship Id="rId40" Type="http://schemas.openxmlformats.org/officeDocument/2006/relationships/slide" Target="slides/slide31.xml" /><Relationship Id="rId41" Type="http://schemas.openxmlformats.org/officeDocument/2006/relationships/slide" Target="slides/slide32.xml" /><Relationship Id="rId42" Type="http://schemas.openxmlformats.org/officeDocument/2006/relationships/slide" Target="slides/slide33.xml" /><Relationship Id="rId43" Type="http://schemas.openxmlformats.org/officeDocument/2006/relationships/slide" Target="slides/slide34.xml" /><Relationship Id="rId44" Type="http://schemas.openxmlformats.org/officeDocument/2006/relationships/slide" Target="slides/slide35.xml" /><Relationship Id="rId45" Type="http://schemas.openxmlformats.org/officeDocument/2006/relationships/slide" Target="slides/slide36.xml" /><Relationship Id="rId46" Type="http://schemas.openxmlformats.org/officeDocument/2006/relationships/slide" Target="slides/slide37.xml" /><Relationship Id="rId47" Type="http://schemas.openxmlformats.org/officeDocument/2006/relationships/slide" Target="slides/slide38.xml" /><Relationship Id="rId48" Type="http://schemas.openxmlformats.org/officeDocument/2006/relationships/slide" Target="slides/slide39.xml" /><Relationship Id="rId49" Type="http://schemas.openxmlformats.org/officeDocument/2006/relationships/slide" Target="slides/slide40.xml" /><Relationship Id="rId5" Type="http://schemas.openxmlformats.org/officeDocument/2006/relationships/commentAuthors" Target="commentAuthors.xml" /><Relationship Id="rId50" Type="http://schemas.openxmlformats.org/officeDocument/2006/relationships/slide" Target="slides/slide41.xml" /><Relationship Id="rId51" Type="http://schemas.openxmlformats.org/officeDocument/2006/relationships/slide" Target="slides/slide42.xml" /><Relationship Id="rId52" Type="http://schemas.openxmlformats.org/officeDocument/2006/relationships/tags" Target="tags/tag851.xml" /><Relationship Id="rId53" Type="http://schemas.openxmlformats.org/officeDocument/2006/relationships/presProps" Target="presProps.xml" /><Relationship Id="rId54" Type="http://schemas.openxmlformats.org/officeDocument/2006/relationships/viewProps" Target="viewProps.xml" /><Relationship Id="rId55" Type="http://schemas.openxmlformats.org/officeDocument/2006/relationships/theme" Target="theme/theme1.xml" /><Relationship Id="rId56" Type="http://schemas.openxmlformats.org/officeDocument/2006/relationships/tableStyles" Target="tableStyles.xml" /><Relationship Id="rId6" Type="http://schemas.openxmlformats.org/officeDocument/2006/relationships/slideMaster" Target="slideMasters/slideMaster1.xml" /><Relationship Id="rId7" Type="http://schemas.openxmlformats.org/officeDocument/2006/relationships/slideMaster" Target="slideMasters/slideMaster2.xml" /><Relationship Id="rId8" Type="http://schemas.openxmlformats.org/officeDocument/2006/relationships/notesMaster" Target="notesMasters/notesMaster1.xml" /><Relationship Id="rId9" Type="http://schemas.openxmlformats.org/officeDocument/2006/relationships/handoutMaster" Target="handoutMasters/handoutMaster1.xml" /></Relationships>
</file>

<file path=ppt/drawings/_rels/vmlDrawing1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5.emf" /></Relationships>
</file>

<file path=ppt/drawings/_rels/vmlDrawing2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5.emf" /></Relationships>
</file>

<file path=ppt/handoutMasters/_rels/handoutMaster1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517.xml" /><Relationship Id="rId2" Type="http://schemas.openxmlformats.org/officeDocument/2006/relationships/tags" Target="../tags/tag518.xml" /><Relationship Id="rId3" Type="http://schemas.openxmlformats.org/officeDocument/2006/relationships/tags" Target="../tags/tag519.xml" /><Relationship Id="rId4" Type="http://schemas.openxmlformats.org/officeDocument/2006/relationships/tags" Target="../tags/tag520.xml" /><Relationship Id="rId5" Type="http://schemas.openxmlformats.org/officeDocument/2006/relationships/tags" Target="../tags/tag521.xml" /><Relationship Id="rId6" Type="http://schemas.openxmlformats.org/officeDocument/2006/relationships/theme" Target="../theme/theme4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2F7A84F-E231-42BE-A9F8-B5131853C839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B813BC-9E49-4ABB-A3C3-CEE0885B0275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8EBDBEE-1FDA-4F57-947F-5759FA6ABC55}" type="datetimeFigureOut">
              <a:rPr lang="en-US" smtClean="0"/>
              <a:t>1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ADFF29-9BE4-4CDF-A198-BBEE303F0EBB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D4AFC6-5A97-4417-A16A-485E5801A6EA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FA8C659-3DDB-48CB-A056-6A658A161B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7677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510.xml" /><Relationship Id="rId2" Type="http://schemas.openxmlformats.org/officeDocument/2006/relationships/tags" Target="../tags/tag511.xml" /><Relationship Id="rId3" Type="http://schemas.openxmlformats.org/officeDocument/2006/relationships/tags" Target="../tags/tag512.xml" /><Relationship Id="rId4" Type="http://schemas.openxmlformats.org/officeDocument/2006/relationships/tags" Target="../tags/tag513.xml" /><Relationship Id="rId5" Type="http://schemas.openxmlformats.org/officeDocument/2006/relationships/tags" Target="../tags/tag514.xml" /><Relationship Id="rId6" Type="http://schemas.openxmlformats.org/officeDocument/2006/relationships/tags" Target="../tags/tag515.xml" /><Relationship Id="rId7" Type="http://schemas.openxmlformats.org/officeDocument/2006/relationships/tags" Target="../tags/tag516.xml" /><Relationship Id="rId8" Type="http://schemas.openxmlformats.org/officeDocument/2006/relationships/theme" Target="../theme/theme3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B16A9CD-5E57-4C86-B862-09CA519924BA}" type="datetimeFigureOut">
              <a:rPr lang="en-US" smtClean="0"/>
              <a:t>1/2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CA004F4-F240-48F9-8AE1-486585C7F0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8810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522.xml" /><Relationship Id="rId4" Type="http://schemas.openxmlformats.org/officeDocument/2006/relationships/tags" Target="../tags/tag523.xml" /><Relationship Id="rId5" Type="http://schemas.openxmlformats.org/officeDocument/2006/relationships/tags" Target="../tags/tag524.xml" /><Relationship Id="rId6" Type="http://schemas.openxmlformats.org/officeDocument/2006/relationships/tags" Target="../tags/tag525.xml" /></Relationships>
</file>

<file path=ppt/notesSlides/_rels/notesSlide10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0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598.xml" /><Relationship Id="rId4" Type="http://schemas.openxmlformats.org/officeDocument/2006/relationships/tags" Target="../tags/tag599.xml" /><Relationship Id="rId5" Type="http://schemas.openxmlformats.org/officeDocument/2006/relationships/tags" Target="../tags/tag600.xml" /><Relationship Id="rId6" Type="http://schemas.openxmlformats.org/officeDocument/2006/relationships/tags" Target="../tags/tag601.xml" /></Relationships>
</file>

<file path=ppt/notesSlides/_rels/notesSlide11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1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05.xml" /><Relationship Id="rId4" Type="http://schemas.openxmlformats.org/officeDocument/2006/relationships/tags" Target="../tags/tag606.xml" /><Relationship Id="rId5" Type="http://schemas.openxmlformats.org/officeDocument/2006/relationships/tags" Target="../tags/tag607.xml" /><Relationship Id="rId6" Type="http://schemas.openxmlformats.org/officeDocument/2006/relationships/tags" Target="../tags/tag608.xml" /></Relationships>
</file>

<file path=ppt/notesSlides/_rels/notesSlide12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2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12.xml" /><Relationship Id="rId4" Type="http://schemas.openxmlformats.org/officeDocument/2006/relationships/tags" Target="../tags/tag613.xml" /><Relationship Id="rId5" Type="http://schemas.openxmlformats.org/officeDocument/2006/relationships/tags" Target="../tags/tag614.xml" /><Relationship Id="rId6" Type="http://schemas.openxmlformats.org/officeDocument/2006/relationships/tags" Target="../tags/tag615.xml" /></Relationships>
</file>

<file path=ppt/notesSlides/_rels/notesSlide13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3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19.xml" /><Relationship Id="rId4" Type="http://schemas.openxmlformats.org/officeDocument/2006/relationships/tags" Target="../tags/tag620.xml" /><Relationship Id="rId5" Type="http://schemas.openxmlformats.org/officeDocument/2006/relationships/tags" Target="../tags/tag621.xml" /><Relationship Id="rId6" Type="http://schemas.openxmlformats.org/officeDocument/2006/relationships/tags" Target="../tags/tag622.xml" /></Relationships>
</file>

<file path=ppt/notesSlides/_rels/notesSlide14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4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26.xml" /><Relationship Id="rId4" Type="http://schemas.openxmlformats.org/officeDocument/2006/relationships/tags" Target="../tags/tag627.xml" /><Relationship Id="rId5" Type="http://schemas.openxmlformats.org/officeDocument/2006/relationships/tags" Target="../tags/tag628.xml" /><Relationship Id="rId6" Type="http://schemas.openxmlformats.org/officeDocument/2006/relationships/tags" Target="../tags/tag629.xml" /></Relationships>
</file>

<file path=ppt/notesSlides/_rels/notesSlide15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5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34.xml" /><Relationship Id="rId4" Type="http://schemas.openxmlformats.org/officeDocument/2006/relationships/tags" Target="../tags/tag635.xml" /><Relationship Id="rId5" Type="http://schemas.openxmlformats.org/officeDocument/2006/relationships/tags" Target="../tags/tag636.xml" /><Relationship Id="rId6" Type="http://schemas.openxmlformats.org/officeDocument/2006/relationships/tags" Target="../tags/tag637.xml" /></Relationships>
</file>

<file path=ppt/notesSlides/_rels/notesSlide16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6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41.xml" /><Relationship Id="rId4" Type="http://schemas.openxmlformats.org/officeDocument/2006/relationships/tags" Target="../tags/tag642.xml" /><Relationship Id="rId5" Type="http://schemas.openxmlformats.org/officeDocument/2006/relationships/tags" Target="../tags/tag643.xml" /><Relationship Id="rId6" Type="http://schemas.openxmlformats.org/officeDocument/2006/relationships/tags" Target="../tags/tag644.xml" /></Relationships>
</file>

<file path=ppt/notesSlides/_rels/notesSlide17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7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49.xml" /><Relationship Id="rId4" Type="http://schemas.openxmlformats.org/officeDocument/2006/relationships/tags" Target="../tags/tag650.xml" /><Relationship Id="rId5" Type="http://schemas.openxmlformats.org/officeDocument/2006/relationships/tags" Target="../tags/tag651.xml" /><Relationship Id="rId6" Type="http://schemas.openxmlformats.org/officeDocument/2006/relationships/tags" Target="../tags/tag652.xml" /></Relationships>
</file>

<file path=ppt/notesSlides/_rels/notesSlide18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8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57.xml" /><Relationship Id="rId4" Type="http://schemas.openxmlformats.org/officeDocument/2006/relationships/tags" Target="../tags/tag658.xml" /><Relationship Id="rId5" Type="http://schemas.openxmlformats.org/officeDocument/2006/relationships/tags" Target="../tags/tag659.xml" /><Relationship Id="rId6" Type="http://schemas.openxmlformats.org/officeDocument/2006/relationships/tags" Target="../tags/tag660.xml" /></Relationships>
</file>

<file path=ppt/notesSlides/_rels/notesSlide19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9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64.xml" /><Relationship Id="rId4" Type="http://schemas.openxmlformats.org/officeDocument/2006/relationships/tags" Target="../tags/tag665.xml" /><Relationship Id="rId5" Type="http://schemas.openxmlformats.org/officeDocument/2006/relationships/tags" Target="../tags/tag666.xml" /></Relationships>
</file>

<file path=ppt/notesSlides/_rels/notesSlide2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531.xml" /><Relationship Id="rId4" Type="http://schemas.openxmlformats.org/officeDocument/2006/relationships/tags" Target="../tags/tag532.xml" /><Relationship Id="rId5" Type="http://schemas.openxmlformats.org/officeDocument/2006/relationships/tags" Target="../tags/tag533.xml" /><Relationship Id="rId6" Type="http://schemas.openxmlformats.org/officeDocument/2006/relationships/tags" Target="../tags/tag534.xml" /></Relationships>
</file>

<file path=ppt/notesSlides/_rels/notesSlide20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0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70.xml" /><Relationship Id="rId4" Type="http://schemas.openxmlformats.org/officeDocument/2006/relationships/tags" Target="../tags/tag671.xml" /><Relationship Id="rId5" Type="http://schemas.openxmlformats.org/officeDocument/2006/relationships/tags" Target="../tags/tag672.xml" /><Relationship Id="rId6" Type="http://schemas.openxmlformats.org/officeDocument/2006/relationships/tags" Target="../tags/tag673.xml" /></Relationships>
</file>

<file path=ppt/notesSlides/_rels/notesSlide21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1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78.xml" /><Relationship Id="rId4" Type="http://schemas.openxmlformats.org/officeDocument/2006/relationships/tags" Target="../tags/tag679.xml" /><Relationship Id="rId5" Type="http://schemas.openxmlformats.org/officeDocument/2006/relationships/tags" Target="../tags/tag680.xml" /><Relationship Id="rId6" Type="http://schemas.openxmlformats.org/officeDocument/2006/relationships/tags" Target="../tags/tag681.xml" /></Relationships>
</file>

<file path=ppt/notesSlides/_rels/notesSlide22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2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86.xml" /><Relationship Id="rId4" Type="http://schemas.openxmlformats.org/officeDocument/2006/relationships/tags" Target="../tags/tag687.xml" /><Relationship Id="rId5" Type="http://schemas.openxmlformats.org/officeDocument/2006/relationships/tags" Target="../tags/tag688.xml" /><Relationship Id="rId6" Type="http://schemas.openxmlformats.org/officeDocument/2006/relationships/tags" Target="../tags/tag689.xml" /></Relationships>
</file>

<file path=ppt/notesSlides/_rels/notesSlide23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3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94.xml" /><Relationship Id="rId4" Type="http://schemas.openxmlformats.org/officeDocument/2006/relationships/tags" Target="../tags/tag695.xml" /><Relationship Id="rId5" Type="http://schemas.openxmlformats.org/officeDocument/2006/relationships/tags" Target="../tags/tag696.xml" /><Relationship Id="rId6" Type="http://schemas.openxmlformats.org/officeDocument/2006/relationships/tags" Target="../tags/tag697.xml" /></Relationships>
</file>

<file path=ppt/notesSlides/_rels/notesSlide24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4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02.xml" /><Relationship Id="rId4" Type="http://schemas.openxmlformats.org/officeDocument/2006/relationships/tags" Target="../tags/tag703.xml" /><Relationship Id="rId5" Type="http://schemas.openxmlformats.org/officeDocument/2006/relationships/tags" Target="../tags/tag704.xml" /><Relationship Id="rId6" Type="http://schemas.openxmlformats.org/officeDocument/2006/relationships/tags" Target="../tags/tag705.xml" /></Relationships>
</file>

<file path=ppt/notesSlides/_rels/notesSlide25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5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10.xml" /><Relationship Id="rId4" Type="http://schemas.openxmlformats.org/officeDocument/2006/relationships/tags" Target="../tags/tag711.xml" /><Relationship Id="rId5" Type="http://schemas.openxmlformats.org/officeDocument/2006/relationships/tags" Target="../tags/tag712.xml" /><Relationship Id="rId6" Type="http://schemas.openxmlformats.org/officeDocument/2006/relationships/tags" Target="../tags/tag713.xml" /></Relationships>
</file>

<file path=ppt/notesSlides/_rels/notesSlide26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6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18.xml" /><Relationship Id="rId4" Type="http://schemas.openxmlformats.org/officeDocument/2006/relationships/tags" Target="../tags/tag719.xml" /><Relationship Id="rId5" Type="http://schemas.openxmlformats.org/officeDocument/2006/relationships/tags" Target="../tags/tag720.xml" /><Relationship Id="rId6" Type="http://schemas.openxmlformats.org/officeDocument/2006/relationships/tags" Target="../tags/tag721.xml" /></Relationships>
</file>

<file path=ppt/notesSlides/_rels/notesSlide27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7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26.xml" /><Relationship Id="rId4" Type="http://schemas.openxmlformats.org/officeDocument/2006/relationships/tags" Target="../tags/tag727.xml" /><Relationship Id="rId5" Type="http://schemas.openxmlformats.org/officeDocument/2006/relationships/tags" Target="../tags/tag728.xml" /><Relationship Id="rId6" Type="http://schemas.openxmlformats.org/officeDocument/2006/relationships/tags" Target="../tags/tag729.xml" /></Relationships>
</file>

<file path=ppt/notesSlides/_rels/notesSlide28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8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34.xml" /><Relationship Id="rId4" Type="http://schemas.openxmlformats.org/officeDocument/2006/relationships/tags" Target="../tags/tag735.xml" /><Relationship Id="rId5" Type="http://schemas.openxmlformats.org/officeDocument/2006/relationships/tags" Target="../tags/tag736.xml" /><Relationship Id="rId6" Type="http://schemas.openxmlformats.org/officeDocument/2006/relationships/tags" Target="../tags/tag737.xml" /></Relationships>
</file>

<file path=ppt/notesSlides/_rels/notesSlide29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9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41.xml" /><Relationship Id="rId4" Type="http://schemas.openxmlformats.org/officeDocument/2006/relationships/tags" Target="../tags/tag742.xml" /><Relationship Id="rId5" Type="http://schemas.openxmlformats.org/officeDocument/2006/relationships/tags" Target="../tags/tag743.xml" /><Relationship Id="rId6" Type="http://schemas.openxmlformats.org/officeDocument/2006/relationships/tags" Target="../tags/tag744.xml" /></Relationships>
</file>

<file path=ppt/notesSlides/_rels/notesSlide3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547.xml" /><Relationship Id="rId4" Type="http://schemas.openxmlformats.org/officeDocument/2006/relationships/tags" Target="../tags/tag548.xml" /><Relationship Id="rId5" Type="http://schemas.openxmlformats.org/officeDocument/2006/relationships/tags" Target="../tags/tag549.xml" /><Relationship Id="rId6" Type="http://schemas.openxmlformats.org/officeDocument/2006/relationships/tags" Target="../tags/tag550.xml" /></Relationships>
</file>

<file path=ppt/notesSlides/_rels/notesSlide30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0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49.xml" /><Relationship Id="rId4" Type="http://schemas.openxmlformats.org/officeDocument/2006/relationships/tags" Target="../tags/tag750.xml" /><Relationship Id="rId5" Type="http://schemas.openxmlformats.org/officeDocument/2006/relationships/tags" Target="../tags/tag751.xml" /><Relationship Id="rId6" Type="http://schemas.openxmlformats.org/officeDocument/2006/relationships/tags" Target="../tags/tag752.xml" /></Relationships>
</file>

<file path=ppt/notesSlides/_rels/notesSlide31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1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56.xml" /><Relationship Id="rId4" Type="http://schemas.openxmlformats.org/officeDocument/2006/relationships/tags" Target="../tags/tag757.xml" /><Relationship Id="rId5" Type="http://schemas.openxmlformats.org/officeDocument/2006/relationships/tags" Target="../tags/tag758.xml" /><Relationship Id="rId6" Type="http://schemas.openxmlformats.org/officeDocument/2006/relationships/tags" Target="../tags/tag759.xml" /></Relationships>
</file>

<file path=ppt/notesSlides/_rels/notesSlide32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2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63.xml" /><Relationship Id="rId4" Type="http://schemas.openxmlformats.org/officeDocument/2006/relationships/tags" Target="../tags/tag764.xml" /><Relationship Id="rId5" Type="http://schemas.openxmlformats.org/officeDocument/2006/relationships/tags" Target="../tags/tag765.xml" /><Relationship Id="rId6" Type="http://schemas.openxmlformats.org/officeDocument/2006/relationships/tags" Target="../tags/tag766.xml" /></Relationships>
</file>

<file path=ppt/notesSlides/_rels/notesSlide33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3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70.xml" /><Relationship Id="rId4" Type="http://schemas.openxmlformats.org/officeDocument/2006/relationships/tags" Target="../tags/tag771.xml" /><Relationship Id="rId5" Type="http://schemas.openxmlformats.org/officeDocument/2006/relationships/tags" Target="../tags/tag772.xml" /><Relationship Id="rId6" Type="http://schemas.openxmlformats.org/officeDocument/2006/relationships/tags" Target="../tags/tag773.xml" /></Relationships>
</file>

<file path=ppt/notesSlides/_rels/notesSlide34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4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77.xml" /><Relationship Id="rId4" Type="http://schemas.openxmlformats.org/officeDocument/2006/relationships/tags" Target="../tags/tag778.xml" /><Relationship Id="rId5" Type="http://schemas.openxmlformats.org/officeDocument/2006/relationships/tags" Target="../tags/tag779.xml" /><Relationship Id="rId6" Type="http://schemas.openxmlformats.org/officeDocument/2006/relationships/tags" Target="../tags/tag780.xml" /></Relationships>
</file>

<file path=ppt/notesSlides/_rels/notesSlide35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5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84.xml" /><Relationship Id="rId4" Type="http://schemas.openxmlformats.org/officeDocument/2006/relationships/tags" Target="../tags/tag785.xml" /><Relationship Id="rId5" Type="http://schemas.openxmlformats.org/officeDocument/2006/relationships/tags" Target="../tags/tag786.xml" /><Relationship Id="rId6" Type="http://schemas.openxmlformats.org/officeDocument/2006/relationships/tags" Target="../tags/tag787.xml" /></Relationships>
</file>

<file path=ppt/notesSlides/_rels/notesSlide36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6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92.xml" /><Relationship Id="rId4" Type="http://schemas.openxmlformats.org/officeDocument/2006/relationships/tags" Target="../tags/tag793.xml" /><Relationship Id="rId5" Type="http://schemas.openxmlformats.org/officeDocument/2006/relationships/tags" Target="../tags/tag794.xml" /><Relationship Id="rId6" Type="http://schemas.openxmlformats.org/officeDocument/2006/relationships/tags" Target="../tags/tag795.xml" /></Relationships>
</file>

<file path=ppt/notesSlides/_rels/notesSlide37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7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800.xml" /><Relationship Id="rId4" Type="http://schemas.openxmlformats.org/officeDocument/2006/relationships/tags" Target="../tags/tag801.xml" /><Relationship Id="rId5" Type="http://schemas.openxmlformats.org/officeDocument/2006/relationships/tags" Target="../tags/tag802.xml" /><Relationship Id="rId6" Type="http://schemas.openxmlformats.org/officeDocument/2006/relationships/tags" Target="../tags/tag803.xml" /></Relationships>
</file>

<file path=ppt/notesSlides/_rels/notesSlide38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8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808.xml" /><Relationship Id="rId4" Type="http://schemas.openxmlformats.org/officeDocument/2006/relationships/tags" Target="../tags/tag809.xml" /><Relationship Id="rId5" Type="http://schemas.openxmlformats.org/officeDocument/2006/relationships/tags" Target="../tags/tag810.xml" /><Relationship Id="rId6" Type="http://schemas.openxmlformats.org/officeDocument/2006/relationships/tags" Target="../tags/tag811.xml" /></Relationships>
</file>

<file path=ppt/notesSlides/_rels/notesSlide39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9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816.xml" /><Relationship Id="rId4" Type="http://schemas.openxmlformats.org/officeDocument/2006/relationships/tags" Target="../tags/tag817.xml" /><Relationship Id="rId5" Type="http://schemas.openxmlformats.org/officeDocument/2006/relationships/tags" Target="../tags/tag818.xml" /><Relationship Id="rId6" Type="http://schemas.openxmlformats.org/officeDocument/2006/relationships/tags" Target="../tags/tag819.xml" /></Relationships>
</file>

<file path=ppt/notesSlides/_rels/notesSlide4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4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554.xml" /><Relationship Id="rId4" Type="http://schemas.openxmlformats.org/officeDocument/2006/relationships/tags" Target="../tags/tag555.xml" /><Relationship Id="rId5" Type="http://schemas.openxmlformats.org/officeDocument/2006/relationships/tags" Target="../tags/tag556.xml" /><Relationship Id="rId6" Type="http://schemas.openxmlformats.org/officeDocument/2006/relationships/tags" Target="../tags/tag557.xml" /></Relationships>
</file>

<file path=ppt/notesSlides/_rels/notesSlide40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40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826.xml" /><Relationship Id="rId4" Type="http://schemas.openxmlformats.org/officeDocument/2006/relationships/tags" Target="../tags/tag827.xml" /><Relationship Id="rId5" Type="http://schemas.openxmlformats.org/officeDocument/2006/relationships/tags" Target="../tags/tag828.xml" /><Relationship Id="rId6" Type="http://schemas.openxmlformats.org/officeDocument/2006/relationships/tags" Target="../tags/tag829.xml" /></Relationships>
</file>

<file path=ppt/notesSlides/_rels/notesSlide41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41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836.xml" /><Relationship Id="rId4" Type="http://schemas.openxmlformats.org/officeDocument/2006/relationships/tags" Target="../tags/tag837.xml" /><Relationship Id="rId5" Type="http://schemas.openxmlformats.org/officeDocument/2006/relationships/tags" Target="../tags/tag838.xml" /><Relationship Id="rId6" Type="http://schemas.openxmlformats.org/officeDocument/2006/relationships/tags" Target="../tags/tag839.xml" /></Relationships>
</file>

<file path=ppt/notesSlides/_rels/notesSlide42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42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843.xml" /><Relationship Id="rId4" Type="http://schemas.openxmlformats.org/officeDocument/2006/relationships/tags" Target="../tags/tag844.xml" /><Relationship Id="rId5" Type="http://schemas.openxmlformats.org/officeDocument/2006/relationships/tags" Target="../tags/tag845.xml" /><Relationship Id="rId6" Type="http://schemas.openxmlformats.org/officeDocument/2006/relationships/tags" Target="../tags/tag846.xml" /></Relationships>
</file>

<file path=ppt/notesSlides/_rels/notesSlide5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5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562.xml" /><Relationship Id="rId4" Type="http://schemas.openxmlformats.org/officeDocument/2006/relationships/tags" Target="../tags/tag563.xml" /><Relationship Id="rId5" Type="http://schemas.openxmlformats.org/officeDocument/2006/relationships/tags" Target="../tags/tag564.xml" /><Relationship Id="rId6" Type="http://schemas.openxmlformats.org/officeDocument/2006/relationships/tags" Target="../tags/tag565.xml" /></Relationships>
</file>

<file path=ppt/notesSlides/_rels/notesSlide6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6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569.xml" /><Relationship Id="rId4" Type="http://schemas.openxmlformats.org/officeDocument/2006/relationships/tags" Target="../tags/tag570.xml" /><Relationship Id="rId5" Type="http://schemas.openxmlformats.org/officeDocument/2006/relationships/tags" Target="../tags/tag571.xml" /><Relationship Id="rId6" Type="http://schemas.openxmlformats.org/officeDocument/2006/relationships/tags" Target="../tags/tag572.xml" /></Relationships>
</file>

<file path=ppt/notesSlides/_rels/notesSlide7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7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576.xml" /><Relationship Id="rId4" Type="http://schemas.openxmlformats.org/officeDocument/2006/relationships/tags" Target="../tags/tag577.xml" /><Relationship Id="rId5" Type="http://schemas.openxmlformats.org/officeDocument/2006/relationships/tags" Target="../tags/tag578.xml" /><Relationship Id="rId6" Type="http://schemas.openxmlformats.org/officeDocument/2006/relationships/tags" Target="../tags/tag579.xml" /></Relationships>
</file>

<file path=ppt/notesSlides/_rels/notesSlide8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8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584.xml" /><Relationship Id="rId4" Type="http://schemas.openxmlformats.org/officeDocument/2006/relationships/tags" Target="../tags/tag585.xml" /><Relationship Id="rId5" Type="http://schemas.openxmlformats.org/officeDocument/2006/relationships/tags" Target="../tags/tag586.xml" /><Relationship Id="rId6" Type="http://schemas.openxmlformats.org/officeDocument/2006/relationships/tags" Target="../tags/tag587.xml" /></Relationships>
</file>

<file path=ppt/notesSlides/_rels/notesSlide9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9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591.xml" /><Relationship Id="rId4" Type="http://schemas.openxmlformats.org/officeDocument/2006/relationships/tags" Target="../tags/tag592.xml" /><Relationship Id="rId5" Type="http://schemas.openxmlformats.org/officeDocument/2006/relationships/tags" Target="../tags/tag593.xml" /><Relationship Id="rId6" Type="http://schemas.openxmlformats.org/officeDocument/2006/relationships/tags" Target="../tags/tag594.xml" /></Relationships>
</file>

<file path=ppt/notesSlides/notesSlide1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2214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/>
        <p:txBody>
          <a:bodyPr/>
          <a:lstStyle/>
          <a:p>
            <a:fld id="{CEEFCB57-3A5A-41B2-B648-5323AC3A803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02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873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2749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0261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9428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2611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6677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205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3023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198659" name="Rectangle 2"/>
          <p:cNvSpPr>
            <a:spLocks noGrp="1" noRot="1" noChangeAspect="1" noChangeArrowheads="1" noTextEdi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198660" name="Rectangle 3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8134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814DEE30-9F32-CF4E-8610-51EDD936FF6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410667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4727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0559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16670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4666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04262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45835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27493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69727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31167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0542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44909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93305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84477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03706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52668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55608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79141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46049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92883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73890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/>
        <p:txBody>
          <a:bodyPr/>
          <a:lstStyle/>
          <a:p>
            <a:fld id="{E9FF9CAC-246D-4329-9435-08A75B5B943E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3650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pPr marL="349415" indent="-349415" defTabSz="931774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en-US" sz="280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/>
        <p:txBody>
          <a:bodyPr/>
          <a:lstStyle/>
          <a:p>
            <a:fld id="{CEF57C6E-A5EA-4AB0-92F3-481A73DF119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98885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/>
        <p:txBody>
          <a:bodyPr/>
          <a:lstStyle/>
          <a:p>
            <a:fld id="{E9FF9CAC-246D-4329-9435-08A75B5B943E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56724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95612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4974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189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7424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6064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300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CA004F4-F240-48F9-8AE1-486585C7F00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062506"/>
      </p:ext>
    </p:extLst>
  </p:cSld>
  <p:clrMapOvr>
    <a:masterClrMapping/>
  </p:clrMapOvr>
</p:notes>
</file>

<file path=ppt/slideLayouts/_rels/slideLayout1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.xml" /><Relationship Id="rId10" Type="http://schemas.openxmlformats.org/officeDocument/2006/relationships/tags" Target="../tags/tag9.xml" /><Relationship Id="rId11" Type="http://schemas.openxmlformats.org/officeDocument/2006/relationships/image" Target="../media/image2.png" /><Relationship Id="rId12" Type="http://schemas.openxmlformats.org/officeDocument/2006/relationships/tags" Target="../tags/tag10.xml" /><Relationship Id="rId13" Type="http://schemas.openxmlformats.org/officeDocument/2006/relationships/slideMaster" Target="../slideMasters/slideMaster1.xml" /><Relationship Id="rId2" Type="http://schemas.openxmlformats.org/officeDocument/2006/relationships/image" Target="../media/image1.jpeg" /><Relationship Id="rId3" Type="http://schemas.openxmlformats.org/officeDocument/2006/relationships/tags" Target="../tags/tag2.xml" /><Relationship Id="rId4" Type="http://schemas.openxmlformats.org/officeDocument/2006/relationships/tags" Target="../tags/tag3.xml" /><Relationship Id="rId5" Type="http://schemas.openxmlformats.org/officeDocument/2006/relationships/tags" Target="../tags/tag4.xml" /><Relationship Id="rId6" Type="http://schemas.openxmlformats.org/officeDocument/2006/relationships/tags" Target="../tags/tag5.xml" /><Relationship Id="rId7" Type="http://schemas.openxmlformats.org/officeDocument/2006/relationships/tags" Target="../tags/tag6.xml" /><Relationship Id="rId8" Type="http://schemas.openxmlformats.org/officeDocument/2006/relationships/tags" Target="../tags/tag7.xml" /><Relationship Id="rId9" Type="http://schemas.openxmlformats.org/officeDocument/2006/relationships/tags" Target="../tags/tag8.xml" /></Relationships>
</file>

<file path=ppt/slideLayouts/_rels/slideLayout10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16.xml" /><Relationship Id="rId10" Type="http://schemas.openxmlformats.org/officeDocument/2006/relationships/tags" Target="../tags/tag124.xml" /><Relationship Id="rId100" Type="http://schemas.openxmlformats.org/officeDocument/2006/relationships/tags" Target="../tags/tag214.xml" /><Relationship Id="rId101" Type="http://schemas.openxmlformats.org/officeDocument/2006/relationships/tags" Target="../tags/tag215.xml" /><Relationship Id="rId102" Type="http://schemas.openxmlformats.org/officeDocument/2006/relationships/tags" Target="../tags/tag216.xml" /><Relationship Id="rId103" Type="http://schemas.openxmlformats.org/officeDocument/2006/relationships/tags" Target="../tags/tag217.xml" /><Relationship Id="rId104" Type="http://schemas.openxmlformats.org/officeDocument/2006/relationships/tags" Target="../tags/tag218.xml" /><Relationship Id="rId105" Type="http://schemas.openxmlformats.org/officeDocument/2006/relationships/tags" Target="../tags/tag219.xml" /><Relationship Id="rId106" Type="http://schemas.openxmlformats.org/officeDocument/2006/relationships/tags" Target="../tags/tag220.xml" /><Relationship Id="rId107" Type="http://schemas.openxmlformats.org/officeDocument/2006/relationships/tags" Target="../tags/tag221.xml" /><Relationship Id="rId108" Type="http://schemas.openxmlformats.org/officeDocument/2006/relationships/tags" Target="../tags/tag222.xml" /><Relationship Id="rId109" Type="http://schemas.openxmlformats.org/officeDocument/2006/relationships/tags" Target="../tags/tag223.xml" /><Relationship Id="rId11" Type="http://schemas.openxmlformats.org/officeDocument/2006/relationships/tags" Target="../tags/tag125.xml" /><Relationship Id="rId110" Type="http://schemas.openxmlformats.org/officeDocument/2006/relationships/tags" Target="../tags/tag224.xml" /><Relationship Id="rId111" Type="http://schemas.openxmlformats.org/officeDocument/2006/relationships/tags" Target="../tags/tag225.xml" /><Relationship Id="rId112" Type="http://schemas.openxmlformats.org/officeDocument/2006/relationships/tags" Target="../tags/tag226.xml" /><Relationship Id="rId113" Type="http://schemas.openxmlformats.org/officeDocument/2006/relationships/tags" Target="../tags/tag227.xml" /><Relationship Id="rId114" Type="http://schemas.openxmlformats.org/officeDocument/2006/relationships/tags" Target="../tags/tag228.xml" /><Relationship Id="rId115" Type="http://schemas.openxmlformats.org/officeDocument/2006/relationships/tags" Target="../tags/tag229.xml" /><Relationship Id="rId116" Type="http://schemas.openxmlformats.org/officeDocument/2006/relationships/tags" Target="../tags/tag230.xml" /><Relationship Id="rId117" Type="http://schemas.openxmlformats.org/officeDocument/2006/relationships/tags" Target="../tags/tag231.xml" /><Relationship Id="rId118" Type="http://schemas.openxmlformats.org/officeDocument/2006/relationships/tags" Target="../tags/tag232.xml" /><Relationship Id="rId119" Type="http://schemas.openxmlformats.org/officeDocument/2006/relationships/tags" Target="../tags/tag233.xml" /><Relationship Id="rId12" Type="http://schemas.openxmlformats.org/officeDocument/2006/relationships/tags" Target="../tags/tag126.xml" /><Relationship Id="rId120" Type="http://schemas.openxmlformats.org/officeDocument/2006/relationships/tags" Target="../tags/tag234.xml" /><Relationship Id="rId121" Type="http://schemas.openxmlformats.org/officeDocument/2006/relationships/tags" Target="../tags/tag235.xml" /><Relationship Id="rId122" Type="http://schemas.openxmlformats.org/officeDocument/2006/relationships/tags" Target="../tags/tag236.xml" /><Relationship Id="rId123" Type="http://schemas.openxmlformats.org/officeDocument/2006/relationships/tags" Target="../tags/tag237.xml" /><Relationship Id="rId124" Type="http://schemas.openxmlformats.org/officeDocument/2006/relationships/tags" Target="../tags/tag238.xml" /><Relationship Id="rId125" Type="http://schemas.openxmlformats.org/officeDocument/2006/relationships/tags" Target="../tags/tag239.xml" /><Relationship Id="rId126" Type="http://schemas.openxmlformats.org/officeDocument/2006/relationships/tags" Target="../tags/tag240.xml" /><Relationship Id="rId127" Type="http://schemas.openxmlformats.org/officeDocument/2006/relationships/tags" Target="../tags/tag241.xml" /><Relationship Id="rId128" Type="http://schemas.openxmlformats.org/officeDocument/2006/relationships/tags" Target="../tags/tag242.xml" /><Relationship Id="rId129" Type="http://schemas.openxmlformats.org/officeDocument/2006/relationships/tags" Target="../tags/tag243.xml" /><Relationship Id="rId13" Type="http://schemas.openxmlformats.org/officeDocument/2006/relationships/tags" Target="../tags/tag127.xml" /><Relationship Id="rId130" Type="http://schemas.openxmlformats.org/officeDocument/2006/relationships/tags" Target="../tags/tag244.xml" /><Relationship Id="rId131" Type="http://schemas.openxmlformats.org/officeDocument/2006/relationships/tags" Target="../tags/tag245.xml" /><Relationship Id="rId132" Type="http://schemas.openxmlformats.org/officeDocument/2006/relationships/tags" Target="../tags/tag246.xml" /><Relationship Id="rId133" Type="http://schemas.openxmlformats.org/officeDocument/2006/relationships/tags" Target="../tags/tag247.xml" /><Relationship Id="rId134" Type="http://schemas.openxmlformats.org/officeDocument/2006/relationships/tags" Target="../tags/tag248.xml" /><Relationship Id="rId135" Type="http://schemas.openxmlformats.org/officeDocument/2006/relationships/tags" Target="../tags/tag249.xml" /><Relationship Id="rId136" Type="http://schemas.openxmlformats.org/officeDocument/2006/relationships/tags" Target="../tags/tag250.xml" /><Relationship Id="rId137" Type="http://schemas.openxmlformats.org/officeDocument/2006/relationships/tags" Target="../tags/tag251.xml" /><Relationship Id="rId138" Type="http://schemas.openxmlformats.org/officeDocument/2006/relationships/tags" Target="../tags/tag252.xml" /><Relationship Id="rId139" Type="http://schemas.openxmlformats.org/officeDocument/2006/relationships/tags" Target="../tags/tag253.xml" /><Relationship Id="rId14" Type="http://schemas.openxmlformats.org/officeDocument/2006/relationships/tags" Target="../tags/tag128.xml" /><Relationship Id="rId140" Type="http://schemas.openxmlformats.org/officeDocument/2006/relationships/tags" Target="../tags/tag254.xml" /><Relationship Id="rId141" Type="http://schemas.openxmlformats.org/officeDocument/2006/relationships/tags" Target="../tags/tag255.xml" /><Relationship Id="rId142" Type="http://schemas.openxmlformats.org/officeDocument/2006/relationships/tags" Target="../tags/tag256.xml" /><Relationship Id="rId143" Type="http://schemas.openxmlformats.org/officeDocument/2006/relationships/tags" Target="../tags/tag257.xml" /><Relationship Id="rId144" Type="http://schemas.openxmlformats.org/officeDocument/2006/relationships/tags" Target="../tags/tag258.xml" /><Relationship Id="rId145" Type="http://schemas.openxmlformats.org/officeDocument/2006/relationships/tags" Target="../tags/tag259.xml" /><Relationship Id="rId146" Type="http://schemas.openxmlformats.org/officeDocument/2006/relationships/tags" Target="../tags/tag260.xml" /><Relationship Id="rId147" Type="http://schemas.openxmlformats.org/officeDocument/2006/relationships/tags" Target="../tags/tag261.xml" /><Relationship Id="rId148" Type="http://schemas.openxmlformats.org/officeDocument/2006/relationships/tags" Target="../tags/tag262.xml" /><Relationship Id="rId149" Type="http://schemas.openxmlformats.org/officeDocument/2006/relationships/tags" Target="../tags/tag263.xml" /><Relationship Id="rId15" Type="http://schemas.openxmlformats.org/officeDocument/2006/relationships/tags" Target="../tags/tag129.xml" /><Relationship Id="rId150" Type="http://schemas.openxmlformats.org/officeDocument/2006/relationships/tags" Target="../tags/tag264.xml" /><Relationship Id="rId151" Type="http://schemas.openxmlformats.org/officeDocument/2006/relationships/tags" Target="../tags/tag265.xml" /><Relationship Id="rId152" Type="http://schemas.openxmlformats.org/officeDocument/2006/relationships/tags" Target="../tags/tag266.xml" /><Relationship Id="rId153" Type="http://schemas.openxmlformats.org/officeDocument/2006/relationships/tags" Target="../tags/tag267.xml" /><Relationship Id="rId154" Type="http://schemas.openxmlformats.org/officeDocument/2006/relationships/tags" Target="../tags/tag268.xml" /><Relationship Id="rId155" Type="http://schemas.openxmlformats.org/officeDocument/2006/relationships/tags" Target="../tags/tag269.xml" /><Relationship Id="rId156" Type="http://schemas.openxmlformats.org/officeDocument/2006/relationships/tags" Target="../tags/tag270.xml" /><Relationship Id="rId157" Type="http://schemas.openxmlformats.org/officeDocument/2006/relationships/tags" Target="../tags/tag271.xml" /><Relationship Id="rId158" Type="http://schemas.openxmlformats.org/officeDocument/2006/relationships/tags" Target="../tags/tag272.xml" /><Relationship Id="rId159" Type="http://schemas.openxmlformats.org/officeDocument/2006/relationships/tags" Target="../tags/tag273.xml" /><Relationship Id="rId16" Type="http://schemas.openxmlformats.org/officeDocument/2006/relationships/tags" Target="../tags/tag130.xml" /><Relationship Id="rId160" Type="http://schemas.openxmlformats.org/officeDocument/2006/relationships/tags" Target="../tags/tag274.xml" /><Relationship Id="rId161" Type="http://schemas.openxmlformats.org/officeDocument/2006/relationships/tags" Target="../tags/tag275.xml" /><Relationship Id="rId162" Type="http://schemas.openxmlformats.org/officeDocument/2006/relationships/tags" Target="../tags/tag276.xml" /><Relationship Id="rId163" Type="http://schemas.openxmlformats.org/officeDocument/2006/relationships/tags" Target="../tags/tag277.xml" /><Relationship Id="rId164" Type="http://schemas.openxmlformats.org/officeDocument/2006/relationships/tags" Target="../tags/tag278.xml" /><Relationship Id="rId165" Type="http://schemas.openxmlformats.org/officeDocument/2006/relationships/tags" Target="../tags/tag279.xml" /><Relationship Id="rId166" Type="http://schemas.openxmlformats.org/officeDocument/2006/relationships/tags" Target="../tags/tag280.xml" /><Relationship Id="rId167" Type="http://schemas.openxmlformats.org/officeDocument/2006/relationships/tags" Target="../tags/tag281.xml" /><Relationship Id="rId168" Type="http://schemas.openxmlformats.org/officeDocument/2006/relationships/tags" Target="../tags/tag282.xml" /><Relationship Id="rId169" Type="http://schemas.openxmlformats.org/officeDocument/2006/relationships/tags" Target="../tags/tag283.xml" /><Relationship Id="rId17" Type="http://schemas.openxmlformats.org/officeDocument/2006/relationships/tags" Target="../tags/tag131.xml" /><Relationship Id="rId170" Type="http://schemas.openxmlformats.org/officeDocument/2006/relationships/tags" Target="../tags/tag284.xml" /><Relationship Id="rId171" Type="http://schemas.openxmlformats.org/officeDocument/2006/relationships/tags" Target="../tags/tag285.xml" /><Relationship Id="rId172" Type="http://schemas.openxmlformats.org/officeDocument/2006/relationships/tags" Target="../tags/tag286.xml" /><Relationship Id="rId173" Type="http://schemas.openxmlformats.org/officeDocument/2006/relationships/tags" Target="../tags/tag287.xml" /><Relationship Id="rId174" Type="http://schemas.openxmlformats.org/officeDocument/2006/relationships/tags" Target="../tags/tag288.xml" /><Relationship Id="rId175" Type="http://schemas.openxmlformats.org/officeDocument/2006/relationships/tags" Target="../tags/tag289.xml" /><Relationship Id="rId176" Type="http://schemas.openxmlformats.org/officeDocument/2006/relationships/tags" Target="../tags/tag290.xml" /><Relationship Id="rId177" Type="http://schemas.openxmlformats.org/officeDocument/2006/relationships/tags" Target="../tags/tag291.xml" /><Relationship Id="rId178" Type="http://schemas.openxmlformats.org/officeDocument/2006/relationships/tags" Target="../tags/tag292.xml" /><Relationship Id="rId179" Type="http://schemas.openxmlformats.org/officeDocument/2006/relationships/tags" Target="../tags/tag293.xml" /><Relationship Id="rId18" Type="http://schemas.openxmlformats.org/officeDocument/2006/relationships/tags" Target="../tags/tag132.xml" /><Relationship Id="rId180" Type="http://schemas.openxmlformats.org/officeDocument/2006/relationships/tags" Target="../tags/tag294.xml" /><Relationship Id="rId181" Type="http://schemas.openxmlformats.org/officeDocument/2006/relationships/tags" Target="../tags/tag295.xml" /><Relationship Id="rId182" Type="http://schemas.openxmlformats.org/officeDocument/2006/relationships/tags" Target="../tags/tag296.xml" /><Relationship Id="rId183" Type="http://schemas.openxmlformats.org/officeDocument/2006/relationships/tags" Target="../tags/tag297.xml" /><Relationship Id="rId184" Type="http://schemas.openxmlformats.org/officeDocument/2006/relationships/tags" Target="../tags/tag298.xml" /><Relationship Id="rId185" Type="http://schemas.openxmlformats.org/officeDocument/2006/relationships/tags" Target="../tags/tag299.xml" /><Relationship Id="rId186" Type="http://schemas.openxmlformats.org/officeDocument/2006/relationships/tags" Target="../tags/tag300.xml" /><Relationship Id="rId187" Type="http://schemas.openxmlformats.org/officeDocument/2006/relationships/tags" Target="../tags/tag301.xml" /><Relationship Id="rId188" Type="http://schemas.openxmlformats.org/officeDocument/2006/relationships/tags" Target="../tags/tag302.xml" /><Relationship Id="rId189" Type="http://schemas.openxmlformats.org/officeDocument/2006/relationships/tags" Target="../tags/tag303.xml" /><Relationship Id="rId19" Type="http://schemas.openxmlformats.org/officeDocument/2006/relationships/tags" Target="../tags/tag133.xml" /><Relationship Id="rId190" Type="http://schemas.openxmlformats.org/officeDocument/2006/relationships/tags" Target="../tags/tag304.xml" /><Relationship Id="rId191" Type="http://schemas.openxmlformats.org/officeDocument/2006/relationships/tags" Target="../tags/tag305.xml" /><Relationship Id="rId192" Type="http://schemas.openxmlformats.org/officeDocument/2006/relationships/tags" Target="../tags/tag306.xml" /><Relationship Id="rId193" Type="http://schemas.openxmlformats.org/officeDocument/2006/relationships/tags" Target="../tags/tag307.xml" /><Relationship Id="rId194" Type="http://schemas.openxmlformats.org/officeDocument/2006/relationships/tags" Target="../tags/tag308.xml" /><Relationship Id="rId195" Type="http://schemas.openxmlformats.org/officeDocument/2006/relationships/tags" Target="../tags/tag309.xml" /><Relationship Id="rId196" Type="http://schemas.openxmlformats.org/officeDocument/2006/relationships/tags" Target="../tags/tag310.xml" /><Relationship Id="rId197" Type="http://schemas.openxmlformats.org/officeDocument/2006/relationships/tags" Target="../tags/tag311.xml" /><Relationship Id="rId198" Type="http://schemas.openxmlformats.org/officeDocument/2006/relationships/tags" Target="../tags/tag312.xml" /><Relationship Id="rId199" Type="http://schemas.openxmlformats.org/officeDocument/2006/relationships/tags" Target="../tags/tag313.xml" /><Relationship Id="rId2" Type="http://schemas.openxmlformats.org/officeDocument/2006/relationships/image" Target="../media/image3.jpeg" /><Relationship Id="rId20" Type="http://schemas.openxmlformats.org/officeDocument/2006/relationships/tags" Target="../tags/tag134.xml" /><Relationship Id="rId200" Type="http://schemas.openxmlformats.org/officeDocument/2006/relationships/tags" Target="../tags/tag314.xml" /><Relationship Id="rId201" Type="http://schemas.openxmlformats.org/officeDocument/2006/relationships/tags" Target="../tags/tag315.xml" /><Relationship Id="rId202" Type="http://schemas.openxmlformats.org/officeDocument/2006/relationships/tags" Target="../tags/tag316.xml" /><Relationship Id="rId203" Type="http://schemas.openxmlformats.org/officeDocument/2006/relationships/tags" Target="../tags/tag317.xml" /><Relationship Id="rId204" Type="http://schemas.openxmlformats.org/officeDocument/2006/relationships/tags" Target="../tags/tag318.xml" /><Relationship Id="rId205" Type="http://schemas.openxmlformats.org/officeDocument/2006/relationships/tags" Target="../tags/tag319.xml" /><Relationship Id="rId206" Type="http://schemas.openxmlformats.org/officeDocument/2006/relationships/tags" Target="../tags/tag320.xml" /><Relationship Id="rId207" Type="http://schemas.openxmlformats.org/officeDocument/2006/relationships/tags" Target="../tags/tag321.xml" /><Relationship Id="rId208" Type="http://schemas.openxmlformats.org/officeDocument/2006/relationships/tags" Target="../tags/tag322.xml" /><Relationship Id="rId209" Type="http://schemas.openxmlformats.org/officeDocument/2006/relationships/tags" Target="../tags/tag323.xml" /><Relationship Id="rId21" Type="http://schemas.openxmlformats.org/officeDocument/2006/relationships/tags" Target="../tags/tag135.xml" /><Relationship Id="rId210" Type="http://schemas.openxmlformats.org/officeDocument/2006/relationships/tags" Target="../tags/tag324.xml" /><Relationship Id="rId211" Type="http://schemas.openxmlformats.org/officeDocument/2006/relationships/tags" Target="../tags/tag325.xml" /><Relationship Id="rId212" Type="http://schemas.openxmlformats.org/officeDocument/2006/relationships/tags" Target="../tags/tag326.xml" /><Relationship Id="rId213" Type="http://schemas.openxmlformats.org/officeDocument/2006/relationships/tags" Target="../tags/tag327.xml" /><Relationship Id="rId214" Type="http://schemas.openxmlformats.org/officeDocument/2006/relationships/tags" Target="../tags/tag328.xml" /><Relationship Id="rId215" Type="http://schemas.openxmlformats.org/officeDocument/2006/relationships/tags" Target="../tags/tag329.xml" /><Relationship Id="rId216" Type="http://schemas.openxmlformats.org/officeDocument/2006/relationships/tags" Target="../tags/tag330.xml" /><Relationship Id="rId217" Type="http://schemas.openxmlformats.org/officeDocument/2006/relationships/image" Target="../media/image32.png" /><Relationship Id="rId218" Type="http://schemas.openxmlformats.org/officeDocument/2006/relationships/tags" Target="../tags/tag331.xml" /><Relationship Id="rId219" Type="http://schemas.openxmlformats.org/officeDocument/2006/relationships/tags" Target="../tags/tag332.xml" /><Relationship Id="rId22" Type="http://schemas.openxmlformats.org/officeDocument/2006/relationships/tags" Target="../tags/tag136.xml" /><Relationship Id="rId220" Type="http://schemas.openxmlformats.org/officeDocument/2006/relationships/tags" Target="../tags/tag333.xml" /><Relationship Id="rId221" Type="http://schemas.openxmlformats.org/officeDocument/2006/relationships/tags" Target="../tags/tag334.xml" /><Relationship Id="rId222" Type="http://schemas.openxmlformats.org/officeDocument/2006/relationships/tags" Target="../tags/tag335.xml" /><Relationship Id="rId223" Type="http://schemas.openxmlformats.org/officeDocument/2006/relationships/tags" Target="../tags/tag336.xml" /><Relationship Id="rId224" Type="http://schemas.openxmlformats.org/officeDocument/2006/relationships/slideMaster" Target="../slideMasters/slideMaster1.xml" /><Relationship Id="rId23" Type="http://schemas.openxmlformats.org/officeDocument/2006/relationships/tags" Target="../tags/tag137.xml" /><Relationship Id="rId24" Type="http://schemas.openxmlformats.org/officeDocument/2006/relationships/tags" Target="../tags/tag138.xml" /><Relationship Id="rId25" Type="http://schemas.openxmlformats.org/officeDocument/2006/relationships/tags" Target="../tags/tag139.xml" /><Relationship Id="rId26" Type="http://schemas.openxmlformats.org/officeDocument/2006/relationships/tags" Target="../tags/tag140.xml" /><Relationship Id="rId27" Type="http://schemas.openxmlformats.org/officeDocument/2006/relationships/tags" Target="../tags/tag141.xml" /><Relationship Id="rId28" Type="http://schemas.openxmlformats.org/officeDocument/2006/relationships/tags" Target="../tags/tag142.xml" /><Relationship Id="rId29" Type="http://schemas.openxmlformats.org/officeDocument/2006/relationships/tags" Target="../tags/tag143.xml" /><Relationship Id="rId3" Type="http://schemas.openxmlformats.org/officeDocument/2006/relationships/tags" Target="../tags/tag117.xml" /><Relationship Id="rId30" Type="http://schemas.openxmlformats.org/officeDocument/2006/relationships/tags" Target="../tags/tag144.xml" /><Relationship Id="rId31" Type="http://schemas.openxmlformats.org/officeDocument/2006/relationships/tags" Target="../tags/tag145.xml" /><Relationship Id="rId32" Type="http://schemas.openxmlformats.org/officeDocument/2006/relationships/tags" Target="../tags/tag146.xml" /><Relationship Id="rId33" Type="http://schemas.openxmlformats.org/officeDocument/2006/relationships/tags" Target="../tags/tag147.xml" /><Relationship Id="rId34" Type="http://schemas.openxmlformats.org/officeDocument/2006/relationships/tags" Target="../tags/tag148.xml" /><Relationship Id="rId35" Type="http://schemas.openxmlformats.org/officeDocument/2006/relationships/tags" Target="../tags/tag149.xml" /><Relationship Id="rId36" Type="http://schemas.openxmlformats.org/officeDocument/2006/relationships/tags" Target="../tags/tag150.xml" /><Relationship Id="rId37" Type="http://schemas.openxmlformats.org/officeDocument/2006/relationships/tags" Target="../tags/tag151.xml" /><Relationship Id="rId38" Type="http://schemas.openxmlformats.org/officeDocument/2006/relationships/tags" Target="../tags/tag152.xml" /><Relationship Id="rId39" Type="http://schemas.openxmlformats.org/officeDocument/2006/relationships/tags" Target="../tags/tag153.xml" /><Relationship Id="rId4" Type="http://schemas.openxmlformats.org/officeDocument/2006/relationships/tags" Target="../tags/tag118.xml" /><Relationship Id="rId40" Type="http://schemas.openxmlformats.org/officeDocument/2006/relationships/tags" Target="../tags/tag154.xml" /><Relationship Id="rId41" Type="http://schemas.openxmlformats.org/officeDocument/2006/relationships/tags" Target="../tags/tag155.xml" /><Relationship Id="rId42" Type="http://schemas.openxmlformats.org/officeDocument/2006/relationships/tags" Target="../tags/tag156.xml" /><Relationship Id="rId43" Type="http://schemas.openxmlformats.org/officeDocument/2006/relationships/tags" Target="../tags/tag157.xml" /><Relationship Id="rId44" Type="http://schemas.openxmlformats.org/officeDocument/2006/relationships/tags" Target="../tags/tag158.xml" /><Relationship Id="rId45" Type="http://schemas.openxmlformats.org/officeDocument/2006/relationships/tags" Target="../tags/tag159.xml" /><Relationship Id="rId46" Type="http://schemas.openxmlformats.org/officeDocument/2006/relationships/tags" Target="../tags/tag160.xml" /><Relationship Id="rId47" Type="http://schemas.openxmlformats.org/officeDocument/2006/relationships/tags" Target="../tags/tag161.xml" /><Relationship Id="rId48" Type="http://schemas.openxmlformats.org/officeDocument/2006/relationships/tags" Target="../tags/tag162.xml" /><Relationship Id="rId49" Type="http://schemas.openxmlformats.org/officeDocument/2006/relationships/tags" Target="../tags/tag163.xml" /><Relationship Id="rId5" Type="http://schemas.openxmlformats.org/officeDocument/2006/relationships/tags" Target="../tags/tag119.xml" /><Relationship Id="rId50" Type="http://schemas.openxmlformats.org/officeDocument/2006/relationships/tags" Target="../tags/tag164.xml" /><Relationship Id="rId51" Type="http://schemas.openxmlformats.org/officeDocument/2006/relationships/tags" Target="../tags/tag165.xml" /><Relationship Id="rId52" Type="http://schemas.openxmlformats.org/officeDocument/2006/relationships/tags" Target="../tags/tag166.xml" /><Relationship Id="rId53" Type="http://schemas.openxmlformats.org/officeDocument/2006/relationships/tags" Target="../tags/tag167.xml" /><Relationship Id="rId54" Type="http://schemas.openxmlformats.org/officeDocument/2006/relationships/tags" Target="../tags/tag168.xml" /><Relationship Id="rId55" Type="http://schemas.openxmlformats.org/officeDocument/2006/relationships/tags" Target="../tags/tag169.xml" /><Relationship Id="rId56" Type="http://schemas.openxmlformats.org/officeDocument/2006/relationships/tags" Target="../tags/tag170.xml" /><Relationship Id="rId57" Type="http://schemas.openxmlformats.org/officeDocument/2006/relationships/tags" Target="../tags/tag171.xml" /><Relationship Id="rId58" Type="http://schemas.openxmlformats.org/officeDocument/2006/relationships/tags" Target="../tags/tag172.xml" /><Relationship Id="rId59" Type="http://schemas.openxmlformats.org/officeDocument/2006/relationships/tags" Target="../tags/tag173.xml" /><Relationship Id="rId6" Type="http://schemas.openxmlformats.org/officeDocument/2006/relationships/tags" Target="../tags/tag120.xml" /><Relationship Id="rId60" Type="http://schemas.openxmlformats.org/officeDocument/2006/relationships/tags" Target="../tags/tag174.xml" /><Relationship Id="rId61" Type="http://schemas.openxmlformats.org/officeDocument/2006/relationships/tags" Target="../tags/tag175.xml" /><Relationship Id="rId62" Type="http://schemas.openxmlformats.org/officeDocument/2006/relationships/tags" Target="../tags/tag176.xml" /><Relationship Id="rId63" Type="http://schemas.openxmlformats.org/officeDocument/2006/relationships/tags" Target="../tags/tag177.xml" /><Relationship Id="rId64" Type="http://schemas.openxmlformats.org/officeDocument/2006/relationships/tags" Target="../tags/tag178.xml" /><Relationship Id="rId65" Type="http://schemas.openxmlformats.org/officeDocument/2006/relationships/tags" Target="../tags/tag179.xml" /><Relationship Id="rId66" Type="http://schemas.openxmlformats.org/officeDocument/2006/relationships/tags" Target="../tags/tag180.xml" /><Relationship Id="rId67" Type="http://schemas.openxmlformats.org/officeDocument/2006/relationships/tags" Target="../tags/tag181.xml" /><Relationship Id="rId68" Type="http://schemas.openxmlformats.org/officeDocument/2006/relationships/tags" Target="../tags/tag182.xml" /><Relationship Id="rId69" Type="http://schemas.openxmlformats.org/officeDocument/2006/relationships/tags" Target="../tags/tag183.xml" /><Relationship Id="rId7" Type="http://schemas.openxmlformats.org/officeDocument/2006/relationships/tags" Target="../tags/tag121.xml" /><Relationship Id="rId70" Type="http://schemas.openxmlformats.org/officeDocument/2006/relationships/tags" Target="../tags/tag184.xml" /><Relationship Id="rId71" Type="http://schemas.openxmlformats.org/officeDocument/2006/relationships/tags" Target="../tags/tag185.xml" /><Relationship Id="rId72" Type="http://schemas.openxmlformats.org/officeDocument/2006/relationships/tags" Target="../tags/tag186.xml" /><Relationship Id="rId73" Type="http://schemas.openxmlformats.org/officeDocument/2006/relationships/tags" Target="../tags/tag187.xml" /><Relationship Id="rId74" Type="http://schemas.openxmlformats.org/officeDocument/2006/relationships/tags" Target="../tags/tag188.xml" /><Relationship Id="rId75" Type="http://schemas.openxmlformats.org/officeDocument/2006/relationships/tags" Target="../tags/tag189.xml" /><Relationship Id="rId76" Type="http://schemas.openxmlformats.org/officeDocument/2006/relationships/tags" Target="../tags/tag190.xml" /><Relationship Id="rId77" Type="http://schemas.openxmlformats.org/officeDocument/2006/relationships/tags" Target="../tags/tag191.xml" /><Relationship Id="rId78" Type="http://schemas.openxmlformats.org/officeDocument/2006/relationships/tags" Target="../tags/tag192.xml" /><Relationship Id="rId79" Type="http://schemas.openxmlformats.org/officeDocument/2006/relationships/tags" Target="../tags/tag193.xml" /><Relationship Id="rId8" Type="http://schemas.openxmlformats.org/officeDocument/2006/relationships/tags" Target="../tags/tag122.xml" /><Relationship Id="rId80" Type="http://schemas.openxmlformats.org/officeDocument/2006/relationships/tags" Target="../tags/tag194.xml" /><Relationship Id="rId81" Type="http://schemas.openxmlformats.org/officeDocument/2006/relationships/tags" Target="../tags/tag195.xml" /><Relationship Id="rId82" Type="http://schemas.openxmlformats.org/officeDocument/2006/relationships/tags" Target="../tags/tag196.xml" /><Relationship Id="rId83" Type="http://schemas.openxmlformats.org/officeDocument/2006/relationships/tags" Target="../tags/tag197.xml" /><Relationship Id="rId84" Type="http://schemas.openxmlformats.org/officeDocument/2006/relationships/tags" Target="../tags/tag198.xml" /><Relationship Id="rId85" Type="http://schemas.openxmlformats.org/officeDocument/2006/relationships/tags" Target="../tags/tag199.xml" /><Relationship Id="rId86" Type="http://schemas.openxmlformats.org/officeDocument/2006/relationships/tags" Target="../tags/tag200.xml" /><Relationship Id="rId87" Type="http://schemas.openxmlformats.org/officeDocument/2006/relationships/tags" Target="../tags/tag201.xml" /><Relationship Id="rId88" Type="http://schemas.openxmlformats.org/officeDocument/2006/relationships/tags" Target="../tags/tag202.xml" /><Relationship Id="rId89" Type="http://schemas.openxmlformats.org/officeDocument/2006/relationships/tags" Target="../tags/tag203.xml" /><Relationship Id="rId9" Type="http://schemas.openxmlformats.org/officeDocument/2006/relationships/tags" Target="../tags/tag123.xml" /><Relationship Id="rId90" Type="http://schemas.openxmlformats.org/officeDocument/2006/relationships/tags" Target="../tags/tag204.xml" /><Relationship Id="rId91" Type="http://schemas.openxmlformats.org/officeDocument/2006/relationships/tags" Target="../tags/tag205.xml" /><Relationship Id="rId92" Type="http://schemas.openxmlformats.org/officeDocument/2006/relationships/tags" Target="../tags/tag206.xml" /><Relationship Id="rId93" Type="http://schemas.openxmlformats.org/officeDocument/2006/relationships/tags" Target="../tags/tag207.xml" /><Relationship Id="rId94" Type="http://schemas.openxmlformats.org/officeDocument/2006/relationships/tags" Target="../tags/tag208.xml" /><Relationship Id="rId95" Type="http://schemas.openxmlformats.org/officeDocument/2006/relationships/tags" Target="../tags/tag209.xml" /><Relationship Id="rId96" Type="http://schemas.openxmlformats.org/officeDocument/2006/relationships/tags" Target="../tags/tag210.xml" /><Relationship Id="rId97" Type="http://schemas.openxmlformats.org/officeDocument/2006/relationships/tags" Target="../tags/tag211.xml" /><Relationship Id="rId98" Type="http://schemas.openxmlformats.org/officeDocument/2006/relationships/tags" Target="../tags/tag212.xml" /><Relationship Id="rId99" Type="http://schemas.openxmlformats.org/officeDocument/2006/relationships/tags" Target="../tags/tag213.xml" /></Relationships>
</file>

<file path=ppt/slideLayouts/_rels/slideLayout11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337.xml" /><Relationship Id="rId10" Type="http://schemas.openxmlformats.org/officeDocument/2006/relationships/image" Target="../media/image34.png" /><Relationship Id="rId11" Type="http://schemas.openxmlformats.org/officeDocument/2006/relationships/tags" Target="../tags/tag345.xml" /><Relationship Id="rId12" Type="http://schemas.openxmlformats.org/officeDocument/2006/relationships/image" Target="../media/image35.png" /><Relationship Id="rId13" Type="http://schemas.openxmlformats.org/officeDocument/2006/relationships/tags" Target="../tags/tag346.xml" /><Relationship Id="rId14" Type="http://schemas.openxmlformats.org/officeDocument/2006/relationships/slideMaster" Target="../slideMasters/slideMaster1.xml" /><Relationship Id="rId2" Type="http://schemas.openxmlformats.org/officeDocument/2006/relationships/image" Target="../media/image33.jpeg" /><Relationship Id="rId3" Type="http://schemas.openxmlformats.org/officeDocument/2006/relationships/tags" Target="../tags/tag338.xml" /><Relationship Id="rId4" Type="http://schemas.openxmlformats.org/officeDocument/2006/relationships/tags" Target="../tags/tag339.xml" /><Relationship Id="rId5" Type="http://schemas.openxmlformats.org/officeDocument/2006/relationships/tags" Target="../tags/tag340.xml" /><Relationship Id="rId6" Type="http://schemas.openxmlformats.org/officeDocument/2006/relationships/tags" Target="../tags/tag341.xml" /><Relationship Id="rId7" Type="http://schemas.openxmlformats.org/officeDocument/2006/relationships/tags" Target="../tags/tag342.xml" /><Relationship Id="rId8" Type="http://schemas.openxmlformats.org/officeDocument/2006/relationships/tags" Target="../tags/tag343.xml" /><Relationship Id="rId9" Type="http://schemas.openxmlformats.org/officeDocument/2006/relationships/tags" Target="../tags/tag344.xml" /></Relationships>
</file>

<file path=ppt/slideLayouts/_rels/slideLayout12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347.xml" /><Relationship Id="rId10" Type="http://schemas.openxmlformats.org/officeDocument/2006/relationships/image" Target="../media/image37.png" /><Relationship Id="rId11" Type="http://schemas.openxmlformats.org/officeDocument/2006/relationships/tags" Target="../tags/tag355.xml" /><Relationship Id="rId12" Type="http://schemas.openxmlformats.org/officeDocument/2006/relationships/tags" Target="../tags/tag356.xml" /><Relationship Id="rId13" Type="http://schemas.openxmlformats.org/officeDocument/2006/relationships/tags" Target="../tags/tag357.xml" /><Relationship Id="rId14" Type="http://schemas.openxmlformats.org/officeDocument/2006/relationships/slideMaster" Target="../slideMasters/slideMaster1.xml" /><Relationship Id="rId2" Type="http://schemas.openxmlformats.org/officeDocument/2006/relationships/image" Target="../media/image36.jpeg" /><Relationship Id="rId3" Type="http://schemas.openxmlformats.org/officeDocument/2006/relationships/tags" Target="../tags/tag348.xml" /><Relationship Id="rId4" Type="http://schemas.openxmlformats.org/officeDocument/2006/relationships/tags" Target="../tags/tag349.xml" /><Relationship Id="rId5" Type="http://schemas.openxmlformats.org/officeDocument/2006/relationships/tags" Target="../tags/tag350.xml" /><Relationship Id="rId6" Type="http://schemas.openxmlformats.org/officeDocument/2006/relationships/tags" Target="../tags/tag351.xml" /><Relationship Id="rId7" Type="http://schemas.openxmlformats.org/officeDocument/2006/relationships/tags" Target="../tags/tag352.xml" /><Relationship Id="rId8" Type="http://schemas.openxmlformats.org/officeDocument/2006/relationships/tags" Target="../tags/tag353.xml" /><Relationship Id="rId9" Type="http://schemas.openxmlformats.org/officeDocument/2006/relationships/tags" Target="../tags/tag354.xml" /></Relationships>
</file>

<file path=ppt/slideLayouts/_rels/slideLayout13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358.xml" /><Relationship Id="rId10" Type="http://schemas.openxmlformats.org/officeDocument/2006/relationships/image" Target="../media/image39.png" /><Relationship Id="rId11" Type="http://schemas.openxmlformats.org/officeDocument/2006/relationships/tags" Target="../tags/tag366.xml" /><Relationship Id="rId12" Type="http://schemas.openxmlformats.org/officeDocument/2006/relationships/slideMaster" Target="../slideMasters/slideMaster1.xml" /><Relationship Id="rId2" Type="http://schemas.openxmlformats.org/officeDocument/2006/relationships/image" Target="../media/image38.jpeg" /><Relationship Id="rId3" Type="http://schemas.openxmlformats.org/officeDocument/2006/relationships/tags" Target="../tags/tag359.xml" /><Relationship Id="rId4" Type="http://schemas.openxmlformats.org/officeDocument/2006/relationships/tags" Target="../tags/tag360.xml" /><Relationship Id="rId5" Type="http://schemas.openxmlformats.org/officeDocument/2006/relationships/tags" Target="../tags/tag361.xml" /><Relationship Id="rId6" Type="http://schemas.openxmlformats.org/officeDocument/2006/relationships/tags" Target="../tags/tag362.xml" /><Relationship Id="rId7" Type="http://schemas.openxmlformats.org/officeDocument/2006/relationships/tags" Target="../tags/tag363.xml" /><Relationship Id="rId8" Type="http://schemas.openxmlformats.org/officeDocument/2006/relationships/tags" Target="../tags/tag364.xml" /><Relationship Id="rId9" Type="http://schemas.openxmlformats.org/officeDocument/2006/relationships/tags" Target="../tags/tag365.xml" /></Relationships>
</file>

<file path=ppt/slideLayouts/_rels/slideLayout14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367.xml" /><Relationship Id="rId10" Type="http://schemas.openxmlformats.org/officeDocument/2006/relationships/tags" Target="../tags/tag375.xml" /><Relationship Id="rId11" Type="http://schemas.openxmlformats.org/officeDocument/2006/relationships/tags" Target="../tags/tag376.xml" /><Relationship Id="rId12" Type="http://schemas.openxmlformats.org/officeDocument/2006/relationships/tags" Target="../tags/tag377.xml" /><Relationship Id="rId13" Type="http://schemas.openxmlformats.org/officeDocument/2006/relationships/tags" Target="../tags/tag378.xml" /><Relationship Id="rId14" Type="http://schemas.openxmlformats.org/officeDocument/2006/relationships/tags" Target="../tags/tag379.xml" /><Relationship Id="rId15" Type="http://schemas.openxmlformats.org/officeDocument/2006/relationships/tags" Target="../tags/tag380.xml" /><Relationship Id="rId16" Type="http://schemas.openxmlformats.org/officeDocument/2006/relationships/tags" Target="../tags/tag381.xml" /><Relationship Id="rId17" Type="http://schemas.openxmlformats.org/officeDocument/2006/relationships/tags" Target="../tags/tag382.xml" /><Relationship Id="rId18" Type="http://schemas.openxmlformats.org/officeDocument/2006/relationships/tags" Target="../tags/tag383.xml" /><Relationship Id="rId19" Type="http://schemas.openxmlformats.org/officeDocument/2006/relationships/tags" Target="../tags/tag384.xml" /><Relationship Id="rId2" Type="http://schemas.openxmlformats.org/officeDocument/2006/relationships/image" Target="../media/image40.jpeg" /><Relationship Id="rId20" Type="http://schemas.openxmlformats.org/officeDocument/2006/relationships/image" Target="../media/image39.png" /><Relationship Id="rId21" Type="http://schemas.openxmlformats.org/officeDocument/2006/relationships/tags" Target="../tags/tag385.xml" /><Relationship Id="rId22" Type="http://schemas.openxmlformats.org/officeDocument/2006/relationships/slideMaster" Target="../slideMasters/slideMaster1.xml" /><Relationship Id="rId3" Type="http://schemas.openxmlformats.org/officeDocument/2006/relationships/tags" Target="../tags/tag368.xml" /><Relationship Id="rId4" Type="http://schemas.openxmlformats.org/officeDocument/2006/relationships/tags" Target="../tags/tag369.xml" /><Relationship Id="rId5" Type="http://schemas.openxmlformats.org/officeDocument/2006/relationships/tags" Target="../tags/tag370.xml" /><Relationship Id="rId6" Type="http://schemas.openxmlformats.org/officeDocument/2006/relationships/tags" Target="../tags/tag371.xml" /><Relationship Id="rId7" Type="http://schemas.openxmlformats.org/officeDocument/2006/relationships/tags" Target="../tags/tag372.xml" /><Relationship Id="rId8" Type="http://schemas.openxmlformats.org/officeDocument/2006/relationships/tags" Target="../tags/tag373.xml" /><Relationship Id="rId9" Type="http://schemas.openxmlformats.org/officeDocument/2006/relationships/tags" Target="../tags/tag374.xml" /></Relationships>
</file>

<file path=ppt/slideLayouts/_rels/slideLayout15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386.xml" /><Relationship Id="rId10" Type="http://schemas.openxmlformats.org/officeDocument/2006/relationships/tags" Target="../tags/tag394.xml" /><Relationship Id="rId11" Type="http://schemas.openxmlformats.org/officeDocument/2006/relationships/tags" Target="../tags/tag395.xml" /><Relationship Id="rId12" Type="http://schemas.openxmlformats.org/officeDocument/2006/relationships/image" Target="../media/image39.png" /><Relationship Id="rId13" Type="http://schemas.openxmlformats.org/officeDocument/2006/relationships/tags" Target="../tags/tag396.xml" /><Relationship Id="rId14" Type="http://schemas.openxmlformats.org/officeDocument/2006/relationships/tags" Target="../tags/tag397.xml" /><Relationship Id="rId15" Type="http://schemas.openxmlformats.org/officeDocument/2006/relationships/tags" Target="../tags/tag398.xml" /><Relationship Id="rId16" Type="http://schemas.openxmlformats.org/officeDocument/2006/relationships/slideMaster" Target="../slideMasters/slideMaster1.xml" /><Relationship Id="rId2" Type="http://schemas.openxmlformats.org/officeDocument/2006/relationships/tags" Target="../tags/tag387.xml" /><Relationship Id="rId3" Type="http://schemas.openxmlformats.org/officeDocument/2006/relationships/image" Target="../media/image41.jpeg" /><Relationship Id="rId4" Type="http://schemas.openxmlformats.org/officeDocument/2006/relationships/tags" Target="../tags/tag388.xml" /><Relationship Id="rId5" Type="http://schemas.openxmlformats.org/officeDocument/2006/relationships/tags" Target="../tags/tag389.xml" /><Relationship Id="rId6" Type="http://schemas.openxmlformats.org/officeDocument/2006/relationships/tags" Target="../tags/tag390.xml" /><Relationship Id="rId7" Type="http://schemas.openxmlformats.org/officeDocument/2006/relationships/tags" Target="../tags/tag391.xml" /><Relationship Id="rId8" Type="http://schemas.openxmlformats.org/officeDocument/2006/relationships/tags" Target="../tags/tag392.xml" /><Relationship Id="rId9" Type="http://schemas.openxmlformats.org/officeDocument/2006/relationships/tags" Target="../tags/tag393.xml" /></Relationships>
</file>

<file path=ppt/slideLayouts/_rels/slideLayout16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399.xml" /><Relationship Id="rId10" Type="http://schemas.openxmlformats.org/officeDocument/2006/relationships/tags" Target="../tags/tag407.xml" /><Relationship Id="rId11" Type="http://schemas.openxmlformats.org/officeDocument/2006/relationships/tags" Target="../tags/tag408.xml" /><Relationship Id="rId12" Type="http://schemas.openxmlformats.org/officeDocument/2006/relationships/image" Target="../media/image43.png" /><Relationship Id="rId13" Type="http://schemas.openxmlformats.org/officeDocument/2006/relationships/tags" Target="../tags/tag409.xml" /><Relationship Id="rId14" Type="http://schemas.openxmlformats.org/officeDocument/2006/relationships/slideMaster" Target="../slideMasters/slideMaster1.xml" /><Relationship Id="rId2" Type="http://schemas.openxmlformats.org/officeDocument/2006/relationships/tags" Target="../tags/tag400.xml" /><Relationship Id="rId3" Type="http://schemas.openxmlformats.org/officeDocument/2006/relationships/tags" Target="../tags/tag401.xml" /><Relationship Id="rId4" Type="http://schemas.openxmlformats.org/officeDocument/2006/relationships/tags" Target="../tags/tag402.xml" /><Relationship Id="rId5" Type="http://schemas.openxmlformats.org/officeDocument/2006/relationships/tags" Target="../tags/tag403.xml" /><Relationship Id="rId6" Type="http://schemas.openxmlformats.org/officeDocument/2006/relationships/tags" Target="../tags/tag404.xml" /><Relationship Id="rId7" Type="http://schemas.openxmlformats.org/officeDocument/2006/relationships/tags" Target="../tags/tag405.xml" /><Relationship Id="rId8" Type="http://schemas.openxmlformats.org/officeDocument/2006/relationships/image" Target="../media/image42.jpeg" /><Relationship Id="rId9" Type="http://schemas.openxmlformats.org/officeDocument/2006/relationships/tags" Target="../tags/tag406.xml" /></Relationships>
</file>

<file path=ppt/slideLayouts/_rels/slideLayout17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410.xml" /><Relationship Id="rId10" Type="http://schemas.openxmlformats.org/officeDocument/2006/relationships/tags" Target="../tags/tag418.xml" /><Relationship Id="rId11" Type="http://schemas.openxmlformats.org/officeDocument/2006/relationships/tags" Target="../tags/tag419.xml" /><Relationship Id="rId12" Type="http://schemas.openxmlformats.org/officeDocument/2006/relationships/tags" Target="../tags/tag420.xml" /><Relationship Id="rId13" Type="http://schemas.openxmlformats.org/officeDocument/2006/relationships/tags" Target="../tags/tag421.xml" /><Relationship Id="rId14" Type="http://schemas.openxmlformats.org/officeDocument/2006/relationships/tags" Target="../tags/tag422.xml" /><Relationship Id="rId15" Type="http://schemas.openxmlformats.org/officeDocument/2006/relationships/tags" Target="../tags/tag423.xml" /><Relationship Id="rId16" Type="http://schemas.openxmlformats.org/officeDocument/2006/relationships/tags" Target="../tags/tag424.xml" /><Relationship Id="rId17" Type="http://schemas.openxmlformats.org/officeDocument/2006/relationships/image" Target="../media/image39.png" /><Relationship Id="rId18" Type="http://schemas.openxmlformats.org/officeDocument/2006/relationships/tags" Target="../tags/tag425.xml" /><Relationship Id="rId19" Type="http://schemas.openxmlformats.org/officeDocument/2006/relationships/slideMaster" Target="../slideMasters/slideMaster1.xml" /><Relationship Id="rId2" Type="http://schemas.openxmlformats.org/officeDocument/2006/relationships/image" Target="../media/image44.jpeg" /><Relationship Id="rId3" Type="http://schemas.openxmlformats.org/officeDocument/2006/relationships/tags" Target="../tags/tag411.xml" /><Relationship Id="rId4" Type="http://schemas.openxmlformats.org/officeDocument/2006/relationships/tags" Target="../tags/tag412.xml" /><Relationship Id="rId5" Type="http://schemas.openxmlformats.org/officeDocument/2006/relationships/tags" Target="../tags/tag413.xml" /><Relationship Id="rId6" Type="http://schemas.openxmlformats.org/officeDocument/2006/relationships/tags" Target="../tags/tag414.xml" /><Relationship Id="rId7" Type="http://schemas.openxmlformats.org/officeDocument/2006/relationships/tags" Target="../tags/tag415.xml" /><Relationship Id="rId8" Type="http://schemas.openxmlformats.org/officeDocument/2006/relationships/tags" Target="../tags/tag416.xml" /><Relationship Id="rId9" Type="http://schemas.openxmlformats.org/officeDocument/2006/relationships/tags" Target="../tags/tag417.xml" /></Relationships>
</file>

<file path=ppt/slideLayouts/_rels/slideLayout18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426.xml" /><Relationship Id="rId10" Type="http://schemas.openxmlformats.org/officeDocument/2006/relationships/image" Target="../media/image39.png" /><Relationship Id="rId11" Type="http://schemas.openxmlformats.org/officeDocument/2006/relationships/tags" Target="../tags/tag434.xml" /><Relationship Id="rId12" Type="http://schemas.openxmlformats.org/officeDocument/2006/relationships/slideMaster" Target="../slideMasters/slideMaster1.xml" /><Relationship Id="rId2" Type="http://schemas.openxmlformats.org/officeDocument/2006/relationships/image" Target="../media/image45.jpeg" /><Relationship Id="rId3" Type="http://schemas.openxmlformats.org/officeDocument/2006/relationships/tags" Target="../tags/tag427.xml" /><Relationship Id="rId4" Type="http://schemas.openxmlformats.org/officeDocument/2006/relationships/tags" Target="../tags/tag428.xml" /><Relationship Id="rId5" Type="http://schemas.openxmlformats.org/officeDocument/2006/relationships/tags" Target="../tags/tag429.xml" /><Relationship Id="rId6" Type="http://schemas.openxmlformats.org/officeDocument/2006/relationships/tags" Target="../tags/tag430.xml" /><Relationship Id="rId7" Type="http://schemas.openxmlformats.org/officeDocument/2006/relationships/tags" Target="../tags/tag431.xml" /><Relationship Id="rId8" Type="http://schemas.openxmlformats.org/officeDocument/2006/relationships/tags" Target="../tags/tag432.xml" /><Relationship Id="rId9" Type="http://schemas.openxmlformats.org/officeDocument/2006/relationships/tags" Target="../tags/tag433.xml" /></Relationships>
</file>

<file path=ppt/slideLayouts/_rels/slideLayout19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435.xml" /><Relationship Id="rId10" Type="http://schemas.openxmlformats.org/officeDocument/2006/relationships/tags" Target="../tags/tag441.xml" /><Relationship Id="rId11" Type="http://schemas.openxmlformats.org/officeDocument/2006/relationships/tags" Target="../tags/tag442.xml" /><Relationship Id="rId12" Type="http://schemas.openxmlformats.org/officeDocument/2006/relationships/image" Target="../media/image47.png" /><Relationship Id="rId13" Type="http://schemas.openxmlformats.org/officeDocument/2006/relationships/tags" Target="../tags/tag443.xml" /><Relationship Id="rId14" Type="http://schemas.openxmlformats.org/officeDocument/2006/relationships/vmlDrawing" Target="../drawings/vmlDrawing2.vml" /><Relationship Id="rId15" Type="http://schemas.openxmlformats.org/officeDocument/2006/relationships/slideMaster" Target="../slideMasters/slideMaster1.xml" /><Relationship Id="rId2" Type="http://schemas.openxmlformats.org/officeDocument/2006/relationships/tags" Target="../tags/tag436.xml" /><Relationship Id="rId3" Type="http://schemas.openxmlformats.org/officeDocument/2006/relationships/oleObject" Target="../embeddings/oleObject2.bin" TargetMode="Internal" /><Relationship Id="rId4" Type="http://schemas.openxmlformats.org/officeDocument/2006/relationships/image" Target="../media/image5.emf" /><Relationship Id="rId5" Type="http://schemas.openxmlformats.org/officeDocument/2006/relationships/image" Target="../media/image46.jpeg" /><Relationship Id="rId6" Type="http://schemas.openxmlformats.org/officeDocument/2006/relationships/tags" Target="../tags/tag437.xml" /><Relationship Id="rId7" Type="http://schemas.openxmlformats.org/officeDocument/2006/relationships/tags" Target="../tags/tag438.xml" /><Relationship Id="rId8" Type="http://schemas.openxmlformats.org/officeDocument/2006/relationships/tags" Target="../tags/tag439.xml" /><Relationship Id="rId9" Type="http://schemas.openxmlformats.org/officeDocument/2006/relationships/tags" Target="../tags/tag440.xml" /></Relationships>
</file>

<file path=ppt/slideLayouts/_rels/slideLayout2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1.xml" /><Relationship Id="rId10" Type="http://schemas.openxmlformats.org/officeDocument/2006/relationships/tags" Target="../tags/tag19.xml" /><Relationship Id="rId11" Type="http://schemas.openxmlformats.org/officeDocument/2006/relationships/image" Target="../media/image4.png" /><Relationship Id="rId12" Type="http://schemas.openxmlformats.org/officeDocument/2006/relationships/tags" Target="../tags/tag20.xml" /><Relationship Id="rId13" Type="http://schemas.openxmlformats.org/officeDocument/2006/relationships/slideMaster" Target="../slideMasters/slideMaster1.xml" /><Relationship Id="rId2" Type="http://schemas.openxmlformats.org/officeDocument/2006/relationships/image" Target="../media/image3.jpeg" /><Relationship Id="rId3" Type="http://schemas.openxmlformats.org/officeDocument/2006/relationships/tags" Target="../tags/tag12.xml" /><Relationship Id="rId4" Type="http://schemas.openxmlformats.org/officeDocument/2006/relationships/tags" Target="../tags/tag13.xml" /><Relationship Id="rId5" Type="http://schemas.openxmlformats.org/officeDocument/2006/relationships/tags" Target="../tags/tag14.xml" /><Relationship Id="rId6" Type="http://schemas.openxmlformats.org/officeDocument/2006/relationships/tags" Target="../tags/tag15.xml" /><Relationship Id="rId7" Type="http://schemas.openxmlformats.org/officeDocument/2006/relationships/tags" Target="../tags/tag16.xml" /><Relationship Id="rId8" Type="http://schemas.openxmlformats.org/officeDocument/2006/relationships/tags" Target="../tags/tag17.xml" /><Relationship Id="rId9" Type="http://schemas.openxmlformats.org/officeDocument/2006/relationships/tags" Target="../tags/tag18.xml" /></Relationships>
</file>

<file path=ppt/slideLayouts/_rels/slideLayout20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444.xml" /><Relationship Id="rId2" Type="http://schemas.openxmlformats.org/officeDocument/2006/relationships/image" Target="../media/image48.jpeg" /><Relationship Id="rId3" Type="http://schemas.openxmlformats.org/officeDocument/2006/relationships/tags" Target="../tags/tag445.xml" /><Relationship Id="rId4" Type="http://schemas.openxmlformats.org/officeDocument/2006/relationships/tags" Target="../tags/tag446.xml" /><Relationship Id="rId5" Type="http://schemas.openxmlformats.org/officeDocument/2006/relationships/tags" Target="../tags/tag447.xml" /><Relationship Id="rId6" Type="http://schemas.openxmlformats.org/officeDocument/2006/relationships/tags" Target="../tags/tag448.xml" /><Relationship Id="rId7" Type="http://schemas.openxmlformats.org/officeDocument/2006/relationships/tags" Target="../tags/tag449.xml" /><Relationship Id="rId8" Type="http://schemas.openxmlformats.org/officeDocument/2006/relationships/slideMaster" Target="../slideMasters/slideMaster1.xml" /></Relationships>
</file>

<file path=ppt/slideLayouts/_rels/slideLayout21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450.xml" /><Relationship Id="rId2" Type="http://schemas.openxmlformats.org/officeDocument/2006/relationships/tags" Target="../tags/tag451.xml" /><Relationship Id="rId3" Type="http://schemas.openxmlformats.org/officeDocument/2006/relationships/tags" Target="../tags/tag452.xml" /><Relationship Id="rId4" Type="http://schemas.openxmlformats.org/officeDocument/2006/relationships/tags" Target="../tags/tag453.xml" /><Relationship Id="rId5" Type="http://schemas.openxmlformats.org/officeDocument/2006/relationships/tags" Target="../tags/tag454.xml" /><Relationship Id="rId6" Type="http://schemas.openxmlformats.org/officeDocument/2006/relationships/image" Target="../media/image49.jpeg" /><Relationship Id="rId7" Type="http://schemas.openxmlformats.org/officeDocument/2006/relationships/tags" Target="../tags/tag455.xml" /><Relationship Id="rId8" Type="http://schemas.openxmlformats.org/officeDocument/2006/relationships/tags" Target="../tags/tag456.xml" /><Relationship Id="rId9" Type="http://schemas.openxmlformats.org/officeDocument/2006/relationships/slideMaster" Target="../slideMasters/slideMaster1.xml" /></Relationships>
</file>

<file path=ppt/slideLayouts/_rels/slideLayout22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457.xml" /><Relationship Id="rId2" Type="http://schemas.openxmlformats.org/officeDocument/2006/relationships/image" Target="../media/image3.jpeg" /><Relationship Id="rId3" Type="http://schemas.openxmlformats.org/officeDocument/2006/relationships/tags" Target="../tags/tag458.xml" /><Relationship Id="rId4" Type="http://schemas.openxmlformats.org/officeDocument/2006/relationships/tags" Target="../tags/tag459.xml" /><Relationship Id="rId5" Type="http://schemas.openxmlformats.org/officeDocument/2006/relationships/tags" Target="../tags/tag460.xml" /><Relationship Id="rId6" Type="http://schemas.openxmlformats.org/officeDocument/2006/relationships/tags" Target="../tags/tag461.xml" /><Relationship Id="rId7" Type="http://schemas.openxmlformats.org/officeDocument/2006/relationships/image" Target="../media/image50.png" /><Relationship Id="rId8" Type="http://schemas.openxmlformats.org/officeDocument/2006/relationships/tags" Target="../tags/tag462.xml" /><Relationship Id="rId9" Type="http://schemas.openxmlformats.org/officeDocument/2006/relationships/slideMaster" Target="../slideMasters/slideMaster1.xml" /></Relationships>
</file>

<file path=ppt/slideLayouts/_rels/slideLayout23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463.xml" /><Relationship Id="rId10" Type="http://schemas.openxmlformats.org/officeDocument/2006/relationships/image" Target="../media/image53.svg" /><Relationship Id="rId11" Type="http://schemas.openxmlformats.org/officeDocument/2006/relationships/tags" Target="../tags/tag470.xml" /><Relationship Id="rId12" Type="http://schemas.openxmlformats.org/officeDocument/2006/relationships/image" Target="../media/image54.png" /><Relationship Id="rId13" Type="http://schemas.openxmlformats.org/officeDocument/2006/relationships/image" Target="../media/image55.svg" /><Relationship Id="rId14" Type="http://schemas.openxmlformats.org/officeDocument/2006/relationships/tags" Target="../tags/tag471.xml" /><Relationship Id="rId15" Type="http://schemas.openxmlformats.org/officeDocument/2006/relationships/image" Target="../media/image56.png" /><Relationship Id="rId16" Type="http://schemas.openxmlformats.org/officeDocument/2006/relationships/image" Target="../media/image57.svg" /><Relationship Id="rId17" Type="http://schemas.openxmlformats.org/officeDocument/2006/relationships/tags" Target="../tags/tag472.xml" /><Relationship Id="rId18" Type="http://schemas.openxmlformats.org/officeDocument/2006/relationships/tags" Target="../tags/tag473.xml" /><Relationship Id="rId19" Type="http://schemas.openxmlformats.org/officeDocument/2006/relationships/tags" Target="../tags/tag474.xml" /><Relationship Id="rId2" Type="http://schemas.openxmlformats.org/officeDocument/2006/relationships/image" Target="../media/image51.jpeg" /><Relationship Id="rId20" Type="http://schemas.openxmlformats.org/officeDocument/2006/relationships/tags" Target="../tags/tag475.xml" /><Relationship Id="rId21" Type="http://schemas.openxmlformats.org/officeDocument/2006/relationships/tags" Target="../tags/tag476.xml" /><Relationship Id="rId22" Type="http://schemas.openxmlformats.org/officeDocument/2006/relationships/tags" Target="../tags/tag477.xml" /><Relationship Id="rId23" Type="http://schemas.openxmlformats.org/officeDocument/2006/relationships/image" Target="../media/image58.png" /><Relationship Id="rId24" Type="http://schemas.openxmlformats.org/officeDocument/2006/relationships/tags" Target="../tags/tag478.xml" /><Relationship Id="rId25" Type="http://schemas.openxmlformats.org/officeDocument/2006/relationships/slideMaster" Target="../slideMasters/slideMaster1.xml" /><Relationship Id="rId3" Type="http://schemas.openxmlformats.org/officeDocument/2006/relationships/tags" Target="../tags/tag464.xml" /><Relationship Id="rId4" Type="http://schemas.openxmlformats.org/officeDocument/2006/relationships/tags" Target="../tags/tag465.xml" /><Relationship Id="rId5" Type="http://schemas.openxmlformats.org/officeDocument/2006/relationships/tags" Target="../tags/tag466.xml" /><Relationship Id="rId6" Type="http://schemas.openxmlformats.org/officeDocument/2006/relationships/tags" Target="../tags/tag467.xml" /><Relationship Id="rId7" Type="http://schemas.openxmlformats.org/officeDocument/2006/relationships/tags" Target="../tags/tag468.xml" /><Relationship Id="rId8" Type="http://schemas.openxmlformats.org/officeDocument/2006/relationships/tags" Target="../tags/tag469.xml" /><Relationship Id="rId9" Type="http://schemas.openxmlformats.org/officeDocument/2006/relationships/image" Target="../media/image52.png" /></Relationships>
</file>

<file path=ppt/slideLayouts/_rels/slideLayout24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479.xml" /><Relationship Id="rId2" Type="http://schemas.openxmlformats.org/officeDocument/2006/relationships/tags" Target="../tags/tag480.xml" /><Relationship Id="rId3" Type="http://schemas.openxmlformats.org/officeDocument/2006/relationships/tags" Target="../tags/tag481.xml" /><Relationship Id="rId4" Type="http://schemas.openxmlformats.org/officeDocument/2006/relationships/slideMaster" Target="../slideMasters/slideMaster1.xml" /></Relationships>
</file>

<file path=ppt/slideLayouts/_rels/slideLayout25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482.xml" /><Relationship Id="rId10" Type="http://schemas.openxmlformats.org/officeDocument/2006/relationships/tags" Target="../tags/tag489.xml" /><Relationship Id="rId11" Type="http://schemas.openxmlformats.org/officeDocument/2006/relationships/slideMaster" Target="../slideMasters/slideMaster1.xml" /><Relationship Id="rId2" Type="http://schemas.openxmlformats.org/officeDocument/2006/relationships/image" Target="../media/image59.jpeg" /><Relationship Id="rId3" Type="http://schemas.openxmlformats.org/officeDocument/2006/relationships/tags" Target="../tags/tag483.xml" /><Relationship Id="rId4" Type="http://schemas.openxmlformats.org/officeDocument/2006/relationships/tags" Target="../tags/tag484.xml" /><Relationship Id="rId5" Type="http://schemas.openxmlformats.org/officeDocument/2006/relationships/tags" Target="../tags/tag485.xml" /><Relationship Id="rId6" Type="http://schemas.openxmlformats.org/officeDocument/2006/relationships/tags" Target="../tags/tag486.xml" /><Relationship Id="rId7" Type="http://schemas.openxmlformats.org/officeDocument/2006/relationships/image" Target="../media/image60.png" /><Relationship Id="rId8" Type="http://schemas.openxmlformats.org/officeDocument/2006/relationships/tags" Target="../tags/tag487.xml" /><Relationship Id="rId9" Type="http://schemas.openxmlformats.org/officeDocument/2006/relationships/tags" Target="../tags/tag488.xml" /></Relationships>
</file>

<file path=ppt/slideLayouts/_rels/slideLayout26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498.xml" /><Relationship Id="rId2" Type="http://schemas.openxmlformats.org/officeDocument/2006/relationships/tags" Target="../tags/tag499.xml" /><Relationship Id="rId3" Type="http://schemas.openxmlformats.org/officeDocument/2006/relationships/tags" Target="../tags/tag500.xml" /><Relationship Id="rId4" Type="http://schemas.openxmlformats.org/officeDocument/2006/relationships/tags" Target="../tags/tag501.xml" /><Relationship Id="rId5" Type="http://schemas.openxmlformats.org/officeDocument/2006/relationships/slideMaster" Target="../slideMasters/slideMaster2.xml" /></Relationships>
</file>

<file path=ppt/slideLayouts/_rels/slideLayout27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502.xml" /><Relationship Id="rId2" Type="http://schemas.openxmlformats.org/officeDocument/2006/relationships/tags" Target="../tags/tag503.xml" /><Relationship Id="rId3" Type="http://schemas.openxmlformats.org/officeDocument/2006/relationships/tags" Target="../tags/tag504.xml" /><Relationship Id="rId4" Type="http://schemas.openxmlformats.org/officeDocument/2006/relationships/slideMaster" Target="../slideMasters/slideMaster2.xml" /></Relationships>
</file>

<file path=ppt/slideLayouts/_rels/slideLayout3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21.xml" /><Relationship Id="rId10" Type="http://schemas.openxmlformats.org/officeDocument/2006/relationships/tags" Target="../tags/tag27.xml" /><Relationship Id="rId11" Type="http://schemas.openxmlformats.org/officeDocument/2006/relationships/tags" Target="../tags/tag28.xml" /><Relationship Id="rId12" Type="http://schemas.openxmlformats.org/officeDocument/2006/relationships/image" Target="../media/image7.png" /><Relationship Id="rId13" Type="http://schemas.openxmlformats.org/officeDocument/2006/relationships/tags" Target="../tags/tag29.xml" /><Relationship Id="rId14" Type="http://schemas.openxmlformats.org/officeDocument/2006/relationships/tags" Target="../tags/tag30.xml" /><Relationship Id="rId15" Type="http://schemas.openxmlformats.org/officeDocument/2006/relationships/tags" Target="../tags/tag31.xml" /><Relationship Id="rId16" Type="http://schemas.openxmlformats.org/officeDocument/2006/relationships/vmlDrawing" Target="../drawings/vmlDrawing1.vml" /><Relationship Id="rId17" Type="http://schemas.openxmlformats.org/officeDocument/2006/relationships/slideMaster" Target="../slideMasters/slideMaster1.xml" /><Relationship Id="rId2" Type="http://schemas.openxmlformats.org/officeDocument/2006/relationships/tags" Target="../tags/tag22.xml" /><Relationship Id="rId3" Type="http://schemas.openxmlformats.org/officeDocument/2006/relationships/oleObject" Target="../embeddings/oleObject1.bin" TargetMode="Internal" /><Relationship Id="rId4" Type="http://schemas.openxmlformats.org/officeDocument/2006/relationships/image" Target="../media/image5.emf" /><Relationship Id="rId5" Type="http://schemas.openxmlformats.org/officeDocument/2006/relationships/tags" Target="../tags/tag23.xml" /><Relationship Id="rId6" Type="http://schemas.openxmlformats.org/officeDocument/2006/relationships/tags" Target="../tags/tag24.xml" /><Relationship Id="rId7" Type="http://schemas.openxmlformats.org/officeDocument/2006/relationships/tags" Target="../tags/tag25.xml" /><Relationship Id="rId8" Type="http://schemas.openxmlformats.org/officeDocument/2006/relationships/tags" Target="../tags/tag26.xml" /><Relationship Id="rId9" Type="http://schemas.openxmlformats.org/officeDocument/2006/relationships/image" Target="../media/image6.jpeg" /></Relationships>
</file>

<file path=ppt/slideLayouts/_rels/slideLayout4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32.xml" /><Relationship Id="rId10" Type="http://schemas.openxmlformats.org/officeDocument/2006/relationships/tags" Target="../tags/tag40.xml" /><Relationship Id="rId11" Type="http://schemas.openxmlformats.org/officeDocument/2006/relationships/tags" Target="../tags/tag41.xml" /><Relationship Id="rId12" Type="http://schemas.openxmlformats.org/officeDocument/2006/relationships/tags" Target="../tags/tag42.xml" /><Relationship Id="rId13" Type="http://schemas.openxmlformats.org/officeDocument/2006/relationships/tags" Target="../tags/tag43.xml" /><Relationship Id="rId14" Type="http://schemas.openxmlformats.org/officeDocument/2006/relationships/tags" Target="../tags/tag44.xml" /><Relationship Id="rId15" Type="http://schemas.openxmlformats.org/officeDocument/2006/relationships/tags" Target="../tags/tag45.xml" /><Relationship Id="rId16" Type="http://schemas.openxmlformats.org/officeDocument/2006/relationships/tags" Target="../tags/tag46.xml" /><Relationship Id="rId17" Type="http://schemas.openxmlformats.org/officeDocument/2006/relationships/tags" Target="../tags/tag47.xml" /><Relationship Id="rId18" Type="http://schemas.openxmlformats.org/officeDocument/2006/relationships/tags" Target="../tags/tag48.xml" /><Relationship Id="rId19" Type="http://schemas.openxmlformats.org/officeDocument/2006/relationships/tags" Target="../tags/tag49.xml" /><Relationship Id="rId2" Type="http://schemas.openxmlformats.org/officeDocument/2006/relationships/image" Target="../media/image8.jpeg" /><Relationship Id="rId20" Type="http://schemas.openxmlformats.org/officeDocument/2006/relationships/tags" Target="../tags/tag50.xml" /><Relationship Id="rId21" Type="http://schemas.openxmlformats.org/officeDocument/2006/relationships/tags" Target="../tags/tag51.xml" /><Relationship Id="rId22" Type="http://schemas.openxmlformats.org/officeDocument/2006/relationships/tags" Target="../tags/tag52.xml" /><Relationship Id="rId23" Type="http://schemas.openxmlformats.org/officeDocument/2006/relationships/image" Target="../media/image2.png" /><Relationship Id="rId24" Type="http://schemas.openxmlformats.org/officeDocument/2006/relationships/tags" Target="../tags/tag53.xml" /><Relationship Id="rId25" Type="http://schemas.openxmlformats.org/officeDocument/2006/relationships/slideMaster" Target="../slideMasters/slideMaster1.xml" /><Relationship Id="rId3" Type="http://schemas.openxmlformats.org/officeDocument/2006/relationships/tags" Target="../tags/tag33.xml" /><Relationship Id="rId4" Type="http://schemas.openxmlformats.org/officeDocument/2006/relationships/tags" Target="../tags/tag34.xml" /><Relationship Id="rId5" Type="http://schemas.openxmlformats.org/officeDocument/2006/relationships/tags" Target="../tags/tag35.xml" /><Relationship Id="rId6" Type="http://schemas.openxmlformats.org/officeDocument/2006/relationships/tags" Target="../tags/tag36.xml" /><Relationship Id="rId7" Type="http://schemas.openxmlformats.org/officeDocument/2006/relationships/tags" Target="../tags/tag37.xml" /><Relationship Id="rId8" Type="http://schemas.openxmlformats.org/officeDocument/2006/relationships/tags" Target="../tags/tag38.xml" /><Relationship Id="rId9" Type="http://schemas.openxmlformats.org/officeDocument/2006/relationships/tags" Target="../tags/tag39.xml" /></Relationships>
</file>

<file path=ppt/slideLayouts/_rels/slideLayout5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54.xml" /><Relationship Id="rId10" Type="http://schemas.openxmlformats.org/officeDocument/2006/relationships/tags" Target="../tags/tag62.xml" /><Relationship Id="rId11" Type="http://schemas.openxmlformats.org/officeDocument/2006/relationships/image" Target="../media/image10.png" /><Relationship Id="rId12" Type="http://schemas.openxmlformats.org/officeDocument/2006/relationships/tags" Target="../tags/tag63.xml" /><Relationship Id="rId13" Type="http://schemas.openxmlformats.org/officeDocument/2006/relationships/slideMaster" Target="../slideMasters/slideMaster1.xml" /><Relationship Id="rId2" Type="http://schemas.openxmlformats.org/officeDocument/2006/relationships/image" Target="../media/image9.jpeg" /><Relationship Id="rId3" Type="http://schemas.openxmlformats.org/officeDocument/2006/relationships/tags" Target="../tags/tag55.xml" /><Relationship Id="rId4" Type="http://schemas.openxmlformats.org/officeDocument/2006/relationships/tags" Target="../tags/tag56.xml" /><Relationship Id="rId5" Type="http://schemas.openxmlformats.org/officeDocument/2006/relationships/tags" Target="../tags/tag57.xml" /><Relationship Id="rId6" Type="http://schemas.openxmlformats.org/officeDocument/2006/relationships/tags" Target="../tags/tag58.xml" /><Relationship Id="rId7" Type="http://schemas.openxmlformats.org/officeDocument/2006/relationships/tags" Target="../tags/tag59.xml" /><Relationship Id="rId8" Type="http://schemas.openxmlformats.org/officeDocument/2006/relationships/tags" Target="../tags/tag60.xml" /><Relationship Id="rId9" Type="http://schemas.openxmlformats.org/officeDocument/2006/relationships/tags" Target="../tags/tag61.xml" /></Relationships>
</file>

<file path=ppt/slideLayouts/_rels/slideLayout6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64.xml" /><Relationship Id="rId10" Type="http://schemas.openxmlformats.org/officeDocument/2006/relationships/tags" Target="../tags/tag72.xml" /><Relationship Id="rId11" Type="http://schemas.openxmlformats.org/officeDocument/2006/relationships/image" Target="../media/image12.png" /><Relationship Id="rId12" Type="http://schemas.openxmlformats.org/officeDocument/2006/relationships/tags" Target="../tags/tag73.xml" /><Relationship Id="rId13" Type="http://schemas.openxmlformats.org/officeDocument/2006/relationships/image" Target="../media/image13.png" /><Relationship Id="rId14" Type="http://schemas.openxmlformats.org/officeDocument/2006/relationships/tags" Target="../tags/tag74.xml" /><Relationship Id="rId15" Type="http://schemas.openxmlformats.org/officeDocument/2006/relationships/image" Target="../media/image14.png" /><Relationship Id="rId16" Type="http://schemas.openxmlformats.org/officeDocument/2006/relationships/tags" Target="../tags/tag75.xml" /><Relationship Id="rId17" Type="http://schemas.openxmlformats.org/officeDocument/2006/relationships/image" Target="../media/image15.png" /><Relationship Id="rId18" Type="http://schemas.openxmlformats.org/officeDocument/2006/relationships/tags" Target="../tags/tag76.xml" /><Relationship Id="rId19" Type="http://schemas.openxmlformats.org/officeDocument/2006/relationships/slideMaster" Target="../slideMasters/slideMaster1.xml" /><Relationship Id="rId2" Type="http://schemas.openxmlformats.org/officeDocument/2006/relationships/image" Target="../media/image11.jpeg" /><Relationship Id="rId3" Type="http://schemas.openxmlformats.org/officeDocument/2006/relationships/tags" Target="../tags/tag65.xml" /><Relationship Id="rId4" Type="http://schemas.openxmlformats.org/officeDocument/2006/relationships/tags" Target="../tags/tag66.xml" /><Relationship Id="rId5" Type="http://schemas.openxmlformats.org/officeDocument/2006/relationships/tags" Target="../tags/tag67.xml" /><Relationship Id="rId6" Type="http://schemas.openxmlformats.org/officeDocument/2006/relationships/tags" Target="../tags/tag68.xml" /><Relationship Id="rId7" Type="http://schemas.openxmlformats.org/officeDocument/2006/relationships/tags" Target="../tags/tag69.xml" /><Relationship Id="rId8" Type="http://schemas.openxmlformats.org/officeDocument/2006/relationships/tags" Target="../tags/tag70.xml" /><Relationship Id="rId9" Type="http://schemas.openxmlformats.org/officeDocument/2006/relationships/tags" Target="../tags/tag71.xml" /></Relationships>
</file>

<file path=ppt/slideLayouts/_rels/slideLayout7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77.xml" /><Relationship Id="rId10" Type="http://schemas.openxmlformats.org/officeDocument/2006/relationships/image" Target="../media/image17.png" /><Relationship Id="rId11" Type="http://schemas.openxmlformats.org/officeDocument/2006/relationships/tags" Target="../tags/tag84.xml" /><Relationship Id="rId12" Type="http://schemas.openxmlformats.org/officeDocument/2006/relationships/image" Target="../media/image18.png" /><Relationship Id="rId13" Type="http://schemas.openxmlformats.org/officeDocument/2006/relationships/tags" Target="../tags/tag85.xml" /><Relationship Id="rId14" Type="http://schemas.openxmlformats.org/officeDocument/2006/relationships/image" Target="../media/image19.png" /><Relationship Id="rId15" Type="http://schemas.openxmlformats.org/officeDocument/2006/relationships/tags" Target="../tags/tag86.xml" /><Relationship Id="rId16" Type="http://schemas.openxmlformats.org/officeDocument/2006/relationships/image" Target="../media/image20.png" /><Relationship Id="rId17" Type="http://schemas.openxmlformats.org/officeDocument/2006/relationships/tags" Target="../tags/tag87.xml" /><Relationship Id="rId18" Type="http://schemas.openxmlformats.org/officeDocument/2006/relationships/image" Target="../media/image21.png" /><Relationship Id="rId19" Type="http://schemas.openxmlformats.org/officeDocument/2006/relationships/tags" Target="../tags/tag88.xml" /><Relationship Id="rId2" Type="http://schemas.openxmlformats.org/officeDocument/2006/relationships/image" Target="../media/image3.jpeg" /><Relationship Id="rId20" Type="http://schemas.openxmlformats.org/officeDocument/2006/relationships/image" Target="../media/image22.png" /><Relationship Id="rId21" Type="http://schemas.openxmlformats.org/officeDocument/2006/relationships/tags" Target="../tags/tag89.xml" /><Relationship Id="rId22" Type="http://schemas.openxmlformats.org/officeDocument/2006/relationships/image" Target="../media/image23.png" /><Relationship Id="rId23" Type="http://schemas.openxmlformats.org/officeDocument/2006/relationships/tags" Target="../tags/tag90.xml" /><Relationship Id="rId24" Type="http://schemas.openxmlformats.org/officeDocument/2006/relationships/image" Target="../media/image24.png" /><Relationship Id="rId25" Type="http://schemas.openxmlformats.org/officeDocument/2006/relationships/tags" Target="../tags/tag91.xml" /><Relationship Id="rId26" Type="http://schemas.openxmlformats.org/officeDocument/2006/relationships/image" Target="../media/image25.png" /><Relationship Id="rId27" Type="http://schemas.openxmlformats.org/officeDocument/2006/relationships/tags" Target="../tags/tag92.xml" /><Relationship Id="rId28" Type="http://schemas.openxmlformats.org/officeDocument/2006/relationships/image" Target="../media/image26.png" /><Relationship Id="rId29" Type="http://schemas.openxmlformats.org/officeDocument/2006/relationships/tags" Target="../tags/tag93.xml" /><Relationship Id="rId3" Type="http://schemas.openxmlformats.org/officeDocument/2006/relationships/tags" Target="../tags/tag78.xml" /><Relationship Id="rId30" Type="http://schemas.openxmlformats.org/officeDocument/2006/relationships/image" Target="../media/image27.png" /><Relationship Id="rId31" Type="http://schemas.openxmlformats.org/officeDocument/2006/relationships/tags" Target="../tags/tag94.xml" /><Relationship Id="rId32" Type="http://schemas.openxmlformats.org/officeDocument/2006/relationships/tags" Target="../tags/tag95.xml" /><Relationship Id="rId33" Type="http://schemas.openxmlformats.org/officeDocument/2006/relationships/slideMaster" Target="../slideMasters/slideMaster1.xml" /><Relationship Id="rId4" Type="http://schemas.openxmlformats.org/officeDocument/2006/relationships/tags" Target="../tags/tag79.xml" /><Relationship Id="rId5" Type="http://schemas.openxmlformats.org/officeDocument/2006/relationships/tags" Target="../tags/tag80.xml" /><Relationship Id="rId6" Type="http://schemas.openxmlformats.org/officeDocument/2006/relationships/tags" Target="../tags/tag81.xml" /><Relationship Id="rId7" Type="http://schemas.openxmlformats.org/officeDocument/2006/relationships/tags" Target="../tags/tag82.xml" /><Relationship Id="rId8" Type="http://schemas.openxmlformats.org/officeDocument/2006/relationships/image" Target="../media/image16.png" /><Relationship Id="rId9" Type="http://schemas.openxmlformats.org/officeDocument/2006/relationships/tags" Target="../tags/tag83.xml" /></Relationships>
</file>

<file path=ppt/slideLayouts/_rels/slideLayout8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96.xml" /><Relationship Id="rId10" Type="http://schemas.openxmlformats.org/officeDocument/2006/relationships/tags" Target="../tags/tag103.xml" /><Relationship Id="rId11" Type="http://schemas.openxmlformats.org/officeDocument/2006/relationships/slideMaster" Target="../slideMasters/slideMaster1.xml" /><Relationship Id="rId2" Type="http://schemas.openxmlformats.org/officeDocument/2006/relationships/image" Target="../media/image28.jpeg" /><Relationship Id="rId3" Type="http://schemas.openxmlformats.org/officeDocument/2006/relationships/tags" Target="../tags/tag97.xml" /><Relationship Id="rId4" Type="http://schemas.openxmlformats.org/officeDocument/2006/relationships/tags" Target="../tags/tag98.xml" /><Relationship Id="rId5" Type="http://schemas.openxmlformats.org/officeDocument/2006/relationships/tags" Target="../tags/tag99.xml" /><Relationship Id="rId6" Type="http://schemas.openxmlformats.org/officeDocument/2006/relationships/tags" Target="../tags/tag100.xml" /><Relationship Id="rId7" Type="http://schemas.openxmlformats.org/officeDocument/2006/relationships/tags" Target="../tags/tag101.xml" /><Relationship Id="rId8" Type="http://schemas.openxmlformats.org/officeDocument/2006/relationships/tags" Target="../tags/tag102.xml" /><Relationship Id="rId9" Type="http://schemas.openxmlformats.org/officeDocument/2006/relationships/image" Target="../media/image29.png" /></Relationships>
</file>

<file path=ppt/slideLayouts/_rels/slideLayout9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04.xml" /><Relationship Id="rId10" Type="http://schemas.openxmlformats.org/officeDocument/2006/relationships/tags" Target="../tags/tag112.xml" /><Relationship Id="rId11" Type="http://schemas.openxmlformats.org/officeDocument/2006/relationships/tags" Target="../tags/tag113.xml" /><Relationship Id="rId12" Type="http://schemas.openxmlformats.org/officeDocument/2006/relationships/tags" Target="../tags/tag114.xml" /><Relationship Id="rId13" Type="http://schemas.openxmlformats.org/officeDocument/2006/relationships/image" Target="../media/image31.png" /><Relationship Id="rId14" Type="http://schemas.openxmlformats.org/officeDocument/2006/relationships/tags" Target="../tags/tag115.xml" /><Relationship Id="rId15" Type="http://schemas.openxmlformats.org/officeDocument/2006/relationships/slideMaster" Target="../slideMasters/slideMaster1.xml" /><Relationship Id="rId2" Type="http://schemas.openxmlformats.org/officeDocument/2006/relationships/image" Target="../media/image30.png" /><Relationship Id="rId3" Type="http://schemas.openxmlformats.org/officeDocument/2006/relationships/tags" Target="../tags/tag105.xml" /><Relationship Id="rId4" Type="http://schemas.openxmlformats.org/officeDocument/2006/relationships/tags" Target="../tags/tag106.xml" /><Relationship Id="rId5" Type="http://schemas.openxmlformats.org/officeDocument/2006/relationships/tags" Target="../tags/tag107.xml" /><Relationship Id="rId6" Type="http://schemas.openxmlformats.org/officeDocument/2006/relationships/tags" Target="../tags/tag108.xml" /><Relationship Id="rId7" Type="http://schemas.openxmlformats.org/officeDocument/2006/relationships/tags" Target="../tags/tag109.xml" /><Relationship Id="rId8" Type="http://schemas.openxmlformats.org/officeDocument/2006/relationships/tags" Target="../tags/tag110.xml" /><Relationship Id="rId9" Type="http://schemas.openxmlformats.org/officeDocument/2006/relationships/tags" Target="../tags/tag11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Title Slide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7" name="Picture 6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25" y="0"/>
            <a:ext cx="12198125" cy="6858000"/>
          </a:xfrm>
          <a:prstGeom prst="rect">
            <a:avLst/>
          </a:prstGeom>
        </p:spPr>
      </p:pic>
      <p:sp>
        <p:nvSpPr>
          <p:cNvPr id="8" name="object 3" descr="People with documents">
            <a:extLst>
              <a:ext uri="{FF2B5EF4-FFF2-40B4-BE49-F238E27FC236}">
                <a16:creationId xmlns:a16="http://schemas.microsoft.com/office/drawing/2014/main" id="{0CA2E80D-F3EC-4A5F-8E65-56FEA206EE0F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6125" y="0"/>
            <a:ext cx="12198125" cy="6858000"/>
          </a:xfrm>
          <a:custGeom>
            <a:rect l="l" t="t" r="r" b="b"/>
            <a:pathLst>
              <a:path w="12189460" h="6858000">
                <a:moveTo>
                  <a:pt x="0" y="6858000"/>
                </a:moveTo>
                <a:lnTo>
                  <a:pt x="12188952" y="6858000"/>
                </a:lnTo>
                <a:lnTo>
                  <a:pt x="1218895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alpha val="79000"/>
            </a:schemeClr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7D165-49B0-44FF-A267-367F5A6EE306}"/>
              </a:ext>
            </a:extLst>
          </p:cNvPr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178037" y="743502"/>
            <a:ext cx="9829800" cy="2128049"/>
          </a:xfrm>
        </p:spPr>
        <p:txBody>
          <a:bodyPr anchor="b">
            <a:noAutofit/>
          </a:bodyPr>
          <a:lstStyle>
            <a:lvl1pPr algn="ctr">
              <a:lnSpc>
                <a:spcPct val="125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6B52800-74D6-4A78-AC9B-8E737A1A3B0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4381500" y="3350734"/>
            <a:ext cx="3429000" cy="528638"/>
          </a:xfrm>
          <a:solidFill>
            <a:schemeClr val="accent2">
              <a:alpha val="90000"/>
            </a:schemeClr>
          </a:solidFill>
        </p:spPr>
        <p:txBody>
          <a:bodyPr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500" b="1" i="1" kern="1200" spc="65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Presented by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B91F7B-C4AF-4FC6-A6BE-657DEF6D5358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fld id="{8DA08ED5-AEFE-4443-9040-726EF6690995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ED32F8-B0C7-4332-B0A5-BC19DD8C4CF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object 7" descr="Beige rectangle">
            <a:extLst>
              <a:ext uri="{FF2B5EF4-FFF2-40B4-BE49-F238E27FC236}">
                <a16:creationId xmlns:a16="http://schemas.microsoft.com/office/drawing/2014/main" id="{B36975AA-C62E-46BE-9382-E2CF56FDF817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white">
          <a:xfrm>
            <a:off x="1771650" y="2999972"/>
            <a:ext cx="8648700" cy="45719"/>
          </a:xfrm>
          <a:custGeom>
            <a:rect l="l" t="t" r="r" b="b"/>
            <a:pathLst>
              <a:path w="3935729">
                <a:moveTo>
                  <a:pt x="0" y="0"/>
                </a:moveTo>
                <a:lnTo>
                  <a:pt x="3935349" y="0"/>
                </a:lnTo>
              </a:path>
            </a:pathLst>
          </a:custGeom>
          <a:ln w="54863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1337469" y="4165600"/>
            <a:ext cx="9517063" cy="1785938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(Office)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Presenter Name (Office)</a:t>
            </a:r>
          </a:p>
          <a:p>
            <a:pPr lvl="0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2480" y="6064046"/>
            <a:ext cx="983233" cy="566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509743"/>
      </p:ext>
    </p:extLst>
  </p:cSld>
  <p:clrMapOvr>
    <a:masterClrMapping/>
  </p:clrMapOvr>
  <p:transition/>
  <p:timing/>
</p:sldLayout>
</file>

<file path=ppt/slideLayouts/slideLayout10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Map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219" name="Picture 218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0" name="Rectangle 219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grpSp>
        <p:nvGrpSpPr>
          <p:cNvPr id="6" name="Group 5"/>
          <p:cNvGrpSpPr/>
          <p:nvPr userDrawn="1">
            <p:custDataLst>
              <p:tags r:id="rId7"/>
            </p:custDataLst>
          </p:nvPr>
        </p:nvGrpSpPr>
        <p:grpSpPr>
          <a:xfrm>
            <a:off x="8563235" y="-1409810"/>
            <a:ext cx="4429125" cy="4692651"/>
            <a:chOff x="8359775" y="-1335088"/>
            <a:chExt cx="4429125" cy="4692651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 userDrawn="1">
              <p:custDataLst>
                <p:tags r:id="rId8"/>
              </p:custDataLst>
            </p:nvPr>
          </p:nvSpPr>
          <p:spPr bwMode="grayWhite">
            <a:xfrm>
              <a:off x="8359775" y="-1335088"/>
              <a:ext cx="4429125" cy="4692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5"/>
            <p:cNvSpPr>
              <a:spLocks noEditPoints="1"/>
            </p:cNvSpPr>
            <p:nvPr userDrawn="1">
              <p:custDataLst>
                <p:tags r:id="rId9"/>
              </p:custDataLst>
            </p:nvPr>
          </p:nvSpPr>
          <p:spPr bwMode="grayWhite">
            <a:xfrm>
              <a:off x="9948863" y="-1284288"/>
              <a:ext cx="1012825" cy="1852613"/>
            </a:xfrm>
            <a:custGeom>
              <a:gdLst>
                <a:gd name="T0" fmla="*/ 39 w 370"/>
                <a:gd name="T1" fmla="*/ 658 h 668"/>
                <a:gd name="T2" fmla="*/ 26 w 370"/>
                <a:gd name="T3" fmla="*/ 633 h 668"/>
                <a:gd name="T4" fmla="*/ 23 w 370"/>
                <a:gd name="T5" fmla="*/ 604 h 668"/>
                <a:gd name="T6" fmla="*/ 14 w 370"/>
                <a:gd name="T7" fmla="*/ 599 h 668"/>
                <a:gd name="T8" fmla="*/ 7 w 370"/>
                <a:gd name="T9" fmla="*/ 562 h 668"/>
                <a:gd name="T10" fmla="*/ 38 w 370"/>
                <a:gd name="T11" fmla="*/ 543 h 668"/>
                <a:gd name="T12" fmla="*/ 11 w 370"/>
                <a:gd name="T13" fmla="*/ 500 h 668"/>
                <a:gd name="T14" fmla="*/ 9 w 370"/>
                <a:gd name="T15" fmla="*/ 488 h 668"/>
                <a:gd name="T16" fmla="*/ 38 w 370"/>
                <a:gd name="T17" fmla="*/ 474 h 668"/>
                <a:gd name="T18" fmla="*/ 38 w 370"/>
                <a:gd name="T19" fmla="*/ 465 h 668"/>
                <a:gd name="T20" fmla="*/ 42 w 370"/>
                <a:gd name="T21" fmla="*/ 447 h 668"/>
                <a:gd name="T22" fmla="*/ 60 w 370"/>
                <a:gd name="T23" fmla="*/ 440 h 668"/>
                <a:gd name="T24" fmla="*/ 77 w 370"/>
                <a:gd name="T25" fmla="*/ 425 h 668"/>
                <a:gd name="T26" fmla="*/ 108 w 370"/>
                <a:gd name="T27" fmla="*/ 397 h 668"/>
                <a:gd name="T28" fmla="*/ 101 w 370"/>
                <a:gd name="T29" fmla="*/ 402 h 668"/>
                <a:gd name="T30" fmla="*/ 110 w 370"/>
                <a:gd name="T31" fmla="*/ 367 h 668"/>
                <a:gd name="T32" fmla="*/ 131 w 370"/>
                <a:gd name="T33" fmla="*/ 329 h 668"/>
                <a:gd name="T34" fmla="*/ 136 w 370"/>
                <a:gd name="T35" fmla="*/ 277 h 668"/>
                <a:gd name="T36" fmla="*/ 159 w 370"/>
                <a:gd name="T37" fmla="*/ 226 h 668"/>
                <a:gd name="T38" fmla="*/ 161 w 370"/>
                <a:gd name="T39" fmla="*/ 190 h 668"/>
                <a:gd name="T40" fmla="*/ 177 w 370"/>
                <a:gd name="T41" fmla="*/ 172 h 668"/>
                <a:gd name="T42" fmla="*/ 164 w 370"/>
                <a:gd name="T43" fmla="*/ 180 h 668"/>
                <a:gd name="T44" fmla="*/ 149 w 370"/>
                <a:gd name="T45" fmla="*/ 158 h 668"/>
                <a:gd name="T46" fmla="*/ 175 w 370"/>
                <a:gd name="T47" fmla="*/ 159 h 668"/>
                <a:gd name="T48" fmla="*/ 168 w 370"/>
                <a:gd name="T49" fmla="*/ 130 h 668"/>
                <a:gd name="T50" fmla="*/ 198 w 370"/>
                <a:gd name="T51" fmla="*/ 104 h 668"/>
                <a:gd name="T52" fmla="*/ 217 w 370"/>
                <a:gd name="T53" fmla="*/ 115 h 668"/>
                <a:gd name="T54" fmla="*/ 229 w 370"/>
                <a:gd name="T55" fmla="*/ 74 h 668"/>
                <a:gd name="T56" fmla="*/ 230 w 370"/>
                <a:gd name="T57" fmla="*/ 50 h 668"/>
                <a:gd name="T58" fmla="*/ 253 w 370"/>
                <a:gd name="T59" fmla="*/ 65 h 668"/>
                <a:gd name="T60" fmla="*/ 276 w 370"/>
                <a:gd name="T61" fmla="*/ 50 h 668"/>
                <a:gd name="T62" fmla="*/ 286 w 370"/>
                <a:gd name="T63" fmla="*/ 17 h 668"/>
                <a:gd name="T64" fmla="*/ 297 w 370"/>
                <a:gd name="T65" fmla="*/ 16 h 668"/>
                <a:gd name="T66" fmla="*/ 315 w 370"/>
                <a:gd name="T67" fmla="*/ 23 h 668"/>
                <a:gd name="T68" fmla="*/ 357 w 370"/>
                <a:gd name="T69" fmla="*/ 11 h 668"/>
                <a:gd name="T70" fmla="*/ 360 w 370"/>
                <a:gd name="T71" fmla="*/ 38 h 668"/>
                <a:gd name="T72" fmla="*/ 360 w 370"/>
                <a:gd name="T73" fmla="*/ 62 h 668"/>
                <a:gd name="T74" fmla="*/ 320 w 370"/>
                <a:gd name="T75" fmla="*/ 41 h 668"/>
                <a:gd name="T76" fmla="*/ 303 w 370"/>
                <a:gd name="T77" fmla="*/ 109 h 668"/>
                <a:gd name="T78" fmla="*/ 252 w 370"/>
                <a:gd name="T79" fmla="*/ 120 h 668"/>
                <a:gd name="T80" fmla="*/ 218 w 370"/>
                <a:gd name="T81" fmla="*/ 135 h 668"/>
                <a:gd name="T82" fmla="*/ 185 w 370"/>
                <a:gd name="T83" fmla="*/ 187 h 668"/>
                <a:gd name="T84" fmla="*/ 159 w 370"/>
                <a:gd name="T85" fmla="*/ 304 h 668"/>
                <a:gd name="T86" fmla="*/ 163 w 370"/>
                <a:gd name="T87" fmla="*/ 363 h 668"/>
                <a:gd name="T88" fmla="*/ 134 w 370"/>
                <a:gd name="T89" fmla="*/ 442 h 668"/>
                <a:gd name="T90" fmla="*/ 154 w 370"/>
                <a:gd name="T91" fmla="*/ 496 h 668"/>
                <a:gd name="T92" fmla="*/ 160 w 370"/>
                <a:gd name="T93" fmla="*/ 568 h 668"/>
                <a:gd name="T94" fmla="*/ 135 w 370"/>
                <a:gd name="T95" fmla="*/ 585 h 668"/>
                <a:gd name="T96" fmla="*/ 125 w 370"/>
                <a:gd name="T97" fmla="*/ 596 h 668"/>
                <a:gd name="T98" fmla="*/ 77 w 370"/>
                <a:gd name="T99" fmla="*/ 663 h 668"/>
                <a:gd name="T100" fmla="*/ 272 w 370"/>
                <a:gd name="T101" fmla="*/ 30 h 668"/>
                <a:gd name="T102" fmla="*/ 272 w 370"/>
                <a:gd name="T103" fmla="*/ 30 h 668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70" h="668">
                  <a:moveTo>
                    <a:pt x="48" y="665"/>
                  </a:moveTo>
                  <a:cubicBezTo>
                    <a:pt x="46" y="662"/>
                    <a:pt x="43" y="662"/>
                    <a:pt x="41" y="663"/>
                  </a:cubicBezTo>
                  <a:cubicBezTo>
                    <a:pt x="38" y="665"/>
                    <a:pt x="37" y="663"/>
                    <a:pt x="39" y="658"/>
                  </a:cubicBezTo>
                  <a:cubicBezTo>
                    <a:pt x="41" y="654"/>
                    <a:pt x="41" y="652"/>
                    <a:pt x="39" y="653"/>
                  </a:cubicBezTo>
                  <a:cubicBezTo>
                    <a:pt x="34" y="658"/>
                    <a:pt x="22" y="649"/>
                    <a:pt x="22" y="640"/>
                  </a:cubicBezTo>
                  <a:cubicBezTo>
                    <a:pt x="22" y="636"/>
                    <a:pt x="23" y="633"/>
                    <a:pt x="26" y="633"/>
                  </a:cubicBezTo>
                  <a:cubicBezTo>
                    <a:pt x="28" y="633"/>
                    <a:pt x="29" y="631"/>
                    <a:pt x="28" y="629"/>
                  </a:cubicBezTo>
                  <a:cubicBezTo>
                    <a:pt x="26" y="626"/>
                    <a:pt x="26" y="622"/>
                    <a:pt x="28" y="620"/>
                  </a:cubicBezTo>
                  <a:cubicBezTo>
                    <a:pt x="35" y="609"/>
                    <a:pt x="32" y="602"/>
                    <a:pt x="23" y="604"/>
                  </a:cubicBezTo>
                  <a:cubicBezTo>
                    <a:pt x="18" y="605"/>
                    <a:pt x="13" y="607"/>
                    <a:pt x="13" y="610"/>
                  </a:cubicBezTo>
                  <a:cubicBezTo>
                    <a:pt x="13" y="612"/>
                    <a:pt x="12" y="612"/>
                    <a:pt x="10" y="609"/>
                  </a:cubicBezTo>
                  <a:cubicBezTo>
                    <a:pt x="7" y="605"/>
                    <a:pt x="8" y="602"/>
                    <a:pt x="14" y="599"/>
                  </a:cubicBezTo>
                  <a:cubicBezTo>
                    <a:pt x="23" y="594"/>
                    <a:pt x="28" y="569"/>
                    <a:pt x="21" y="568"/>
                  </a:cubicBezTo>
                  <a:cubicBezTo>
                    <a:pt x="19" y="568"/>
                    <a:pt x="15" y="567"/>
                    <a:pt x="13" y="567"/>
                  </a:cubicBezTo>
                  <a:cubicBezTo>
                    <a:pt x="10" y="567"/>
                    <a:pt x="7" y="564"/>
                    <a:pt x="7" y="562"/>
                  </a:cubicBezTo>
                  <a:cubicBezTo>
                    <a:pt x="5" y="556"/>
                    <a:pt x="38" y="550"/>
                    <a:pt x="45" y="554"/>
                  </a:cubicBezTo>
                  <a:cubicBezTo>
                    <a:pt x="48" y="556"/>
                    <a:pt x="50" y="553"/>
                    <a:pt x="50" y="547"/>
                  </a:cubicBezTo>
                  <a:cubicBezTo>
                    <a:pt x="50" y="535"/>
                    <a:pt x="45" y="534"/>
                    <a:pt x="38" y="543"/>
                  </a:cubicBezTo>
                  <a:cubicBezTo>
                    <a:pt x="31" y="550"/>
                    <a:pt x="15" y="550"/>
                    <a:pt x="7" y="543"/>
                  </a:cubicBezTo>
                  <a:cubicBezTo>
                    <a:pt x="4" y="540"/>
                    <a:pt x="2" y="529"/>
                    <a:pt x="2" y="519"/>
                  </a:cubicBezTo>
                  <a:cubicBezTo>
                    <a:pt x="2" y="503"/>
                    <a:pt x="3" y="501"/>
                    <a:pt x="11" y="500"/>
                  </a:cubicBezTo>
                  <a:cubicBezTo>
                    <a:pt x="15" y="500"/>
                    <a:pt x="22" y="499"/>
                    <a:pt x="26" y="497"/>
                  </a:cubicBezTo>
                  <a:cubicBezTo>
                    <a:pt x="30" y="494"/>
                    <a:pt x="27" y="493"/>
                    <a:pt x="16" y="492"/>
                  </a:cubicBezTo>
                  <a:cubicBezTo>
                    <a:pt x="1" y="492"/>
                    <a:pt x="0" y="492"/>
                    <a:pt x="9" y="488"/>
                  </a:cubicBezTo>
                  <a:cubicBezTo>
                    <a:pt x="13" y="485"/>
                    <a:pt x="18" y="482"/>
                    <a:pt x="18" y="480"/>
                  </a:cubicBezTo>
                  <a:cubicBezTo>
                    <a:pt x="18" y="478"/>
                    <a:pt x="22" y="476"/>
                    <a:pt x="27" y="477"/>
                  </a:cubicBezTo>
                  <a:cubicBezTo>
                    <a:pt x="31" y="478"/>
                    <a:pt x="36" y="477"/>
                    <a:pt x="38" y="474"/>
                  </a:cubicBezTo>
                  <a:cubicBezTo>
                    <a:pt x="39" y="472"/>
                    <a:pt x="35" y="470"/>
                    <a:pt x="30" y="469"/>
                  </a:cubicBezTo>
                  <a:cubicBezTo>
                    <a:pt x="23" y="468"/>
                    <a:pt x="22" y="467"/>
                    <a:pt x="26" y="464"/>
                  </a:cubicBezTo>
                  <a:cubicBezTo>
                    <a:pt x="29" y="463"/>
                    <a:pt x="34" y="463"/>
                    <a:pt x="38" y="465"/>
                  </a:cubicBezTo>
                  <a:cubicBezTo>
                    <a:pt x="48" y="470"/>
                    <a:pt x="48" y="459"/>
                    <a:pt x="39" y="453"/>
                  </a:cubicBezTo>
                  <a:cubicBezTo>
                    <a:pt x="35" y="451"/>
                    <a:pt x="34" y="449"/>
                    <a:pt x="37" y="447"/>
                  </a:cubicBezTo>
                  <a:cubicBezTo>
                    <a:pt x="39" y="445"/>
                    <a:pt x="42" y="445"/>
                    <a:pt x="42" y="447"/>
                  </a:cubicBezTo>
                  <a:cubicBezTo>
                    <a:pt x="42" y="448"/>
                    <a:pt x="44" y="447"/>
                    <a:pt x="47" y="445"/>
                  </a:cubicBezTo>
                  <a:cubicBezTo>
                    <a:pt x="51" y="442"/>
                    <a:pt x="55" y="441"/>
                    <a:pt x="58" y="443"/>
                  </a:cubicBezTo>
                  <a:cubicBezTo>
                    <a:pt x="61" y="445"/>
                    <a:pt x="62" y="444"/>
                    <a:pt x="60" y="440"/>
                  </a:cubicBezTo>
                  <a:cubicBezTo>
                    <a:pt x="59" y="436"/>
                    <a:pt x="61" y="430"/>
                    <a:pt x="64" y="426"/>
                  </a:cubicBezTo>
                  <a:cubicBezTo>
                    <a:pt x="69" y="419"/>
                    <a:pt x="70" y="419"/>
                    <a:pt x="73" y="425"/>
                  </a:cubicBezTo>
                  <a:cubicBezTo>
                    <a:pt x="77" y="429"/>
                    <a:pt x="77" y="429"/>
                    <a:pt x="77" y="425"/>
                  </a:cubicBezTo>
                  <a:cubicBezTo>
                    <a:pt x="77" y="421"/>
                    <a:pt x="80" y="420"/>
                    <a:pt x="86" y="422"/>
                  </a:cubicBezTo>
                  <a:cubicBezTo>
                    <a:pt x="96" y="425"/>
                    <a:pt x="110" y="411"/>
                    <a:pt x="107" y="402"/>
                  </a:cubicBezTo>
                  <a:cubicBezTo>
                    <a:pt x="105" y="398"/>
                    <a:pt x="106" y="396"/>
                    <a:pt x="108" y="397"/>
                  </a:cubicBezTo>
                  <a:cubicBezTo>
                    <a:pt x="110" y="399"/>
                    <a:pt x="115" y="395"/>
                    <a:pt x="119" y="389"/>
                  </a:cubicBezTo>
                  <a:cubicBezTo>
                    <a:pt x="127" y="379"/>
                    <a:pt x="127" y="379"/>
                    <a:pt x="119" y="384"/>
                  </a:cubicBezTo>
                  <a:cubicBezTo>
                    <a:pt x="115" y="387"/>
                    <a:pt x="107" y="395"/>
                    <a:pt x="101" y="402"/>
                  </a:cubicBezTo>
                  <a:cubicBezTo>
                    <a:pt x="93" y="411"/>
                    <a:pt x="90" y="412"/>
                    <a:pt x="89" y="408"/>
                  </a:cubicBezTo>
                  <a:cubicBezTo>
                    <a:pt x="86" y="400"/>
                    <a:pt x="97" y="373"/>
                    <a:pt x="104" y="373"/>
                  </a:cubicBezTo>
                  <a:cubicBezTo>
                    <a:pt x="107" y="373"/>
                    <a:pt x="110" y="370"/>
                    <a:pt x="110" y="367"/>
                  </a:cubicBezTo>
                  <a:cubicBezTo>
                    <a:pt x="110" y="363"/>
                    <a:pt x="111" y="358"/>
                    <a:pt x="111" y="356"/>
                  </a:cubicBezTo>
                  <a:cubicBezTo>
                    <a:pt x="111" y="353"/>
                    <a:pt x="117" y="346"/>
                    <a:pt x="124" y="340"/>
                  </a:cubicBezTo>
                  <a:cubicBezTo>
                    <a:pt x="130" y="334"/>
                    <a:pt x="133" y="329"/>
                    <a:pt x="131" y="329"/>
                  </a:cubicBezTo>
                  <a:cubicBezTo>
                    <a:pt x="128" y="329"/>
                    <a:pt x="126" y="324"/>
                    <a:pt x="127" y="316"/>
                  </a:cubicBezTo>
                  <a:cubicBezTo>
                    <a:pt x="130" y="295"/>
                    <a:pt x="131" y="290"/>
                    <a:pt x="137" y="283"/>
                  </a:cubicBezTo>
                  <a:cubicBezTo>
                    <a:pt x="142" y="277"/>
                    <a:pt x="141" y="277"/>
                    <a:pt x="136" y="277"/>
                  </a:cubicBezTo>
                  <a:cubicBezTo>
                    <a:pt x="131" y="277"/>
                    <a:pt x="130" y="274"/>
                    <a:pt x="132" y="266"/>
                  </a:cubicBezTo>
                  <a:cubicBezTo>
                    <a:pt x="136" y="246"/>
                    <a:pt x="143" y="236"/>
                    <a:pt x="155" y="233"/>
                  </a:cubicBezTo>
                  <a:cubicBezTo>
                    <a:pt x="166" y="229"/>
                    <a:pt x="167" y="229"/>
                    <a:pt x="159" y="226"/>
                  </a:cubicBezTo>
                  <a:cubicBezTo>
                    <a:pt x="151" y="224"/>
                    <a:pt x="151" y="223"/>
                    <a:pt x="157" y="211"/>
                  </a:cubicBezTo>
                  <a:cubicBezTo>
                    <a:pt x="161" y="202"/>
                    <a:pt x="162" y="199"/>
                    <a:pt x="158" y="197"/>
                  </a:cubicBezTo>
                  <a:cubicBezTo>
                    <a:pt x="150" y="195"/>
                    <a:pt x="153" y="187"/>
                    <a:pt x="161" y="190"/>
                  </a:cubicBezTo>
                  <a:cubicBezTo>
                    <a:pt x="167" y="191"/>
                    <a:pt x="168" y="190"/>
                    <a:pt x="167" y="186"/>
                  </a:cubicBezTo>
                  <a:cubicBezTo>
                    <a:pt x="166" y="183"/>
                    <a:pt x="168" y="179"/>
                    <a:pt x="174" y="177"/>
                  </a:cubicBezTo>
                  <a:cubicBezTo>
                    <a:pt x="180" y="175"/>
                    <a:pt x="181" y="173"/>
                    <a:pt x="177" y="172"/>
                  </a:cubicBezTo>
                  <a:cubicBezTo>
                    <a:pt x="174" y="171"/>
                    <a:pt x="168" y="171"/>
                    <a:pt x="164" y="173"/>
                  </a:cubicBezTo>
                  <a:cubicBezTo>
                    <a:pt x="159" y="175"/>
                    <a:pt x="158" y="176"/>
                    <a:pt x="161" y="176"/>
                  </a:cubicBezTo>
                  <a:cubicBezTo>
                    <a:pt x="164" y="176"/>
                    <a:pt x="165" y="178"/>
                    <a:pt x="164" y="180"/>
                  </a:cubicBezTo>
                  <a:cubicBezTo>
                    <a:pt x="161" y="185"/>
                    <a:pt x="140" y="183"/>
                    <a:pt x="139" y="178"/>
                  </a:cubicBezTo>
                  <a:cubicBezTo>
                    <a:pt x="139" y="176"/>
                    <a:pt x="138" y="173"/>
                    <a:pt x="137" y="170"/>
                  </a:cubicBezTo>
                  <a:cubicBezTo>
                    <a:pt x="132" y="163"/>
                    <a:pt x="140" y="155"/>
                    <a:pt x="149" y="158"/>
                  </a:cubicBezTo>
                  <a:cubicBezTo>
                    <a:pt x="154" y="159"/>
                    <a:pt x="158" y="158"/>
                    <a:pt x="158" y="155"/>
                  </a:cubicBezTo>
                  <a:cubicBezTo>
                    <a:pt x="158" y="153"/>
                    <a:pt x="160" y="154"/>
                    <a:pt x="163" y="158"/>
                  </a:cubicBezTo>
                  <a:cubicBezTo>
                    <a:pt x="168" y="165"/>
                    <a:pt x="168" y="165"/>
                    <a:pt x="175" y="159"/>
                  </a:cubicBezTo>
                  <a:cubicBezTo>
                    <a:pt x="178" y="155"/>
                    <a:pt x="181" y="151"/>
                    <a:pt x="181" y="149"/>
                  </a:cubicBezTo>
                  <a:cubicBezTo>
                    <a:pt x="181" y="144"/>
                    <a:pt x="176" y="137"/>
                    <a:pt x="172" y="137"/>
                  </a:cubicBezTo>
                  <a:cubicBezTo>
                    <a:pt x="169" y="137"/>
                    <a:pt x="168" y="133"/>
                    <a:pt x="168" y="130"/>
                  </a:cubicBezTo>
                  <a:cubicBezTo>
                    <a:pt x="168" y="124"/>
                    <a:pt x="170" y="123"/>
                    <a:pt x="181" y="124"/>
                  </a:cubicBezTo>
                  <a:cubicBezTo>
                    <a:pt x="188" y="125"/>
                    <a:pt x="193" y="124"/>
                    <a:pt x="192" y="122"/>
                  </a:cubicBezTo>
                  <a:cubicBezTo>
                    <a:pt x="191" y="120"/>
                    <a:pt x="194" y="112"/>
                    <a:pt x="198" y="104"/>
                  </a:cubicBezTo>
                  <a:cubicBezTo>
                    <a:pt x="207" y="91"/>
                    <a:pt x="207" y="91"/>
                    <a:pt x="207" y="91"/>
                  </a:cubicBezTo>
                  <a:cubicBezTo>
                    <a:pt x="212" y="103"/>
                    <a:pt x="212" y="103"/>
                    <a:pt x="212" y="103"/>
                  </a:cubicBezTo>
                  <a:cubicBezTo>
                    <a:pt x="217" y="115"/>
                    <a:pt x="217" y="115"/>
                    <a:pt x="217" y="115"/>
                  </a:cubicBezTo>
                  <a:cubicBezTo>
                    <a:pt x="218" y="101"/>
                    <a:pt x="218" y="101"/>
                    <a:pt x="218" y="101"/>
                  </a:cubicBezTo>
                  <a:cubicBezTo>
                    <a:pt x="219" y="89"/>
                    <a:pt x="221" y="87"/>
                    <a:pt x="229" y="87"/>
                  </a:cubicBezTo>
                  <a:cubicBezTo>
                    <a:pt x="240" y="87"/>
                    <a:pt x="240" y="78"/>
                    <a:pt x="229" y="74"/>
                  </a:cubicBezTo>
                  <a:cubicBezTo>
                    <a:pt x="223" y="72"/>
                    <a:pt x="222" y="71"/>
                    <a:pt x="226" y="68"/>
                  </a:cubicBezTo>
                  <a:cubicBezTo>
                    <a:pt x="228" y="67"/>
                    <a:pt x="230" y="62"/>
                    <a:pt x="228" y="59"/>
                  </a:cubicBezTo>
                  <a:cubicBezTo>
                    <a:pt x="227" y="56"/>
                    <a:pt x="228" y="52"/>
                    <a:pt x="230" y="50"/>
                  </a:cubicBezTo>
                  <a:cubicBezTo>
                    <a:pt x="233" y="48"/>
                    <a:pt x="235" y="56"/>
                    <a:pt x="234" y="65"/>
                  </a:cubicBezTo>
                  <a:cubicBezTo>
                    <a:pt x="234" y="66"/>
                    <a:pt x="238" y="69"/>
                    <a:pt x="243" y="72"/>
                  </a:cubicBezTo>
                  <a:cubicBezTo>
                    <a:pt x="251" y="75"/>
                    <a:pt x="252" y="75"/>
                    <a:pt x="253" y="65"/>
                  </a:cubicBezTo>
                  <a:cubicBezTo>
                    <a:pt x="253" y="46"/>
                    <a:pt x="258" y="28"/>
                    <a:pt x="266" y="20"/>
                  </a:cubicBezTo>
                  <a:cubicBezTo>
                    <a:pt x="273" y="13"/>
                    <a:pt x="273" y="13"/>
                    <a:pt x="276" y="27"/>
                  </a:cubicBezTo>
                  <a:cubicBezTo>
                    <a:pt x="277" y="34"/>
                    <a:pt x="277" y="45"/>
                    <a:pt x="276" y="50"/>
                  </a:cubicBezTo>
                  <a:cubicBezTo>
                    <a:pt x="274" y="56"/>
                    <a:pt x="275" y="61"/>
                    <a:pt x="277" y="61"/>
                  </a:cubicBezTo>
                  <a:cubicBezTo>
                    <a:pt x="280" y="61"/>
                    <a:pt x="282" y="52"/>
                    <a:pt x="282" y="42"/>
                  </a:cubicBezTo>
                  <a:cubicBezTo>
                    <a:pt x="282" y="31"/>
                    <a:pt x="283" y="20"/>
                    <a:pt x="286" y="17"/>
                  </a:cubicBezTo>
                  <a:cubicBezTo>
                    <a:pt x="289" y="11"/>
                    <a:pt x="289" y="11"/>
                    <a:pt x="289" y="17"/>
                  </a:cubicBezTo>
                  <a:cubicBezTo>
                    <a:pt x="289" y="21"/>
                    <a:pt x="291" y="25"/>
                    <a:pt x="294" y="27"/>
                  </a:cubicBezTo>
                  <a:cubicBezTo>
                    <a:pt x="297" y="28"/>
                    <a:pt x="298" y="25"/>
                    <a:pt x="297" y="16"/>
                  </a:cubicBezTo>
                  <a:cubicBezTo>
                    <a:pt x="296" y="6"/>
                    <a:pt x="297" y="2"/>
                    <a:pt x="303" y="1"/>
                  </a:cubicBezTo>
                  <a:cubicBezTo>
                    <a:pt x="308" y="0"/>
                    <a:pt x="310" y="3"/>
                    <a:pt x="310" y="13"/>
                  </a:cubicBezTo>
                  <a:cubicBezTo>
                    <a:pt x="310" y="21"/>
                    <a:pt x="311" y="25"/>
                    <a:pt x="315" y="23"/>
                  </a:cubicBezTo>
                  <a:cubicBezTo>
                    <a:pt x="317" y="23"/>
                    <a:pt x="320" y="17"/>
                    <a:pt x="320" y="12"/>
                  </a:cubicBezTo>
                  <a:cubicBezTo>
                    <a:pt x="320" y="5"/>
                    <a:pt x="322" y="2"/>
                    <a:pt x="330" y="2"/>
                  </a:cubicBezTo>
                  <a:cubicBezTo>
                    <a:pt x="338" y="2"/>
                    <a:pt x="351" y="6"/>
                    <a:pt x="357" y="11"/>
                  </a:cubicBezTo>
                  <a:cubicBezTo>
                    <a:pt x="360" y="13"/>
                    <a:pt x="349" y="29"/>
                    <a:pt x="343" y="29"/>
                  </a:cubicBezTo>
                  <a:cubicBezTo>
                    <a:pt x="340" y="29"/>
                    <a:pt x="338" y="30"/>
                    <a:pt x="338" y="32"/>
                  </a:cubicBezTo>
                  <a:cubicBezTo>
                    <a:pt x="338" y="38"/>
                    <a:pt x="349" y="41"/>
                    <a:pt x="360" y="38"/>
                  </a:cubicBezTo>
                  <a:cubicBezTo>
                    <a:pt x="366" y="37"/>
                    <a:pt x="370" y="37"/>
                    <a:pt x="370" y="40"/>
                  </a:cubicBezTo>
                  <a:cubicBezTo>
                    <a:pt x="370" y="43"/>
                    <a:pt x="368" y="45"/>
                    <a:pt x="366" y="45"/>
                  </a:cubicBezTo>
                  <a:cubicBezTo>
                    <a:pt x="364" y="45"/>
                    <a:pt x="361" y="52"/>
                    <a:pt x="360" y="62"/>
                  </a:cubicBezTo>
                  <a:cubicBezTo>
                    <a:pt x="357" y="79"/>
                    <a:pt x="357" y="79"/>
                    <a:pt x="357" y="79"/>
                  </a:cubicBezTo>
                  <a:cubicBezTo>
                    <a:pt x="351" y="66"/>
                    <a:pt x="351" y="66"/>
                    <a:pt x="351" y="66"/>
                  </a:cubicBezTo>
                  <a:cubicBezTo>
                    <a:pt x="346" y="54"/>
                    <a:pt x="330" y="41"/>
                    <a:pt x="320" y="41"/>
                  </a:cubicBezTo>
                  <a:cubicBezTo>
                    <a:pt x="317" y="41"/>
                    <a:pt x="311" y="46"/>
                    <a:pt x="306" y="53"/>
                  </a:cubicBezTo>
                  <a:cubicBezTo>
                    <a:pt x="298" y="64"/>
                    <a:pt x="297" y="67"/>
                    <a:pt x="301" y="82"/>
                  </a:cubicBezTo>
                  <a:cubicBezTo>
                    <a:pt x="303" y="91"/>
                    <a:pt x="304" y="103"/>
                    <a:pt x="303" y="109"/>
                  </a:cubicBezTo>
                  <a:cubicBezTo>
                    <a:pt x="301" y="119"/>
                    <a:pt x="299" y="120"/>
                    <a:pt x="291" y="118"/>
                  </a:cubicBezTo>
                  <a:cubicBezTo>
                    <a:pt x="285" y="116"/>
                    <a:pt x="281" y="118"/>
                    <a:pt x="278" y="124"/>
                  </a:cubicBezTo>
                  <a:cubicBezTo>
                    <a:pt x="272" y="135"/>
                    <a:pt x="268" y="135"/>
                    <a:pt x="252" y="120"/>
                  </a:cubicBezTo>
                  <a:cubicBezTo>
                    <a:pt x="239" y="109"/>
                    <a:pt x="238" y="109"/>
                    <a:pt x="233" y="116"/>
                  </a:cubicBezTo>
                  <a:cubicBezTo>
                    <a:pt x="230" y="120"/>
                    <a:pt x="224" y="124"/>
                    <a:pt x="220" y="126"/>
                  </a:cubicBezTo>
                  <a:cubicBezTo>
                    <a:pt x="214" y="128"/>
                    <a:pt x="213" y="130"/>
                    <a:pt x="218" y="135"/>
                  </a:cubicBezTo>
                  <a:cubicBezTo>
                    <a:pt x="225" y="144"/>
                    <a:pt x="226" y="161"/>
                    <a:pt x="218" y="159"/>
                  </a:cubicBezTo>
                  <a:cubicBezTo>
                    <a:pt x="209" y="155"/>
                    <a:pt x="189" y="168"/>
                    <a:pt x="191" y="176"/>
                  </a:cubicBezTo>
                  <a:cubicBezTo>
                    <a:pt x="193" y="180"/>
                    <a:pt x="190" y="184"/>
                    <a:pt x="185" y="187"/>
                  </a:cubicBezTo>
                  <a:cubicBezTo>
                    <a:pt x="172" y="192"/>
                    <a:pt x="163" y="212"/>
                    <a:pt x="169" y="221"/>
                  </a:cubicBezTo>
                  <a:cubicBezTo>
                    <a:pt x="175" y="230"/>
                    <a:pt x="170" y="269"/>
                    <a:pt x="162" y="275"/>
                  </a:cubicBezTo>
                  <a:cubicBezTo>
                    <a:pt x="158" y="279"/>
                    <a:pt x="157" y="285"/>
                    <a:pt x="159" y="304"/>
                  </a:cubicBezTo>
                  <a:cubicBezTo>
                    <a:pt x="161" y="318"/>
                    <a:pt x="160" y="332"/>
                    <a:pt x="157" y="339"/>
                  </a:cubicBezTo>
                  <a:cubicBezTo>
                    <a:pt x="155" y="345"/>
                    <a:pt x="155" y="351"/>
                    <a:pt x="157" y="352"/>
                  </a:cubicBezTo>
                  <a:cubicBezTo>
                    <a:pt x="159" y="353"/>
                    <a:pt x="162" y="358"/>
                    <a:pt x="163" y="363"/>
                  </a:cubicBezTo>
                  <a:cubicBezTo>
                    <a:pt x="165" y="371"/>
                    <a:pt x="164" y="373"/>
                    <a:pt x="156" y="375"/>
                  </a:cubicBezTo>
                  <a:cubicBezTo>
                    <a:pt x="141" y="379"/>
                    <a:pt x="128" y="404"/>
                    <a:pt x="132" y="424"/>
                  </a:cubicBezTo>
                  <a:cubicBezTo>
                    <a:pt x="134" y="432"/>
                    <a:pt x="135" y="440"/>
                    <a:pt x="134" y="442"/>
                  </a:cubicBezTo>
                  <a:cubicBezTo>
                    <a:pt x="134" y="443"/>
                    <a:pt x="136" y="450"/>
                    <a:pt x="139" y="456"/>
                  </a:cubicBezTo>
                  <a:cubicBezTo>
                    <a:pt x="143" y="463"/>
                    <a:pt x="146" y="473"/>
                    <a:pt x="146" y="479"/>
                  </a:cubicBezTo>
                  <a:cubicBezTo>
                    <a:pt x="146" y="486"/>
                    <a:pt x="149" y="493"/>
                    <a:pt x="154" y="496"/>
                  </a:cubicBezTo>
                  <a:cubicBezTo>
                    <a:pt x="162" y="501"/>
                    <a:pt x="165" y="521"/>
                    <a:pt x="158" y="521"/>
                  </a:cubicBezTo>
                  <a:cubicBezTo>
                    <a:pt x="156" y="521"/>
                    <a:pt x="157" y="527"/>
                    <a:pt x="160" y="535"/>
                  </a:cubicBezTo>
                  <a:cubicBezTo>
                    <a:pt x="165" y="547"/>
                    <a:pt x="165" y="551"/>
                    <a:pt x="160" y="568"/>
                  </a:cubicBezTo>
                  <a:cubicBezTo>
                    <a:pt x="156" y="581"/>
                    <a:pt x="156" y="589"/>
                    <a:pt x="158" y="594"/>
                  </a:cubicBezTo>
                  <a:cubicBezTo>
                    <a:pt x="163" y="603"/>
                    <a:pt x="159" y="608"/>
                    <a:pt x="148" y="606"/>
                  </a:cubicBezTo>
                  <a:cubicBezTo>
                    <a:pt x="140" y="604"/>
                    <a:pt x="138" y="600"/>
                    <a:pt x="135" y="585"/>
                  </a:cubicBezTo>
                  <a:cubicBezTo>
                    <a:pt x="131" y="567"/>
                    <a:pt x="131" y="567"/>
                    <a:pt x="131" y="567"/>
                  </a:cubicBezTo>
                  <a:cubicBezTo>
                    <a:pt x="126" y="578"/>
                    <a:pt x="126" y="578"/>
                    <a:pt x="126" y="578"/>
                  </a:cubicBezTo>
                  <a:cubicBezTo>
                    <a:pt x="123" y="585"/>
                    <a:pt x="123" y="591"/>
                    <a:pt x="125" y="596"/>
                  </a:cubicBezTo>
                  <a:cubicBezTo>
                    <a:pt x="129" y="603"/>
                    <a:pt x="126" y="607"/>
                    <a:pt x="113" y="621"/>
                  </a:cubicBezTo>
                  <a:cubicBezTo>
                    <a:pt x="104" y="631"/>
                    <a:pt x="93" y="644"/>
                    <a:pt x="89" y="650"/>
                  </a:cubicBezTo>
                  <a:cubicBezTo>
                    <a:pt x="85" y="657"/>
                    <a:pt x="80" y="662"/>
                    <a:pt x="77" y="663"/>
                  </a:cubicBezTo>
                  <a:cubicBezTo>
                    <a:pt x="74" y="663"/>
                    <a:pt x="67" y="665"/>
                    <a:pt x="61" y="666"/>
                  </a:cubicBezTo>
                  <a:cubicBezTo>
                    <a:pt x="55" y="668"/>
                    <a:pt x="49" y="667"/>
                    <a:pt x="48" y="665"/>
                  </a:cubicBezTo>
                  <a:close/>
                  <a:moveTo>
                    <a:pt x="272" y="30"/>
                  </a:moveTo>
                  <a:cubicBezTo>
                    <a:pt x="271" y="26"/>
                    <a:pt x="270" y="29"/>
                    <a:pt x="270" y="37"/>
                  </a:cubicBezTo>
                  <a:cubicBezTo>
                    <a:pt x="270" y="44"/>
                    <a:pt x="271" y="47"/>
                    <a:pt x="272" y="44"/>
                  </a:cubicBezTo>
                  <a:cubicBezTo>
                    <a:pt x="273" y="40"/>
                    <a:pt x="273" y="33"/>
                    <a:pt x="272" y="30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/>
            <p:cNvSpPr/>
            <p:nvPr userDrawn="1">
              <p:custDataLst>
                <p:tags r:id="rId10"/>
              </p:custDataLst>
            </p:nvPr>
          </p:nvSpPr>
          <p:spPr bwMode="grayWhite">
            <a:xfrm>
              <a:off x="10918825" y="-1316038"/>
              <a:ext cx="1851025" cy="2193925"/>
            </a:xfrm>
            <a:custGeom>
              <a:gdLst>
                <a:gd name="T0" fmla="*/ 512 w 676"/>
                <a:gd name="T1" fmla="*/ 769 h 791"/>
                <a:gd name="T2" fmla="*/ 433 w 676"/>
                <a:gd name="T3" fmla="*/ 745 h 791"/>
                <a:gd name="T4" fmla="*/ 396 w 676"/>
                <a:gd name="T5" fmla="*/ 744 h 791"/>
                <a:gd name="T6" fmla="*/ 401 w 676"/>
                <a:gd name="T7" fmla="*/ 721 h 791"/>
                <a:gd name="T8" fmla="*/ 392 w 676"/>
                <a:gd name="T9" fmla="*/ 688 h 791"/>
                <a:gd name="T10" fmla="*/ 327 w 676"/>
                <a:gd name="T11" fmla="*/ 633 h 791"/>
                <a:gd name="T12" fmla="*/ 304 w 676"/>
                <a:gd name="T13" fmla="*/ 631 h 791"/>
                <a:gd name="T14" fmla="*/ 253 w 676"/>
                <a:gd name="T15" fmla="*/ 629 h 791"/>
                <a:gd name="T16" fmla="*/ 214 w 676"/>
                <a:gd name="T17" fmla="*/ 592 h 791"/>
                <a:gd name="T18" fmla="*/ 198 w 676"/>
                <a:gd name="T19" fmla="*/ 559 h 791"/>
                <a:gd name="T20" fmla="*/ 177 w 676"/>
                <a:gd name="T21" fmla="*/ 501 h 791"/>
                <a:gd name="T22" fmla="*/ 177 w 676"/>
                <a:gd name="T23" fmla="*/ 482 h 791"/>
                <a:gd name="T24" fmla="*/ 197 w 676"/>
                <a:gd name="T25" fmla="*/ 466 h 791"/>
                <a:gd name="T26" fmla="*/ 188 w 676"/>
                <a:gd name="T27" fmla="*/ 455 h 791"/>
                <a:gd name="T28" fmla="*/ 156 w 676"/>
                <a:gd name="T29" fmla="*/ 441 h 791"/>
                <a:gd name="T30" fmla="*/ 171 w 676"/>
                <a:gd name="T31" fmla="*/ 332 h 791"/>
                <a:gd name="T32" fmla="*/ 130 w 676"/>
                <a:gd name="T33" fmla="*/ 292 h 791"/>
                <a:gd name="T34" fmla="*/ 100 w 676"/>
                <a:gd name="T35" fmla="*/ 256 h 791"/>
                <a:gd name="T36" fmla="*/ 87 w 676"/>
                <a:gd name="T37" fmla="*/ 232 h 791"/>
                <a:gd name="T38" fmla="*/ 72 w 676"/>
                <a:gd name="T39" fmla="*/ 202 h 791"/>
                <a:gd name="T40" fmla="*/ 35 w 676"/>
                <a:gd name="T41" fmla="*/ 129 h 791"/>
                <a:gd name="T42" fmla="*/ 9 w 676"/>
                <a:gd name="T43" fmla="*/ 112 h 791"/>
                <a:gd name="T44" fmla="*/ 17 w 676"/>
                <a:gd name="T45" fmla="*/ 60 h 791"/>
                <a:gd name="T46" fmla="*/ 26 w 676"/>
                <a:gd name="T47" fmla="*/ 45 h 791"/>
                <a:gd name="T48" fmla="*/ 49 w 676"/>
                <a:gd name="T49" fmla="*/ 46 h 791"/>
                <a:gd name="T50" fmla="*/ 67 w 676"/>
                <a:gd name="T51" fmla="*/ 51 h 791"/>
                <a:gd name="T52" fmla="*/ 208 w 676"/>
                <a:gd name="T53" fmla="*/ 44 h 791"/>
                <a:gd name="T54" fmla="*/ 221 w 676"/>
                <a:gd name="T55" fmla="*/ 123 h 791"/>
                <a:gd name="T56" fmla="*/ 133 w 676"/>
                <a:gd name="T57" fmla="*/ 145 h 791"/>
                <a:gd name="T58" fmla="*/ 94 w 676"/>
                <a:gd name="T59" fmla="*/ 143 h 791"/>
                <a:gd name="T60" fmla="*/ 147 w 676"/>
                <a:gd name="T61" fmla="*/ 170 h 791"/>
                <a:gd name="T62" fmla="*/ 213 w 676"/>
                <a:gd name="T63" fmla="*/ 231 h 791"/>
                <a:gd name="T64" fmla="*/ 218 w 676"/>
                <a:gd name="T65" fmla="*/ 225 h 791"/>
                <a:gd name="T66" fmla="*/ 259 w 676"/>
                <a:gd name="T67" fmla="*/ 224 h 791"/>
                <a:gd name="T68" fmla="*/ 217 w 676"/>
                <a:gd name="T69" fmla="*/ 188 h 791"/>
                <a:gd name="T70" fmla="*/ 239 w 676"/>
                <a:gd name="T71" fmla="*/ 185 h 791"/>
                <a:gd name="T72" fmla="*/ 265 w 676"/>
                <a:gd name="T73" fmla="*/ 180 h 791"/>
                <a:gd name="T74" fmla="*/ 294 w 676"/>
                <a:gd name="T75" fmla="*/ 170 h 791"/>
                <a:gd name="T76" fmla="*/ 322 w 676"/>
                <a:gd name="T77" fmla="*/ 157 h 791"/>
                <a:gd name="T78" fmla="*/ 281 w 676"/>
                <a:gd name="T79" fmla="*/ 154 h 791"/>
                <a:gd name="T80" fmla="*/ 253 w 676"/>
                <a:gd name="T81" fmla="*/ 133 h 791"/>
                <a:gd name="T82" fmla="*/ 265 w 676"/>
                <a:gd name="T83" fmla="*/ 90 h 791"/>
                <a:gd name="T84" fmla="*/ 290 w 676"/>
                <a:gd name="T85" fmla="*/ 73 h 791"/>
                <a:gd name="T86" fmla="*/ 271 w 676"/>
                <a:gd name="T87" fmla="*/ 30 h 791"/>
                <a:gd name="T88" fmla="*/ 284 w 676"/>
                <a:gd name="T89" fmla="*/ 14 h 791"/>
                <a:gd name="T90" fmla="*/ 321 w 676"/>
                <a:gd name="T91" fmla="*/ 10 h 791"/>
                <a:gd name="T92" fmla="*/ 503 w 676"/>
                <a:gd name="T93" fmla="*/ 0 h 791"/>
                <a:gd name="T94" fmla="*/ 676 w 676"/>
                <a:gd name="T95" fmla="*/ 391 h 791"/>
                <a:gd name="T96" fmla="*/ 644 w 676"/>
                <a:gd name="T97" fmla="*/ 783 h 791"/>
                <a:gd name="T98" fmla="*/ 592 w 676"/>
                <a:gd name="T99" fmla="*/ 781 h 791"/>
                <a:gd name="T100" fmla="*/ 534 w 676"/>
                <a:gd name="T101" fmla="*/ 779 h 791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76" h="791">
                  <a:moveTo>
                    <a:pt x="534" y="779"/>
                  </a:moveTo>
                  <a:cubicBezTo>
                    <a:pt x="525" y="769"/>
                    <a:pt x="521" y="767"/>
                    <a:pt x="512" y="769"/>
                  </a:cubicBezTo>
                  <a:cubicBezTo>
                    <a:pt x="500" y="771"/>
                    <a:pt x="489" y="764"/>
                    <a:pt x="478" y="747"/>
                  </a:cubicBezTo>
                  <a:cubicBezTo>
                    <a:pt x="468" y="730"/>
                    <a:pt x="459" y="730"/>
                    <a:pt x="433" y="745"/>
                  </a:cubicBezTo>
                  <a:cubicBezTo>
                    <a:pt x="421" y="753"/>
                    <a:pt x="409" y="760"/>
                    <a:pt x="407" y="760"/>
                  </a:cubicBezTo>
                  <a:cubicBezTo>
                    <a:pt x="406" y="760"/>
                    <a:pt x="401" y="752"/>
                    <a:pt x="396" y="744"/>
                  </a:cubicBezTo>
                  <a:cubicBezTo>
                    <a:pt x="387" y="728"/>
                    <a:pt x="387" y="728"/>
                    <a:pt x="387" y="728"/>
                  </a:cubicBezTo>
                  <a:cubicBezTo>
                    <a:pt x="401" y="721"/>
                    <a:pt x="401" y="721"/>
                    <a:pt x="401" y="721"/>
                  </a:cubicBezTo>
                  <a:cubicBezTo>
                    <a:pt x="409" y="717"/>
                    <a:pt x="416" y="711"/>
                    <a:pt x="416" y="707"/>
                  </a:cubicBezTo>
                  <a:cubicBezTo>
                    <a:pt x="416" y="698"/>
                    <a:pt x="403" y="688"/>
                    <a:pt x="392" y="688"/>
                  </a:cubicBezTo>
                  <a:cubicBezTo>
                    <a:pt x="377" y="688"/>
                    <a:pt x="344" y="667"/>
                    <a:pt x="339" y="654"/>
                  </a:cubicBezTo>
                  <a:cubicBezTo>
                    <a:pt x="336" y="648"/>
                    <a:pt x="331" y="639"/>
                    <a:pt x="327" y="633"/>
                  </a:cubicBezTo>
                  <a:cubicBezTo>
                    <a:pt x="319" y="624"/>
                    <a:pt x="319" y="624"/>
                    <a:pt x="319" y="624"/>
                  </a:cubicBezTo>
                  <a:cubicBezTo>
                    <a:pt x="304" y="631"/>
                    <a:pt x="304" y="631"/>
                    <a:pt x="304" y="631"/>
                  </a:cubicBezTo>
                  <a:cubicBezTo>
                    <a:pt x="291" y="638"/>
                    <a:pt x="288" y="638"/>
                    <a:pt x="278" y="633"/>
                  </a:cubicBezTo>
                  <a:cubicBezTo>
                    <a:pt x="271" y="629"/>
                    <a:pt x="262" y="628"/>
                    <a:pt x="253" y="629"/>
                  </a:cubicBezTo>
                  <a:cubicBezTo>
                    <a:pt x="241" y="632"/>
                    <a:pt x="239" y="631"/>
                    <a:pt x="232" y="617"/>
                  </a:cubicBezTo>
                  <a:cubicBezTo>
                    <a:pt x="228" y="608"/>
                    <a:pt x="220" y="597"/>
                    <a:pt x="214" y="592"/>
                  </a:cubicBezTo>
                  <a:cubicBezTo>
                    <a:pt x="208" y="587"/>
                    <a:pt x="205" y="581"/>
                    <a:pt x="206" y="579"/>
                  </a:cubicBezTo>
                  <a:cubicBezTo>
                    <a:pt x="207" y="577"/>
                    <a:pt x="204" y="568"/>
                    <a:pt x="198" y="559"/>
                  </a:cubicBezTo>
                  <a:cubicBezTo>
                    <a:pt x="189" y="546"/>
                    <a:pt x="188" y="542"/>
                    <a:pt x="192" y="533"/>
                  </a:cubicBezTo>
                  <a:cubicBezTo>
                    <a:pt x="197" y="518"/>
                    <a:pt x="193" y="508"/>
                    <a:pt x="177" y="501"/>
                  </a:cubicBezTo>
                  <a:cubicBezTo>
                    <a:pt x="170" y="498"/>
                    <a:pt x="164" y="494"/>
                    <a:pt x="164" y="493"/>
                  </a:cubicBezTo>
                  <a:cubicBezTo>
                    <a:pt x="164" y="489"/>
                    <a:pt x="175" y="480"/>
                    <a:pt x="177" y="482"/>
                  </a:cubicBezTo>
                  <a:cubicBezTo>
                    <a:pt x="179" y="485"/>
                    <a:pt x="181" y="478"/>
                    <a:pt x="180" y="471"/>
                  </a:cubicBezTo>
                  <a:cubicBezTo>
                    <a:pt x="180" y="468"/>
                    <a:pt x="183" y="467"/>
                    <a:pt x="197" y="466"/>
                  </a:cubicBezTo>
                  <a:cubicBezTo>
                    <a:pt x="201" y="466"/>
                    <a:pt x="205" y="463"/>
                    <a:pt x="206" y="461"/>
                  </a:cubicBezTo>
                  <a:cubicBezTo>
                    <a:pt x="208" y="455"/>
                    <a:pt x="196" y="451"/>
                    <a:pt x="188" y="455"/>
                  </a:cubicBezTo>
                  <a:cubicBezTo>
                    <a:pt x="180" y="459"/>
                    <a:pt x="165" y="454"/>
                    <a:pt x="162" y="446"/>
                  </a:cubicBezTo>
                  <a:cubicBezTo>
                    <a:pt x="161" y="442"/>
                    <a:pt x="158" y="440"/>
                    <a:pt x="156" y="441"/>
                  </a:cubicBezTo>
                  <a:cubicBezTo>
                    <a:pt x="149" y="445"/>
                    <a:pt x="151" y="438"/>
                    <a:pt x="164" y="400"/>
                  </a:cubicBezTo>
                  <a:cubicBezTo>
                    <a:pt x="177" y="360"/>
                    <a:pt x="178" y="351"/>
                    <a:pt x="171" y="332"/>
                  </a:cubicBezTo>
                  <a:cubicBezTo>
                    <a:pt x="168" y="323"/>
                    <a:pt x="161" y="316"/>
                    <a:pt x="147" y="309"/>
                  </a:cubicBezTo>
                  <a:cubicBezTo>
                    <a:pt x="132" y="302"/>
                    <a:pt x="129" y="298"/>
                    <a:pt x="130" y="292"/>
                  </a:cubicBezTo>
                  <a:cubicBezTo>
                    <a:pt x="132" y="287"/>
                    <a:pt x="128" y="280"/>
                    <a:pt x="118" y="270"/>
                  </a:cubicBezTo>
                  <a:cubicBezTo>
                    <a:pt x="110" y="262"/>
                    <a:pt x="102" y="256"/>
                    <a:pt x="100" y="256"/>
                  </a:cubicBezTo>
                  <a:cubicBezTo>
                    <a:pt x="97" y="256"/>
                    <a:pt x="94" y="250"/>
                    <a:pt x="93" y="244"/>
                  </a:cubicBezTo>
                  <a:cubicBezTo>
                    <a:pt x="92" y="237"/>
                    <a:pt x="89" y="232"/>
                    <a:pt x="87" y="232"/>
                  </a:cubicBezTo>
                  <a:cubicBezTo>
                    <a:pt x="84" y="232"/>
                    <a:pt x="84" y="229"/>
                    <a:pt x="87" y="226"/>
                  </a:cubicBezTo>
                  <a:cubicBezTo>
                    <a:pt x="90" y="222"/>
                    <a:pt x="87" y="217"/>
                    <a:pt x="72" y="202"/>
                  </a:cubicBezTo>
                  <a:cubicBezTo>
                    <a:pt x="54" y="184"/>
                    <a:pt x="52" y="180"/>
                    <a:pt x="49" y="159"/>
                  </a:cubicBezTo>
                  <a:cubicBezTo>
                    <a:pt x="47" y="138"/>
                    <a:pt x="45" y="135"/>
                    <a:pt x="35" y="129"/>
                  </a:cubicBezTo>
                  <a:cubicBezTo>
                    <a:pt x="29" y="126"/>
                    <a:pt x="21" y="124"/>
                    <a:pt x="18" y="124"/>
                  </a:cubicBezTo>
                  <a:cubicBezTo>
                    <a:pt x="14" y="124"/>
                    <a:pt x="10" y="119"/>
                    <a:pt x="9" y="112"/>
                  </a:cubicBezTo>
                  <a:cubicBezTo>
                    <a:pt x="8" y="105"/>
                    <a:pt x="5" y="100"/>
                    <a:pt x="4" y="100"/>
                  </a:cubicBezTo>
                  <a:cubicBezTo>
                    <a:pt x="0" y="100"/>
                    <a:pt x="12" y="62"/>
                    <a:pt x="17" y="60"/>
                  </a:cubicBezTo>
                  <a:cubicBezTo>
                    <a:pt x="18" y="59"/>
                    <a:pt x="20" y="57"/>
                    <a:pt x="20" y="55"/>
                  </a:cubicBezTo>
                  <a:cubicBezTo>
                    <a:pt x="20" y="53"/>
                    <a:pt x="22" y="48"/>
                    <a:pt x="26" y="45"/>
                  </a:cubicBezTo>
                  <a:cubicBezTo>
                    <a:pt x="31" y="40"/>
                    <a:pt x="33" y="39"/>
                    <a:pt x="35" y="43"/>
                  </a:cubicBezTo>
                  <a:cubicBezTo>
                    <a:pt x="38" y="47"/>
                    <a:pt x="42" y="48"/>
                    <a:pt x="49" y="46"/>
                  </a:cubicBezTo>
                  <a:cubicBezTo>
                    <a:pt x="57" y="44"/>
                    <a:pt x="60" y="45"/>
                    <a:pt x="60" y="50"/>
                  </a:cubicBezTo>
                  <a:cubicBezTo>
                    <a:pt x="60" y="56"/>
                    <a:pt x="60" y="56"/>
                    <a:pt x="67" y="51"/>
                  </a:cubicBezTo>
                  <a:cubicBezTo>
                    <a:pt x="82" y="38"/>
                    <a:pt x="99" y="34"/>
                    <a:pt x="131" y="38"/>
                  </a:cubicBezTo>
                  <a:cubicBezTo>
                    <a:pt x="164" y="41"/>
                    <a:pt x="198" y="44"/>
                    <a:pt x="208" y="44"/>
                  </a:cubicBezTo>
                  <a:cubicBezTo>
                    <a:pt x="211" y="44"/>
                    <a:pt x="220" y="49"/>
                    <a:pt x="227" y="56"/>
                  </a:cubicBezTo>
                  <a:cubicBezTo>
                    <a:pt x="246" y="73"/>
                    <a:pt x="244" y="101"/>
                    <a:pt x="221" y="123"/>
                  </a:cubicBezTo>
                  <a:cubicBezTo>
                    <a:pt x="212" y="131"/>
                    <a:pt x="188" y="137"/>
                    <a:pt x="143" y="141"/>
                  </a:cubicBezTo>
                  <a:cubicBezTo>
                    <a:pt x="140" y="142"/>
                    <a:pt x="135" y="143"/>
                    <a:pt x="133" y="145"/>
                  </a:cubicBezTo>
                  <a:cubicBezTo>
                    <a:pt x="130" y="146"/>
                    <a:pt x="120" y="147"/>
                    <a:pt x="111" y="145"/>
                  </a:cubicBezTo>
                  <a:cubicBezTo>
                    <a:pt x="94" y="143"/>
                    <a:pt x="94" y="143"/>
                    <a:pt x="94" y="143"/>
                  </a:cubicBezTo>
                  <a:cubicBezTo>
                    <a:pt x="110" y="153"/>
                    <a:pt x="110" y="153"/>
                    <a:pt x="110" y="153"/>
                  </a:cubicBezTo>
                  <a:cubicBezTo>
                    <a:pt x="118" y="159"/>
                    <a:pt x="135" y="166"/>
                    <a:pt x="147" y="170"/>
                  </a:cubicBezTo>
                  <a:cubicBezTo>
                    <a:pt x="163" y="174"/>
                    <a:pt x="168" y="177"/>
                    <a:pt x="168" y="184"/>
                  </a:cubicBezTo>
                  <a:cubicBezTo>
                    <a:pt x="168" y="197"/>
                    <a:pt x="200" y="231"/>
                    <a:pt x="213" y="231"/>
                  </a:cubicBezTo>
                  <a:cubicBezTo>
                    <a:pt x="215" y="231"/>
                    <a:pt x="215" y="229"/>
                    <a:pt x="213" y="227"/>
                  </a:cubicBezTo>
                  <a:cubicBezTo>
                    <a:pt x="211" y="224"/>
                    <a:pt x="212" y="223"/>
                    <a:pt x="218" y="225"/>
                  </a:cubicBezTo>
                  <a:cubicBezTo>
                    <a:pt x="222" y="227"/>
                    <a:pt x="232" y="230"/>
                    <a:pt x="240" y="230"/>
                  </a:cubicBezTo>
                  <a:cubicBezTo>
                    <a:pt x="250" y="232"/>
                    <a:pt x="255" y="230"/>
                    <a:pt x="259" y="224"/>
                  </a:cubicBezTo>
                  <a:cubicBezTo>
                    <a:pt x="266" y="212"/>
                    <a:pt x="257" y="198"/>
                    <a:pt x="244" y="201"/>
                  </a:cubicBezTo>
                  <a:cubicBezTo>
                    <a:pt x="229" y="203"/>
                    <a:pt x="218" y="198"/>
                    <a:pt x="217" y="188"/>
                  </a:cubicBezTo>
                  <a:cubicBezTo>
                    <a:pt x="217" y="182"/>
                    <a:pt x="219" y="180"/>
                    <a:pt x="226" y="180"/>
                  </a:cubicBezTo>
                  <a:cubicBezTo>
                    <a:pt x="231" y="180"/>
                    <a:pt x="237" y="182"/>
                    <a:pt x="239" y="185"/>
                  </a:cubicBezTo>
                  <a:cubicBezTo>
                    <a:pt x="244" y="191"/>
                    <a:pt x="245" y="191"/>
                    <a:pt x="250" y="185"/>
                  </a:cubicBezTo>
                  <a:cubicBezTo>
                    <a:pt x="253" y="182"/>
                    <a:pt x="260" y="180"/>
                    <a:pt x="265" y="180"/>
                  </a:cubicBezTo>
                  <a:cubicBezTo>
                    <a:pt x="271" y="180"/>
                    <a:pt x="276" y="177"/>
                    <a:pt x="276" y="175"/>
                  </a:cubicBezTo>
                  <a:cubicBezTo>
                    <a:pt x="277" y="173"/>
                    <a:pt x="285" y="170"/>
                    <a:pt x="294" y="170"/>
                  </a:cubicBezTo>
                  <a:cubicBezTo>
                    <a:pt x="302" y="169"/>
                    <a:pt x="314" y="167"/>
                    <a:pt x="319" y="166"/>
                  </a:cubicBezTo>
                  <a:cubicBezTo>
                    <a:pt x="328" y="163"/>
                    <a:pt x="329" y="162"/>
                    <a:pt x="322" y="157"/>
                  </a:cubicBezTo>
                  <a:cubicBezTo>
                    <a:pt x="317" y="153"/>
                    <a:pt x="312" y="153"/>
                    <a:pt x="307" y="156"/>
                  </a:cubicBezTo>
                  <a:cubicBezTo>
                    <a:pt x="302" y="159"/>
                    <a:pt x="294" y="158"/>
                    <a:pt x="281" y="154"/>
                  </a:cubicBezTo>
                  <a:cubicBezTo>
                    <a:pt x="271" y="150"/>
                    <a:pt x="260" y="148"/>
                    <a:pt x="257" y="148"/>
                  </a:cubicBezTo>
                  <a:cubicBezTo>
                    <a:pt x="252" y="148"/>
                    <a:pt x="251" y="145"/>
                    <a:pt x="253" y="133"/>
                  </a:cubicBezTo>
                  <a:cubicBezTo>
                    <a:pt x="255" y="124"/>
                    <a:pt x="259" y="113"/>
                    <a:pt x="262" y="109"/>
                  </a:cubicBezTo>
                  <a:cubicBezTo>
                    <a:pt x="265" y="103"/>
                    <a:pt x="267" y="95"/>
                    <a:pt x="265" y="90"/>
                  </a:cubicBezTo>
                  <a:cubicBezTo>
                    <a:pt x="263" y="81"/>
                    <a:pt x="265" y="79"/>
                    <a:pt x="274" y="75"/>
                  </a:cubicBezTo>
                  <a:cubicBezTo>
                    <a:pt x="280" y="73"/>
                    <a:pt x="287" y="72"/>
                    <a:pt x="290" y="73"/>
                  </a:cubicBezTo>
                  <a:cubicBezTo>
                    <a:pt x="297" y="76"/>
                    <a:pt x="300" y="64"/>
                    <a:pt x="295" y="49"/>
                  </a:cubicBezTo>
                  <a:cubicBezTo>
                    <a:pt x="291" y="35"/>
                    <a:pt x="278" y="25"/>
                    <a:pt x="271" y="30"/>
                  </a:cubicBezTo>
                  <a:cubicBezTo>
                    <a:pt x="268" y="31"/>
                    <a:pt x="267" y="29"/>
                    <a:pt x="268" y="23"/>
                  </a:cubicBezTo>
                  <a:cubicBezTo>
                    <a:pt x="269" y="15"/>
                    <a:pt x="272" y="14"/>
                    <a:pt x="284" y="14"/>
                  </a:cubicBezTo>
                  <a:cubicBezTo>
                    <a:pt x="291" y="14"/>
                    <a:pt x="301" y="16"/>
                    <a:pt x="304" y="17"/>
                  </a:cubicBezTo>
                  <a:cubicBezTo>
                    <a:pt x="309" y="19"/>
                    <a:pt x="314" y="17"/>
                    <a:pt x="321" y="10"/>
                  </a:cubicBezTo>
                  <a:cubicBezTo>
                    <a:pt x="330" y="0"/>
                    <a:pt x="330" y="0"/>
                    <a:pt x="330" y="0"/>
                  </a:cubicBezTo>
                  <a:cubicBezTo>
                    <a:pt x="503" y="0"/>
                    <a:pt x="503" y="0"/>
                    <a:pt x="503" y="0"/>
                  </a:cubicBezTo>
                  <a:cubicBezTo>
                    <a:pt x="676" y="0"/>
                    <a:pt x="676" y="0"/>
                    <a:pt x="676" y="0"/>
                  </a:cubicBezTo>
                  <a:cubicBezTo>
                    <a:pt x="676" y="391"/>
                    <a:pt x="676" y="391"/>
                    <a:pt x="676" y="391"/>
                  </a:cubicBezTo>
                  <a:cubicBezTo>
                    <a:pt x="676" y="733"/>
                    <a:pt x="675" y="783"/>
                    <a:pt x="670" y="781"/>
                  </a:cubicBezTo>
                  <a:cubicBezTo>
                    <a:pt x="666" y="780"/>
                    <a:pt x="655" y="781"/>
                    <a:pt x="644" y="783"/>
                  </a:cubicBezTo>
                  <a:cubicBezTo>
                    <a:pt x="627" y="787"/>
                    <a:pt x="622" y="786"/>
                    <a:pt x="614" y="781"/>
                  </a:cubicBezTo>
                  <a:cubicBezTo>
                    <a:pt x="605" y="776"/>
                    <a:pt x="603" y="776"/>
                    <a:pt x="592" y="781"/>
                  </a:cubicBezTo>
                  <a:cubicBezTo>
                    <a:pt x="585" y="785"/>
                    <a:pt x="572" y="788"/>
                    <a:pt x="563" y="789"/>
                  </a:cubicBezTo>
                  <a:cubicBezTo>
                    <a:pt x="548" y="791"/>
                    <a:pt x="544" y="790"/>
                    <a:pt x="534" y="779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/>
            <p:cNvSpPr/>
            <p:nvPr userDrawn="1">
              <p:custDataLst>
                <p:tags r:id="rId11"/>
              </p:custDataLst>
            </p:nvPr>
          </p:nvSpPr>
          <p:spPr bwMode="grayWhite">
            <a:xfrm>
              <a:off x="10583863" y="-1168400"/>
              <a:ext cx="808038" cy="1292225"/>
            </a:xfrm>
            <a:custGeom>
              <a:gdLst>
                <a:gd name="T0" fmla="*/ 158 w 295"/>
                <a:gd name="T1" fmla="*/ 458 h 466"/>
                <a:gd name="T2" fmla="*/ 146 w 295"/>
                <a:gd name="T3" fmla="*/ 451 h 466"/>
                <a:gd name="T4" fmla="*/ 122 w 295"/>
                <a:gd name="T5" fmla="*/ 418 h 466"/>
                <a:gd name="T6" fmla="*/ 118 w 295"/>
                <a:gd name="T7" fmla="*/ 401 h 466"/>
                <a:gd name="T8" fmla="*/ 104 w 295"/>
                <a:gd name="T9" fmla="*/ 377 h 466"/>
                <a:gd name="T10" fmla="*/ 93 w 295"/>
                <a:gd name="T11" fmla="*/ 356 h 466"/>
                <a:gd name="T12" fmla="*/ 106 w 295"/>
                <a:gd name="T13" fmla="*/ 328 h 466"/>
                <a:gd name="T14" fmla="*/ 133 w 295"/>
                <a:gd name="T15" fmla="*/ 250 h 466"/>
                <a:gd name="T16" fmla="*/ 140 w 295"/>
                <a:gd name="T17" fmla="*/ 238 h 466"/>
                <a:gd name="T18" fmla="*/ 136 w 295"/>
                <a:gd name="T19" fmla="*/ 224 h 466"/>
                <a:gd name="T20" fmla="*/ 126 w 295"/>
                <a:gd name="T21" fmla="*/ 211 h 466"/>
                <a:gd name="T22" fmla="*/ 123 w 295"/>
                <a:gd name="T23" fmla="*/ 207 h 466"/>
                <a:gd name="T24" fmla="*/ 84 w 295"/>
                <a:gd name="T25" fmla="*/ 167 h 466"/>
                <a:gd name="T26" fmla="*/ 30 w 295"/>
                <a:gd name="T27" fmla="*/ 100 h 466"/>
                <a:gd name="T28" fmla="*/ 3 w 295"/>
                <a:gd name="T29" fmla="*/ 76 h 466"/>
                <a:gd name="T30" fmla="*/ 20 w 295"/>
                <a:gd name="T31" fmla="*/ 82 h 466"/>
                <a:gd name="T32" fmla="*/ 47 w 295"/>
                <a:gd name="T33" fmla="*/ 86 h 466"/>
                <a:gd name="T34" fmla="*/ 63 w 295"/>
                <a:gd name="T35" fmla="*/ 81 h 466"/>
                <a:gd name="T36" fmla="*/ 75 w 295"/>
                <a:gd name="T37" fmla="*/ 70 h 466"/>
                <a:gd name="T38" fmla="*/ 73 w 295"/>
                <a:gd name="T39" fmla="*/ 40 h 466"/>
                <a:gd name="T40" fmla="*/ 76 w 295"/>
                <a:gd name="T41" fmla="*/ 13 h 466"/>
                <a:gd name="T42" fmla="*/ 103 w 295"/>
                <a:gd name="T43" fmla="*/ 9 h 466"/>
                <a:gd name="T44" fmla="*/ 120 w 295"/>
                <a:gd name="T45" fmla="*/ 41 h 466"/>
                <a:gd name="T46" fmla="*/ 139 w 295"/>
                <a:gd name="T47" fmla="*/ 75 h 466"/>
                <a:gd name="T48" fmla="*/ 155 w 295"/>
                <a:gd name="T49" fmla="*/ 79 h 466"/>
                <a:gd name="T50" fmla="*/ 168 w 295"/>
                <a:gd name="T51" fmla="*/ 106 h 466"/>
                <a:gd name="T52" fmla="*/ 190 w 295"/>
                <a:gd name="T53" fmla="*/ 149 h 466"/>
                <a:gd name="T54" fmla="*/ 205 w 295"/>
                <a:gd name="T55" fmla="*/ 171 h 466"/>
                <a:gd name="T56" fmla="*/ 207 w 295"/>
                <a:gd name="T57" fmla="*/ 185 h 466"/>
                <a:gd name="T58" fmla="*/ 213 w 295"/>
                <a:gd name="T59" fmla="*/ 202 h 466"/>
                <a:gd name="T60" fmla="*/ 222 w 295"/>
                <a:gd name="T61" fmla="*/ 207 h 466"/>
                <a:gd name="T62" fmla="*/ 230 w 295"/>
                <a:gd name="T63" fmla="*/ 212 h 466"/>
                <a:gd name="T64" fmla="*/ 240 w 295"/>
                <a:gd name="T65" fmla="*/ 223 h 466"/>
                <a:gd name="T66" fmla="*/ 248 w 295"/>
                <a:gd name="T67" fmla="*/ 239 h 466"/>
                <a:gd name="T68" fmla="*/ 266 w 295"/>
                <a:gd name="T69" fmla="*/ 259 h 466"/>
                <a:gd name="T70" fmla="*/ 290 w 295"/>
                <a:gd name="T71" fmla="*/ 284 h 466"/>
                <a:gd name="T72" fmla="*/ 273 w 295"/>
                <a:gd name="T73" fmla="*/ 375 h 466"/>
                <a:gd name="T74" fmla="*/ 249 w 295"/>
                <a:gd name="T75" fmla="*/ 408 h 466"/>
                <a:gd name="T76" fmla="*/ 234 w 295"/>
                <a:gd name="T77" fmla="*/ 414 h 466"/>
                <a:gd name="T78" fmla="*/ 220 w 295"/>
                <a:gd name="T79" fmla="*/ 432 h 466"/>
                <a:gd name="T80" fmla="*/ 206 w 295"/>
                <a:gd name="T81" fmla="*/ 450 h 466"/>
                <a:gd name="T82" fmla="*/ 173 w 295"/>
                <a:gd name="T83" fmla="*/ 465 h 466"/>
                <a:gd name="T84" fmla="*/ 158 w 295"/>
                <a:gd name="T85" fmla="*/ 458 h 466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5" h="466">
                  <a:moveTo>
                    <a:pt x="158" y="458"/>
                  </a:moveTo>
                  <a:cubicBezTo>
                    <a:pt x="158" y="452"/>
                    <a:pt x="155" y="451"/>
                    <a:pt x="146" y="451"/>
                  </a:cubicBezTo>
                  <a:cubicBezTo>
                    <a:pt x="131" y="451"/>
                    <a:pt x="122" y="438"/>
                    <a:pt x="122" y="418"/>
                  </a:cubicBezTo>
                  <a:cubicBezTo>
                    <a:pt x="122" y="410"/>
                    <a:pt x="120" y="402"/>
                    <a:pt x="118" y="401"/>
                  </a:cubicBezTo>
                  <a:cubicBezTo>
                    <a:pt x="116" y="399"/>
                    <a:pt x="109" y="389"/>
                    <a:pt x="104" y="377"/>
                  </a:cubicBezTo>
                  <a:cubicBezTo>
                    <a:pt x="93" y="356"/>
                    <a:pt x="93" y="356"/>
                    <a:pt x="93" y="356"/>
                  </a:cubicBezTo>
                  <a:cubicBezTo>
                    <a:pt x="106" y="328"/>
                    <a:pt x="106" y="328"/>
                    <a:pt x="106" y="328"/>
                  </a:cubicBezTo>
                  <a:cubicBezTo>
                    <a:pt x="120" y="297"/>
                    <a:pt x="133" y="260"/>
                    <a:pt x="133" y="250"/>
                  </a:cubicBezTo>
                  <a:cubicBezTo>
                    <a:pt x="133" y="246"/>
                    <a:pt x="136" y="241"/>
                    <a:pt x="140" y="238"/>
                  </a:cubicBezTo>
                  <a:cubicBezTo>
                    <a:pt x="145" y="234"/>
                    <a:pt x="144" y="232"/>
                    <a:pt x="136" y="224"/>
                  </a:cubicBezTo>
                  <a:cubicBezTo>
                    <a:pt x="130" y="219"/>
                    <a:pt x="126" y="213"/>
                    <a:pt x="126" y="211"/>
                  </a:cubicBezTo>
                  <a:cubicBezTo>
                    <a:pt x="126" y="208"/>
                    <a:pt x="124" y="207"/>
                    <a:pt x="123" y="207"/>
                  </a:cubicBezTo>
                  <a:cubicBezTo>
                    <a:pt x="105" y="210"/>
                    <a:pt x="101" y="205"/>
                    <a:pt x="84" y="167"/>
                  </a:cubicBezTo>
                  <a:cubicBezTo>
                    <a:pt x="63" y="122"/>
                    <a:pt x="56" y="113"/>
                    <a:pt x="30" y="100"/>
                  </a:cubicBezTo>
                  <a:cubicBezTo>
                    <a:pt x="0" y="85"/>
                    <a:pt x="0" y="85"/>
                    <a:pt x="3" y="76"/>
                  </a:cubicBezTo>
                  <a:cubicBezTo>
                    <a:pt x="5" y="71"/>
                    <a:pt x="8" y="72"/>
                    <a:pt x="20" y="82"/>
                  </a:cubicBezTo>
                  <a:cubicBezTo>
                    <a:pt x="36" y="97"/>
                    <a:pt x="39" y="97"/>
                    <a:pt x="47" y="86"/>
                  </a:cubicBezTo>
                  <a:cubicBezTo>
                    <a:pt x="51" y="80"/>
                    <a:pt x="55" y="79"/>
                    <a:pt x="63" y="81"/>
                  </a:cubicBezTo>
                  <a:cubicBezTo>
                    <a:pt x="71" y="83"/>
                    <a:pt x="73" y="82"/>
                    <a:pt x="75" y="70"/>
                  </a:cubicBezTo>
                  <a:cubicBezTo>
                    <a:pt x="76" y="62"/>
                    <a:pt x="75" y="49"/>
                    <a:pt x="73" y="40"/>
                  </a:cubicBezTo>
                  <a:cubicBezTo>
                    <a:pt x="69" y="26"/>
                    <a:pt x="70" y="21"/>
                    <a:pt x="76" y="13"/>
                  </a:cubicBezTo>
                  <a:cubicBezTo>
                    <a:pt x="85" y="1"/>
                    <a:pt x="90" y="0"/>
                    <a:pt x="103" y="9"/>
                  </a:cubicBezTo>
                  <a:cubicBezTo>
                    <a:pt x="111" y="14"/>
                    <a:pt x="118" y="27"/>
                    <a:pt x="120" y="41"/>
                  </a:cubicBezTo>
                  <a:cubicBezTo>
                    <a:pt x="121" y="52"/>
                    <a:pt x="134" y="75"/>
                    <a:pt x="139" y="75"/>
                  </a:cubicBezTo>
                  <a:cubicBezTo>
                    <a:pt x="142" y="75"/>
                    <a:pt x="150" y="77"/>
                    <a:pt x="155" y="79"/>
                  </a:cubicBezTo>
                  <a:cubicBezTo>
                    <a:pt x="163" y="83"/>
                    <a:pt x="165" y="87"/>
                    <a:pt x="168" y="106"/>
                  </a:cubicBezTo>
                  <a:cubicBezTo>
                    <a:pt x="170" y="127"/>
                    <a:pt x="172" y="131"/>
                    <a:pt x="190" y="149"/>
                  </a:cubicBezTo>
                  <a:cubicBezTo>
                    <a:pt x="201" y="159"/>
                    <a:pt x="208" y="169"/>
                    <a:pt x="205" y="171"/>
                  </a:cubicBezTo>
                  <a:cubicBezTo>
                    <a:pt x="203" y="172"/>
                    <a:pt x="203" y="177"/>
                    <a:pt x="207" y="185"/>
                  </a:cubicBezTo>
                  <a:cubicBezTo>
                    <a:pt x="211" y="191"/>
                    <a:pt x="213" y="199"/>
                    <a:pt x="213" y="202"/>
                  </a:cubicBezTo>
                  <a:cubicBezTo>
                    <a:pt x="214" y="204"/>
                    <a:pt x="217" y="207"/>
                    <a:pt x="222" y="207"/>
                  </a:cubicBezTo>
                  <a:cubicBezTo>
                    <a:pt x="226" y="207"/>
                    <a:pt x="230" y="209"/>
                    <a:pt x="230" y="212"/>
                  </a:cubicBezTo>
                  <a:cubicBezTo>
                    <a:pt x="230" y="215"/>
                    <a:pt x="234" y="220"/>
                    <a:pt x="240" y="223"/>
                  </a:cubicBezTo>
                  <a:cubicBezTo>
                    <a:pt x="248" y="227"/>
                    <a:pt x="250" y="230"/>
                    <a:pt x="248" y="239"/>
                  </a:cubicBezTo>
                  <a:cubicBezTo>
                    <a:pt x="246" y="248"/>
                    <a:pt x="248" y="250"/>
                    <a:pt x="266" y="259"/>
                  </a:cubicBezTo>
                  <a:cubicBezTo>
                    <a:pt x="282" y="266"/>
                    <a:pt x="286" y="270"/>
                    <a:pt x="290" y="284"/>
                  </a:cubicBezTo>
                  <a:cubicBezTo>
                    <a:pt x="295" y="300"/>
                    <a:pt x="295" y="300"/>
                    <a:pt x="273" y="375"/>
                  </a:cubicBezTo>
                  <a:cubicBezTo>
                    <a:pt x="264" y="405"/>
                    <a:pt x="264" y="406"/>
                    <a:pt x="249" y="408"/>
                  </a:cubicBezTo>
                  <a:cubicBezTo>
                    <a:pt x="240" y="410"/>
                    <a:pt x="234" y="412"/>
                    <a:pt x="234" y="414"/>
                  </a:cubicBezTo>
                  <a:cubicBezTo>
                    <a:pt x="234" y="416"/>
                    <a:pt x="227" y="424"/>
                    <a:pt x="220" y="432"/>
                  </a:cubicBezTo>
                  <a:cubicBezTo>
                    <a:pt x="212" y="440"/>
                    <a:pt x="206" y="448"/>
                    <a:pt x="206" y="450"/>
                  </a:cubicBezTo>
                  <a:cubicBezTo>
                    <a:pt x="206" y="455"/>
                    <a:pt x="188" y="463"/>
                    <a:pt x="173" y="465"/>
                  </a:cubicBezTo>
                  <a:cubicBezTo>
                    <a:pt x="160" y="466"/>
                    <a:pt x="158" y="465"/>
                    <a:pt x="158" y="458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/>
            <p:cNvSpPr>
              <a:spLocks noEditPoints="1"/>
            </p:cNvSpPr>
            <p:nvPr userDrawn="1">
              <p:custDataLst>
                <p:tags r:id="rId12"/>
              </p:custDataLst>
            </p:nvPr>
          </p:nvSpPr>
          <p:spPr bwMode="grayWhite">
            <a:xfrm>
              <a:off x="10315575" y="-941388"/>
              <a:ext cx="573088" cy="1800225"/>
            </a:xfrm>
            <a:custGeom>
              <a:gdLst>
                <a:gd name="T0" fmla="*/ 81 w 209"/>
                <a:gd name="T1" fmla="*/ 625 h 649"/>
                <a:gd name="T2" fmla="*/ 80 w 209"/>
                <a:gd name="T3" fmla="*/ 609 h 649"/>
                <a:gd name="T4" fmla="*/ 40 w 209"/>
                <a:gd name="T5" fmla="*/ 536 h 649"/>
                <a:gd name="T6" fmla="*/ 23 w 209"/>
                <a:gd name="T7" fmla="*/ 518 h 649"/>
                <a:gd name="T8" fmla="*/ 23 w 209"/>
                <a:gd name="T9" fmla="*/ 489 h 649"/>
                <a:gd name="T10" fmla="*/ 30 w 209"/>
                <a:gd name="T11" fmla="*/ 444 h 649"/>
                <a:gd name="T12" fmla="*/ 30 w 209"/>
                <a:gd name="T13" fmla="*/ 391 h 649"/>
                <a:gd name="T14" fmla="*/ 16 w 209"/>
                <a:gd name="T15" fmla="*/ 353 h 649"/>
                <a:gd name="T16" fmla="*/ 5 w 209"/>
                <a:gd name="T17" fmla="*/ 318 h 649"/>
                <a:gd name="T18" fmla="*/ 6 w 209"/>
                <a:gd name="T19" fmla="*/ 272 h 649"/>
                <a:gd name="T20" fmla="*/ 29 w 209"/>
                <a:gd name="T21" fmla="*/ 251 h 649"/>
                <a:gd name="T22" fmla="*/ 28 w 209"/>
                <a:gd name="T23" fmla="*/ 212 h 649"/>
                <a:gd name="T24" fmla="*/ 32 w 209"/>
                <a:gd name="T25" fmla="*/ 153 h 649"/>
                <a:gd name="T26" fmla="*/ 55 w 209"/>
                <a:gd name="T27" fmla="*/ 65 h 649"/>
                <a:gd name="T28" fmla="*/ 85 w 209"/>
                <a:gd name="T29" fmla="*/ 39 h 649"/>
                <a:gd name="T30" fmla="*/ 122 w 209"/>
                <a:gd name="T31" fmla="*/ 19 h 649"/>
                <a:gd name="T32" fmla="*/ 173 w 209"/>
                <a:gd name="T33" fmla="*/ 77 h 649"/>
                <a:gd name="T34" fmla="*/ 188 w 209"/>
                <a:gd name="T35" fmla="*/ 130 h 649"/>
                <a:gd name="T36" fmla="*/ 167 w 209"/>
                <a:gd name="T37" fmla="*/ 136 h 649"/>
                <a:gd name="T38" fmla="*/ 170 w 209"/>
                <a:gd name="T39" fmla="*/ 197 h 649"/>
                <a:gd name="T40" fmla="*/ 133 w 209"/>
                <a:gd name="T41" fmla="*/ 282 h 649"/>
                <a:gd name="T42" fmla="*/ 133 w 209"/>
                <a:gd name="T43" fmla="*/ 370 h 649"/>
                <a:gd name="T44" fmla="*/ 184 w 209"/>
                <a:gd name="T45" fmla="*/ 413 h 649"/>
                <a:gd name="T46" fmla="*/ 174 w 209"/>
                <a:gd name="T47" fmla="*/ 448 h 649"/>
                <a:gd name="T48" fmla="*/ 155 w 209"/>
                <a:gd name="T49" fmla="*/ 498 h 649"/>
                <a:gd name="T50" fmla="*/ 156 w 209"/>
                <a:gd name="T51" fmla="*/ 549 h 649"/>
                <a:gd name="T52" fmla="*/ 119 w 209"/>
                <a:gd name="T53" fmla="*/ 626 h 649"/>
                <a:gd name="T54" fmla="*/ 87 w 209"/>
                <a:gd name="T55" fmla="*/ 642 h 649"/>
                <a:gd name="T56" fmla="*/ 196 w 209"/>
                <a:gd name="T57" fmla="*/ 522 h 649"/>
                <a:gd name="T58" fmla="*/ 202 w 209"/>
                <a:gd name="T59" fmla="*/ 511 h 649"/>
                <a:gd name="T60" fmla="*/ 206 w 209"/>
                <a:gd name="T61" fmla="*/ 536 h 649"/>
                <a:gd name="T62" fmla="*/ 196 w 209"/>
                <a:gd name="T63" fmla="*/ 535 h 649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9" h="649">
                  <a:moveTo>
                    <a:pt x="87" y="642"/>
                  </a:moveTo>
                  <a:cubicBezTo>
                    <a:pt x="90" y="635"/>
                    <a:pt x="89" y="632"/>
                    <a:pt x="81" y="625"/>
                  </a:cubicBezTo>
                  <a:cubicBezTo>
                    <a:pt x="75" y="619"/>
                    <a:pt x="72" y="615"/>
                    <a:pt x="75" y="613"/>
                  </a:cubicBezTo>
                  <a:cubicBezTo>
                    <a:pt x="77" y="612"/>
                    <a:pt x="79" y="610"/>
                    <a:pt x="80" y="609"/>
                  </a:cubicBezTo>
                  <a:cubicBezTo>
                    <a:pt x="82" y="606"/>
                    <a:pt x="66" y="581"/>
                    <a:pt x="63" y="581"/>
                  </a:cubicBezTo>
                  <a:cubicBezTo>
                    <a:pt x="58" y="581"/>
                    <a:pt x="39" y="544"/>
                    <a:pt x="40" y="536"/>
                  </a:cubicBezTo>
                  <a:cubicBezTo>
                    <a:pt x="42" y="516"/>
                    <a:pt x="40" y="512"/>
                    <a:pt x="32" y="517"/>
                  </a:cubicBezTo>
                  <a:cubicBezTo>
                    <a:pt x="27" y="519"/>
                    <a:pt x="23" y="519"/>
                    <a:pt x="23" y="518"/>
                  </a:cubicBezTo>
                  <a:cubicBezTo>
                    <a:pt x="23" y="516"/>
                    <a:pt x="22" y="509"/>
                    <a:pt x="21" y="502"/>
                  </a:cubicBezTo>
                  <a:cubicBezTo>
                    <a:pt x="20" y="494"/>
                    <a:pt x="21" y="489"/>
                    <a:pt x="23" y="489"/>
                  </a:cubicBezTo>
                  <a:cubicBezTo>
                    <a:pt x="29" y="489"/>
                    <a:pt x="32" y="476"/>
                    <a:pt x="28" y="469"/>
                  </a:cubicBezTo>
                  <a:cubicBezTo>
                    <a:pt x="26" y="465"/>
                    <a:pt x="26" y="456"/>
                    <a:pt x="30" y="444"/>
                  </a:cubicBezTo>
                  <a:cubicBezTo>
                    <a:pt x="34" y="431"/>
                    <a:pt x="34" y="422"/>
                    <a:pt x="32" y="415"/>
                  </a:cubicBezTo>
                  <a:cubicBezTo>
                    <a:pt x="30" y="410"/>
                    <a:pt x="29" y="399"/>
                    <a:pt x="30" y="391"/>
                  </a:cubicBezTo>
                  <a:cubicBezTo>
                    <a:pt x="32" y="380"/>
                    <a:pt x="31" y="376"/>
                    <a:pt x="24" y="370"/>
                  </a:cubicBezTo>
                  <a:cubicBezTo>
                    <a:pt x="19" y="366"/>
                    <a:pt x="16" y="359"/>
                    <a:pt x="16" y="353"/>
                  </a:cubicBezTo>
                  <a:cubicBezTo>
                    <a:pt x="16" y="348"/>
                    <a:pt x="13" y="339"/>
                    <a:pt x="9" y="332"/>
                  </a:cubicBezTo>
                  <a:cubicBezTo>
                    <a:pt x="6" y="325"/>
                    <a:pt x="4" y="319"/>
                    <a:pt x="5" y="318"/>
                  </a:cubicBezTo>
                  <a:cubicBezTo>
                    <a:pt x="6" y="317"/>
                    <a:pt x="5" y="310"/>
                    <a:pt x="3" y="302"/>
                  </a:cubicBezTo>
                  <a:cubicBezTo>
                    <a:pt x="0" y="290"/>
                    <a:pt x="0" y="284"/>
                    <a:pt x="6" y="272"/>
                  </a:cubicBezTo>
                  <a:cubicBezTo>
                    <a:pt x="10" y="263"/>
                    <a:pt x="15" y="257"/>
                    <a:pt x="17" y="257"/>
                  </a:cubicBezTo>
                  <a:cubicBezTo>
                    <a:pt x="20" y="257"/>
                    <a:pt x="25" y="254"/>
                    <a:pt x="29" y="251"/>
                  </a:cubicBezTo>
                  <a:cubicBezTo>
                    <a:pt x="36" y="246"/>
                    <a:pt x="36" y="245"/>
                    <a:pt x="31" y="234"/>
                  </a:cubicBezTo>
                  <a:cubicBezTo>
                    <a:pt x="27" y="226"/>
                    <a:pt x="26" y="219"/>
                    <a:pt x="28" y="212"/>
                  </a:cubicBezTo>
                  <a:cubicBezTo>
                    <a:pt x="30" y="207"/>
                    <a:pt x="31" y="193"/>
                    <a:pt x="29" y="182"/>
                  </a:cubicBezTo>
                  <a:cubicBezTo>
                    <a:pt x="27" y="165"/>
                    <a:pt x="28" y="159"/>
                    <a:pt x="32" y="153"/>
                  </a:cubicBezTo>
                  <a:cubicBezTo>
                    <a:pt x="40" y="144"/>
                    <a:pt x="45" y="106"/>
                    <a:pt x="39" y="97"/>
                  </a:cubicBezTo>
                  <a:cubicBezTo>
                    <a:pt x="33" y="87"/>
                    <a:pt x="43" y="67"/>
                    <a:pt x="55" y="65"/>
                  </a:cubicBezTo>
                  <a:cubicBezTo>
                    <a:pt x="62" y="64"/>
                    <a:pt x="64" y="62"/>
                    <a:pt x="62" y="54"/>
                  </a:cubicBezTo>
                  <a:cubicBezTo>
                    <a:pt x="59" y="45"/>
                    <a:pt x="68" y="39"/>
                    <a:pt x="85" y="39"/>
                  </a:cubicBezTo>
                  <a:cubicBezTo>
                    <a:pt x="95" y="38"/>
                    <a:pt x="97" y="21"/>
                    <a:pt x="88" y="12"/>
                  </a:cubicBezTo>
                  <a:cubicBezTo>
                    <a:pt x="79" y="0"/>
                    <a:pt x="90" y="3"/>
                    <a:pt x="122" y="19"/>
                  </a:cubicBezTo>
                  <a:cubicBezTo>
                    <a:pt x="147" y="31"/>
                    <a:pt x="153" y="36"/>
                    <a:pt x="160" y="50"/>
                  </a:cubicBezTo>
                  <a:cubicBezTo>
                    <a:pt x="164" y="59"/>
                    <a:pt x="170" y="71"/>
                    <a:pt x="173" y="77"/>
                  </a:cubicBezTo>
                  <a:cubicBezTo>
                    <a:pt x="176" y="82"/>
                    <a:pt x="183" y="94"/>
                    <a:pt x="188" y="104"/>
                  </a:cubicBezTo>
                  <a:cubicBezTo>
                    <a:pt x="196" y="122"/>
                    <a:pt x="196" y="122"/>
                    <a:pt x="188" y="130"/>
                  </a:cubicBezTo>
                  <a:cubicBezTo>
                    <a:pt x="182" y="136"/>
                    <a:pt x="179" y="137"/>
                    <a:pt x="172" y="133"/>
                  </a:cubicBezTo>
                  <a:cubicBezTo>
                    <a:pt x="164" y="128"/>
                    <a:pt x="163" y="129"/>
                    <a:pt x="167" y="136"/>
                  </a:cubicBezTo>
                  <a:cubicBezTo>
                    <a:pt x="170" y="141"/>
                    <a:pt x="171" y="147"/>
                    <a:pt x="169" y="149"/>
                  </a:cubicBezTo>
                  <a:cubicBezTo>
                    <a:pt x="163" y="158"/>
                    <a:pt x="164" y="190"/>
                    <a:pt x="170" y="197"/>
                  </a:cubicBezTo>
                  <a:cubicBezTo>
                    <a:pt x="179" y="208"/>
                    <a:pt x="169" y="232"/>
                    <a:pt x="139" y="268"/>
                  </a:cubicBezTo>
                  <a:cubicBezTo>
                    <a:pt x="136" y="271"/>
                    <a:pt x="134" y="278"/>
                    <a:pt x="133" y="282"/>
                  </a:cubicBezTo>
                  <a:cubicBezTo>
                    <a:pt x="133" y="287"/>
                    <a:pt x="131" y="295"/>
                    <a:pt x="128" y="299"/>
                  </a:cubicBezTo>
                  <a:cubicBezTo>
                    <a:pt x="123" y="310"/>
                    <a:pt x="125" y="352"/>
                    <a:pt x="133" y="370"/>
                  </a:cubicBezTo>
                  <a:cubicBezTo>
                    <a:pt x="136" y="378"/>
                    <a:pt x="142" y="386"/>
                    <a:pt x="146" y="388"/>
                  </a:cubicBezTo>
                  <a:cubicBezTo>
                    <a:pt x="161" y="394"/>
                    <a:pt x="184" y="409"/>
                    <a:pt x="184" y="413"/>
                  </a:cubicBezTo>
                  <a:cubicBezTo>
                    <a:pt x="184" y="415"/>
                    <a:pt x="181" y="422"/>
                    <a:pt x="178" y="428"/>
                  </a:cubicBezTo>
                  <a:cubicBezTo>
                    <a:pt x="175" y="434"/>
                    <a:pt x="173" y="443"/>
                    <a:pt x="174" y="448"/>
                  </a:cubicBezTo>
                  <a:cubicBezTo>
                    <a:pt x="176" y="454"/>
                    <a:pt x="173" y="459"/>
                    <a:pt x="164" y="468"/>
                  </a:cubicBezTo>
                  <a:cubicBezTo>
                    <a:pt x="151" y="479"/>
                    <a:pt x="151" y="480"/>
                    <a:pt x="155" y="498"/>
                  </a:cubicBezTo>
                  <a:cubicBezTo>
                    <a:pt x="158" y="510"/>
                    <a:pt x="158" y="519"/>
                    <a:pt x="156" y="522"/>
                  </a:cubicBezTo>
                  <a:cubicBezTo>
                    <a:pt x="154" y="525"/>
                    <a:pt x="154" y="535"/>
                    <a:pt x="156" y="549"/>
                  </a:cubicBezTo>
                  <a:cubicBezTo>
                    <a:pt x="161" y="577"/>
                    <a:pt x="153" y="599"/>
                    <a:pt x="136" y="602"/>
                  </a:cubicBezTo>
                  <a:cubicBezTo>
                    <a:pt x="123" y="605"/>
                    <a:pt x="113" y="619"/>
                    <a:pt x="119" y="626"/>
                  </a:cubicBezTo>
                  <a:cubicBezTo>
                    <a:pt x="125" y="633"/>
                    <a:pt x="115" y="644"/>
                    <a:pt x="98" y="647"/>
                  </a:cubicBezTo>
                  <a:cubicBezTo>
                    <a:pt x="84" y="649"/>
                    <a:pt x="83" y="649"/>
                    <a:pt x="87" y="642"/>
                  </a:cubicBezTo>
                  <a:close/>
                  <a:moveTo>
                    <a:pt x="196" y="535"/>
                  </a:moveTo>
                  <a:cubicBezTo>
                    <a:pt x="194" y="529"/>
                    <a:pt x="193" y="524"/>
                    <a:pt x="196" y="522"/>
                  </a:cubicBezTo>
                  <a:cubicBezTo>
                    <a:pt x="198" y="521"/>
                    <a:pt x="200" y="516"/>
                    <a:pt x="200" y="511"/>
                  </a:cubicBezTo>
                  <a:cubicBezTo>
                    <a:pt x="200" y="503"/>
                    <a:pt x="201" y="503"/>
                    <a:pt x="202" y="511"/>
                  </a:cubicBezTo>
                  <a:cubicBezTo>
                    <a:pt x="203" y="515"/>
                    <a:pt x="206" y="520"/>
                    <a:pt x="208" y="523"/>
                  </a:cubicBezTo>
                  <a:cubicBezTo>
                    <a:pt x="209" y="525"/>
                    <a:pt x="209" y="531"/>
                    <a:pt x="206" y="536"/>
                  </a:cubicBezTo>
                  <a:cubicBezTo>
                    <a:pt x="201" y="545"/>
                    <a:pt x="201" y="545"/>
                    <a:pt x="201" y="545"/>
                  </a:cubicBezTo>
                  <a:lnTo>
                    <a:pt x="196" y="535"/>
                  </a:ln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/>
            <p:cNvSpPr/>
            <p:nvPr userDrawn="1">
              <p:custDataLst>
                <p:tags r:id="rId13"/>
              </p:custDataLst>
            </p:nvPr>
          </p:nvSpPr>
          <p:spPr bwMode="grayWhite">
            <a:xfrm>
              <a:off x="10198100" y="592137"/>
              <a:ext cx="192088" cy="414338"/>
            </a:xfrm>
            <a:custGeom>
              <a:gdLst>
                <a:gd name="T0" fmla="*/ 39 w 70"/>
                <a:gd name="T1" fmla="*/ 143 h 149"/>
                <a:gd name="T2" fmla="*/ 26 w 70"/>
                <a:gd name="T3" fmla="*/ 142 h 149"/>
                <a:gd name="T4" fmla="*/ 23 w 70"/>
                <a:gd name="T5" fmla="*/ 132 h 149"/>
                <a:gd name="T6" fmla="*/ 13 w 70"/>
                <a:gd name="T7" fmla="*/ 92 h 149"/>
                <a:gd name="T8" fmla="*/ 9 w 70"/>
                <a:gd name="T9" fmla="*/ 39 h 149"/>
                <a:gd name="T10" fmla="*/ 31 w 70"/>
                <a:gd name="T11" fmla="*/ 18 h 149"/>
                <a:gd name="T12" fmla="*/ 51 w 70"/>
                <a:gd name="T13" fmla="*/ 28 h 149"/>
                <a:gd name="T14" fmla="*/ 64 w 70"/>
                <a:gd name="T15" fmla="*/ 56 h 149"/>
                <a:gd name="T16" fmla="*/ 57 w 70"/>
                <a:gd name="T17" fmla="*/ 82 h 149"/>
                <a:gd name="T18" fmla="*/ 49 w 70"/>
                <a:gd name="T19" fmla="*/ 133 h 149"/>
                <a:gd name="T20" fmla="*/ 55 w 70"/>
                <a:gd name="T21" fmla="*/ 141 h 149"/>
                <a:gd name="T22" fmla="*/ 39 w 70"/>
                <a:gd name="T23" fmla="*/ 143 h 149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" h="149">
                  <a:moveTo>
                    <a:pt x="39" y="143"/>
                  </a:moveTo>
                  <a:cubicBezTo>
                    <a:pt x="34" y="141"/>
                    <a:pt x="28" y="141"/>
                    <a:pt x="26" y="142"/>
                  </a:cubicBezTo>
                  <a:cubicBezTo>
                    <a:pt x="24" y="143"/>
                    <a:pt x="23" y="139"/>
                    <a:pt x="23" y="132"/>
                  </a:cubicBezTo>
                  <a:cubicBezTo>
                    <a:pt x="23" y="125"/>
                    <a:pt x="18" y="108"/>
                    <a:pt x="13" y="92"/>
                  </a:cubicBezTo>
                  <a:cubicBezTo>
                    <a:pt x="1" y="60"/>
                    <a:pt x="0" y="46"/>
                    <a:pt x="9" y="39"/>
                  </a:cubicBezTo>
                  <a:cubicBezTo>
                    <a:pt x="13" y="36"/>
                    <a:pt x="23" y="27"/>
                    <a:pt x="31" y="18"/>
                  </a:cubicBezTo>
                  <a:cubicBezTo>
                    <a:pt x="51" y="0"/>
                    <a:pt x="56" y="3"/>
                    <a:pt x="51" y="28"/>
                  </a:cubicBezTo>
                  <a:cubicBezTo>
                    <a:pt x="47" y="49"/>
                    <a:pt x="51" y="56"/>
                    <a:pt x="64" y="56"/>
                  </a:cubicBezTo>
                  <a:cubicBezTo>
                    <a:pt x="70" y="56"/>
                    <a:pt x="69" y="59"/>
                    <a:pt x="57" y="82"/>
                  </a:cubicBezTo>
                  <a:cubicBezTo>
                    <a:pt x="42" y="111"/>
                    <a:pt x="39" y="129"/>
                    <a:pt x="49" y="133"/>
                  </a:cubicBezTo>
                  <a:cubicBezTo>
                    <a:pt x="52" y="134"/>
                    <a:pt x="55" y="138"/>
                    <a:pt x="55" y="141"/>
                  </a:cubicBezTo>
                  <a:cubicBezTo>
                    <a:pt x="55" y="148"/>
                    <a:pt x="52" y="149"/>
                    <a:pt x="39" y="143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/>
            <p:cNvSpPr/>
            <p:nvPr userDrawn="1">
              <p:custDataLst>
                <p:tags r:id="rId14"/>
              </p:custDataLst>
            </p:nvPr>
          </p:nvSpPr>
          <p:spPr bwMode="grayWhite">
            <a:xfrm>
              <a:off x="8374063" y="-669925"/>
              <a:ext cx="528638" cy="455613"/>
            </a:xfrm>
            <a:custGeom>
              <a:gdLst>
                <a:gd name="T0" fmla="*/ 67 w 193"/>
                <a:gd name="T1" fmla="*/ 155 h 164"/>
                <a:gd name="T2" fmla="*/ 44 w 193"/>
                <a:gd name="T3" fmla="*/ 134 h 164"/>
                <a:gd name="T4" fmla="*/ 33 w 193"/>
                <a:gd name="T5" fmla="*/ 124 h 164"/>
                <a:gd name="T6" fmla="*/ 18 w 193"/>
                <a:gd name="T7" fmla="*/ 122 h 164"/>
                <a:gd name="T8" fmla="*/ 16 w 193"/>
                <a:gd name="T9" fmla="*/ 114 h 164"/>
                <a:gd name="T10" fmla="*/ 12 w 193"/>
                <a:gd name="T11" fmla="*/ 88 h 164"/>
                <a:gd name="T12" fmla="*/ 1 w 193"/>
                <a:gd name="T13" fmla="*/ 65 h 164"/>
                <a:gd name="T14" fmla="*/ 22 w 193"/>
                <a:gd name="T15" fmla="*/ 66 h 164"/>
                <a:gd name="T16" fmla="*/ 43 w 193"/>
                <a:gd name="T17" fmla="*/ 66 h 164"/>
                <a:gd name="T18" fmla="*/ 40 w 193"/>
                <a:gd name="T19" fmla="*/ 63 h 164"/>
                <a:gd name="T20" fmla="*/ 40 w 193"/>
                <a:gd name="T21" fmla="*/ 57 h 164"/>
                <a:gd name="T22" fmla="*/ 36 w 193"/>
                <a:gd name="T23" fmla="*/ 45 h 164"/>
                <a:gd name="T24" fmla="*/ 17 w 193"/>
                <a:gd name="T25" fmla="*/ 39 h 164"/>
                <a:gd name="T26" fmla="*/ 10 w 193"/>
                <a:gd name="T27" fmla="*/ 35 h 164"/>
                <a:gd name="T28" fmla="*/ 19 w 193"/>
                <a:gd name="T29" fmla="*/ 33 h 164"/>
                <a:gd name="T30" fmla="*/ 24 w 193"/>
                <a:gd name="T31" fmla="*/ 30 h 164"/>
                <a:gd name="T32" fmla="*/ 25 w 193"/>
                <a:gd name="T33" fmla="*/ 18 h 164"/>
                <a:gd name="T34" fmla="*/ 36 w 193"/>
                <a:gd name="T35" fmla="*/ 23 h 164"/>
                <a:gd name="T36" fmla="*/ 45 w 193"/>
                <a:gd name="T37" fmla="*/ 33 h 164"/>
                <a:gd name="T38" fmla="*/ 43 w 193"/>
                <a:gd name="T39" fmla="*/ 20 h 164"/>
                <a:gd name="T40" fmla="*/ 54 w 193"/>
                <a:gd name="T41" fmla="*/ 16 h 164"/>
                <a:gd name="T42" fmla="*/ 57 w 193"/>
                <a:gd name="T43" fmla="*/ 38 h 164"/>
                <a:gd name="T44" fmla="*/ 57 w 193"/>
                <a:gd name="T45" fmla="*/ 67 h 164"/>
                <a:gd name="T46" fmla="*/ 63 w 193"/>
                <a:gd name="T47" fmla="*/ 61 h 164"/>
                <a:gd name="T48" fmla="*/ 71 w 193"/>
                <a:gd name="T49" fmla="*/ 55 h 164"/>
                <a:gd name="T50" fmla="*/ 79 w 193"/>
                <a:gd name="T51" fmla="*/ 46 h 164"/>
                <a:gd name="T52" fmla="*/ 86 w 193"/>
                <a:gd name="T53" fmla="*/ 43 h 164"/>
                <a:gd name="T54" fmla="*/ 101 w 193"/>
                <a:gd name="T55" fmla="*/ 44 h 164"/>
                <a:gd name="T56" fmla="*/ 114 w 193"/>
                <a:gd name="T57" fmla="*/ 49 h 164"/>
                <a:gd name="T58" fmla="*/ 121 w 193"/>
                <a:gd name="T59" fmla="*/ 59 h 164"/>
                <a:gd name="T60" fmla="*/ 123 w 193"/>
                <a:gd name="T61" fmla="*/ 53 h 164"/>
                <a:gd name="T62" fmla="*/ 130 w 193"/>
                <a:gd name="T63" fmla="*/ 49 h 164"/>
                <a:gd name="T64" fmla="*/ 143 w 193"/>
                <a:gd name="T65" fmla="*/ 53 h 164"/>
                <a:gd name="T66" fmla="*/ 157 w 193"/>
                <a:gd name="T67" fmla="*/ 43 h 164"/>
                <a:gd name="T68" fmla="*/ 164 w 193"/>
                <a:gd name="T69" fmla="*/ 38 h 164"/>
                <a:gd name="T70" fmla="*/ 166 w 193"/>
                <a:gd name="T71" fmla="*/ 47 h 164"/>
                <a:gd name="T72" fmla="*/ 175 w 193"/>
                <a:gd name="T73" fmla="*/ 58 h 164"/>
                <a:gd name="T74" fmla="*/ 182 w 193"/>
                <a:gd name="T75" fmla="*/ 74 h 164"/>
                <a:gd name="T76" fmla="*/ 185 w 193"/>
                <a:gd name="T77" fmla="*/ 93 h 164"/>
                <a:gd name="T78" fmla="*/ 183 w 193"/>
                <a:gd name="T79" fmla="*/ 127 h 164"/>
                <a:gd name="T80" fmla="*/ 171 w 193"/>
                <a:gd name="T81" fmla="*/ 134 h 164"/>
                <a:gd name="T82" fmla="*/ 154 w 193"/>
                <a:gd name="T83" fmla="*/ 142 h 164"/>
                <a:gd name="T84" fmla="*/ 137 w 193"/>
                <a:gd name="T85" fmla="*/ 148 h 164"/>
                <a:gd name="T86" fmla="*/ 112 w 193"/>
                <a:gd name="T87" fmla="*/ 154 h 164"/>
                <a:gd name="T88" fmla="*/ 93 w 193"/>
                <a:gd name="T89" fmla="*/ 158 h 164"/>
                <a:gd name="T90" fmla="*/ 67 w 193"/>
                <a:gd name="T91" fmla="*/ 155 h 164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3" h="164">
                  <a:moveTo>
                    <a:pt x="67" y="155"/>
                  </a:moveTo>
                  <a:cubicBezTo>
                    <a:pt x="58" y="150"/>
                    <a:pt x="47" y="141"/>
                    <a:pt x="44" y="134"/>
                  </a:cubicBezTo>
                  <a:cubicBezTo>
                    <a:pt x="40" y="128"/>
                    <a:pt x="35" y="123"/>
                    <a:pt x="33" y="124"/>
                  </a:cubicBezTo>
                  <a:cubicBezTo>
                    <a:pt x="31" y="126"/>
                    <a:pt x="24" y="124"/>
                    <a:pt x="18" y="122"/>
                  </a:cubicBezTo>
                  <a:cubicBezTo>
                    <a:pt x="8" y="117"/>
                    <a:pt x="8" y="117"/>
                    <a:pt x="16" y="114"/>
                  </a:cubicBezTo>
                  <a:cubicBezTo>
                    <a:pt x="24" y="111"/>
                    <a:pt x="24" y="110"/>
                    <a:pt x="12" y="88"/>
                  </a:cubicBezTo>
                  <a:cubicBezTo>
                    <a:pt x="5" y="76"/>
                    <a:pt x="0" y="65"/>
                    <a:pt x="1" y="65"/>
                  </a:cubicBezTo>
                  <a:cubicBezTo>
                    <a:pt x="2" y="64"/>
                    <a:pt x="11" y="65"/>
                    <a:pt x="22" y="66"/>
                  </a:cubicBezTo>
                  <a:cubicBezTo>
                    <a:pt x="32" y="68"/>
                    <a:pt x="42" y="68"/>
                    <a:pt x="43" y="66"/>
                  </a:cubicBezTo>
                  <a:cubicBezTo>
                    <a:pt x="44" y="64"/>
                    <a:pt x="43" y="63"/>
                    <a:pt x="40" y="63"/>
                  </a:cubicBezTo>
                  <a:cubicBezTo>
                    <a:pt x="37" y="63"/>
                    <a:pt x="37" y="61"/>
                    <a:pt x="40" y="57"/>
                  </a:cubicBezTo>
                  <a:cubicBezTo>
                    <a:pt x="44" y="52"/>
                    <a:pt x="43" y="50"/>
                    <a:pt x="36" y="45"/>
                  </a:cubicBezTo>
                  <a:cubicBezTo>
                    <a:pt x="31" y="41"/>
                    <a:pt x="23" y="39"/>
                    <a:pt x="17" y="39"/>
                  </a:cubicBezTo>
                  <a:cubicBezTo>
                    <a:pt x="12" y="39"/>
                    <a:pt x="9" y="37"/>
                    <a:pt x="10" y="35"/>
                  </a:cubicBezTo>
                  <a:cubicBezTo>
                    <a:pt x="12" y="33"/>
                    <a:pt x="16" y="32"/>
                    <a:pt x="19" y="33"/>
                  </a:cubicBezTo>
                  <a:cubicBezTo>
                    <a:pt x="24" y="35"/>
                    <a:pt x="25" y="34"/>
                    <a:pt x="24" y="30"/>
                  </a:cubicBezTo>
                  <a:cubicBezTo>
                    <a:pt x="22" y="27"/>
                    <a:pt x="23" y="21"/>
                    <a:pt x="25" y="18"/>
                  </a:cubicBezTo>
                  <a:cubicBezTo>
                    <a:pt x="27" y="14"/>
                    <a:pt x="30" y="15"/>
                    <a:pt x="36" y="2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1" y="2"/>
                    <a:pt x="46" y="0"/>
                    <a:pt x="54" y="16"/>
                  </a:cubicBezTo>
                  <a:cubicBezTo>
                    <a:pt x="60" y="26"/>
                    <a:pt x="61" y="31"/>
                    <a:pt x="57" y="38"/>
                  </a:cubicBezTo>
                  <a:cubicBezTo>
                    <a:pt x="51" y="48"/>
                    <a:pt x="51" y="67"/>
                    <a:pt x="57" y="67"/>
                  </a:cubicBezTo>
                  <a:cubicBezTo>
                    <a:pt x="59" y="67"/>
                    <a:pt x="62" y="64"/>
                    <a:pt x="63" y="61"/>
                  </a:cubicBezTo>
                  <a:cubicBezTo>
                    <a:pt x="64" y="57"/>
                    <a:pt x="68" y="55"/>
                    <a:pt x="71" y="55"/>
                  </a:cubicBezTo>
                  <a:cubicBezTo>
                    <a:pt x="74" y="55"/>
                    <a:pt x="77" y="51"/>
                    <a:pt x="79" y="46"/>
                  </a:cubicBezTo>
                  <a:cubicBezTo>
                    <a:pt x="81" y="38"/>
                    <a:pt x="82" y="38"/>
                    <a:pt x="86" y="43"/>
                  </a:cubicBezTo>
                  <a:cubicBezTo>
                    <a:pt x="90" y="48"/>
                    <a:pt x="92" y="48"/>
                    <a:pt x="101" y="44"/>
                  </a:cubicBezTo>
                  <a:cubicBezTo>
                    <a:pt x="110" y="39"/>
                    <a:pt x="111" y="40"/>
                    <a:pt x="114" y="49"/>
                  </a:cubicBezTo>
                  <a:cubicBezTo>
                    <a:pt x="116" y="54"/>
                    <a:pt x="119" y="59"/>
                    <a:pt x="121" y="59"/>
                  </a:cubicBezTo>
                  <a:cubicBezTo>
                    <a:pt x="124" y="59"/>
                    <a:pt x="124" y="56"/>
                    <a:pt x="123" y="53"/>
                  </a:cubicBezTo>
                  <a:cubicBezTo>
                    <a:pt x="121" y="46"/>
                    <a:pt x="125" y="44"/>
                    <a:pt x="130" y="49"/>
                  </a:cubicBezTo>
                  <a:cubicBezTo>
                    <a:pt x="131" y="51"/>
                    <a:pt x="137" y="52"/>
                    <a:pt x="143" y="53"/>
                  </a:cubicBezTo>
                  <a:cubicBezTo>
                    <a:pt x="151" y="54"/>
                    <a:pt x="154" y="52"/>
                    <a:pt x="157" y="43"/>
                  </a:cubicBezTo>
                  <a:cubicBezTo>
                    <a:pt x="160" y="35"/>
                    <a:pt x="162" y="34"/>
                    <a:pt x="164" y="38"/>
                  </a:cubicBezTo>
                  <a:cubicBezTo>
                    <a:pt x="166" y="42"/>
                    <a:pt x="167" y="45"/>
                    <a:pt x="166" y="47"/>
                  </a:cubicBezTo>
                  <a:cubicBezTo>
                    <a:pt x="165" y="49"/>
                    <a:pt x="169" y="54"/>
                    <a:pt x="175" y="58"/>
                  </a:cubicBezTo>
                  <a:cubicBezTo>
                    <a:pt x="184" y="65"/>
                    <a:pt x="185" y="68"/>
                    <a:pt x="182" y="74"/>
                  </a:cubicBezTo>
                  <a:cubicBezTo>
                    <a:pt x="178" y="79"/>
                    <a:pt x="179" y="83"/>
                    <a:pt x="185" y="93"/>
                  </a:cubicBezTo>
                  <a:cubicBezTo>
                    <a:pt x="193" y="107"/>
                    <a:pt x="192" y="127"/>
                    <a:pt x="183" y="127"/>
                  </a:cubicBezTo>
                  <a:cubicBezTo>
                    <a:pt x="180" y="127"/>
                    <a:pt x="175" y="130"/>
                    <a:pt x="171" y="134"/>
                  </a:cubicBezTo>
                  <a:cubicBezTo>
                    <a:pt x="167" y="138"/>
                    <a:pt x="160" y="142"/>
                    <a:pt x="154" y="142"/>
                  </a:cubicBezTo>
                  <a:cubicBezTo>
                    <a:pt x="149" y="142"/>
                    <a:pt x="141" y="145"/>
                    <a:pt x="137" y="148"/>
                  </a:cubicBezTo>
                  <a:cubicBezTo>
                    <a:pt x="131" y="153"/>
                    <a:pt x="124" y="155"/>
                    <a:pt x="112" y="154"/>
                  </a:cubicBezTo>
                  <a:cubicBezTo>
                    <a:pt x="101" y="153"/>
                    <a:pt x="95" y="154"/>
                    <a:pt x="93" y="158"/>
                  </a:cubicBezTo>
                  <a:cubicBezTo>
                    <a:pt x="91" y="164"/>
                    <a:pt x="85" y="164"/>
                    <a:pt x="67" y="155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/>
            <p:nvPr userDrawn="1">
              <p:custDataLst>
                <p:tags r:id="rId15"/>
              </p:custDataLst>
            </p:nvPr>
          </p:nvSpPr>
          <p:spPr bwMode="grayWhite">
            <a:xfrm>
              <a:off x="8710613" y="2574925"/>
              <a:ext cx="350838" cy="635000"/>
            </a:xfrm>
            <a:custGeom>
              <a:gdLst>
                <a:gd name="T0" fmla="*/ 31 w 128"/>
                <a:gd name="T1" fmla="*/ 223 h 229"/>
                <a:gd name="T2" fmla="*/ 19 w 128"/>
                <a:gd name="T3" fmla="*/ 201 h 229"/>
                <a:gd name="T4" fmla="*/ 22 w 128"/>
                <a:gd name="T5" fmla="*/ 184 h 229"/>
                <a:gd name="T6" fmla="*/ 22 w 128"/>
                <a:gd name="T7" fmla="*/ 172 h 229"/>
                <a:gd name="T8" fmla="*/ 16 w 128"/>
                <a:gd name="T9" fmla="*/ 158 h 229"/>
                <a:gd name="T10" fmla="*/ 5 w 128"/>
                <a:gd name="T11" fmla="*/ 134 h 229"/>
                <a:gd name="T12" fmla="*/ 7 w 128"/>
                <a:gd name="T13" fmla="*/ 122 h 229"/>
                <a:gd name="T14" fmla="*/ 9 w 128"/>
                <a:gd name="T15" fmla="*/ 117 h 229"/>
                <a:gd name="T16" fmla="*/ 36 w 128"/>
                <a:gd name="T17" fmla="*/ 69 h 229"/>
                <a:gd name="T18" fmla="*/ 39 w 128"/>
                <a:gd name="T19" fmla="*/ 29 h 229"/>
                <a:gd name="T20" fmla="*/ 48 w 128"/>
                <a:gd name="T21" fmla="*/ 1 h 229"/>
                <a:gd name="T22" fmla="*/ 55 w 128"/>
                <a:gd name="T23" fmla="*/ 6 h 229"/>
                <a:gd name="T24" fmla="*/ 82 w 128"/>
                <a:gd name="T25" fmla="*/ 12 h 229"/>
                <a:gd name="T26" fmla="*/ 118 w 128"/>
                <a:gd name="T27" fmla="*/ 21 h 229"/>
                <a:gd name="T28" fmla="*/ 112 w 128"/>
                <a:gd name="T29" fmla="*/ 43 h 229"/>
                <a:gd name="T30" fmla="*/ 94 w 128"/>
                <a:gd name="T31" fmla="*/ 77 h 229"/>
                <a:gd name="T32" fmla="*/ 78 w 128"/>
                <a:gd name="T33" fmla="*/ 113 h 229"/>
                <a:gd name="T34" fmla="*/ 77 w 128"/>
                <a:gd name="T35" fmla="*/ 131 h 229"/>
                <a:gd name="T36" fmla="*/ 78 w 128"/>
                <a:gd name="T37" fmla="*/ 155 h 229"/>
                <a:gd name="T38" fmla="*/ 77 w 128"/>
                <a:gd name="T39" fmla="*/ 175 h 229"/>
                <a:gd name="T40" fmla="*/ 71 w 128"/>
                <a:gd name="T41" fmla="*/ 191 h 229"/>
                <a:gd name="T42" fmla="*/ 62 w 128"/>
                <a:gd name="T43" fmla="*/ 210 h 229"/>
                <a:gd name="T44" fmla="*/ 50 w 128"/>
                <a:gd name="T45" fmla="*/ 228 h 229"/>
                <a:gd name="T46" fmla="*/ 31 w 128"/>
                <a:gd name="T47" fmla="*/ 223 h 229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8" h="229">
                  <a:moveTo>
                    <a:pt x="31" y="223"/>
                  </a:moveTo>
                  <a:cubicBezTo>
                    <a:pt x="12" y="219"/>
                    <a:pt x="11" y="217"/>
                    <a:pt x="19" y="201"/>
                  </a:cubicBezTo>
                  <a:cubicBezTo>
                    <a:pt x="23" y="194"/>
                    <a:pt x="24" y="188"/>
                    <a:pt x="22" y="184"/>
                  </a:cubicBezTo>
                  <a:cubicBezTo>
                    <a:pt x="20" y="181"/>
                    <a:pt x="20" y="176"/>
                    <a:pt x="22" y="172"/>
                  </a:cubicBezTo>
                  <a:cubicBezTo>
                    <a:pt x="27" y="163"/>
                    <a:pt x="23" y="155"/>
                    <a:pt x="16" y="158"/>
                  </a:cubicBezTo>
                  <a:cubicBezTo>
                    <a:pt x="8" y="161"/>
                    <a:pt x="0" y="143"/>
                    <a:pt x="5" y="134"/>
                  </a:cubicBezTo>
                  <a:cubicBezTo>
                    <a:pt x="7" y="130"/>
                    <a:pt x="8" y="124"/>
                    <a:pt x="7" y="122"/>
                  </a:cubicBezTo>
                  <a:cubicBezTo>
                    <a:pt x="6" y="119"/>
                    <a:pt x="7" y="117"/>
                    <a:pt x="9" y="117"/>
                  </a:cubicBezTo>
                  <a:cubicBezTo>
                    <a:pt x="14" y="117"/>
                    <a:pt x="32" y="85"/>
                    <a:pt x="36" y="69"/>
                  </a:cubicBezTo>
                  <a:cubicBezTo>
                    <a:pt x="38" y="61"/>
                    <a:pt x="39" y="43"/>
                    <a:pt x="39" y="29"/>
                  </a:cubicBezTo>
                  <a:cubicBezTo>
                    <a:pt x="39" y="5"/>
                    <a:pt x="40" y="2"/>
                    <a:pt x="48" y="1"/>
                  </a:cubicBezTo>
                  <a:cubicBezTo>
                    <a:pt x="55" y="0"/>
                    <a:pt x="57" y="2"/>
                    <a:pt x="55" y="6"/>
                  </a:cubicBezTo>
                  <a:cubicBezTo>
                    <a:pt x="54" y="10"/>
                    <a:pt x="59" y="11"/>
                    <a:pt x="82" y="12"/>
                  </a:cubicBezTo>
                  <a:cubicBezTo>
                    <a:pt x="107" y="12"/>
                    <a:pt x="112" y="14"/>
                    <a:pt x="118" y="21"/>
                  </a:cubicBezTo>
                  <a:cubicBezTo>
                    <a:pt x="127" y="33"/>
                    <a:pt x="128" y="33"/>
                    <a:pt x="112" y="43"/>
                  </a:cubicBezTo>
                  <a:cubicBezTo>
                    <a:pt x="101" y="51"/>
                    <a:pt x="98" y="56"/>
                    <a:pt x="94" y="77"/>
                  </a:cubicBezTo>
                  <a:cubicBezTo>
                    <a:pt x="87" y="112"/>
                    <a:pt x="87" y="113"/>
                    <a:pt x="78" y="113"/>
                  </a:cubicBezTo>
                  <a:cubicBezTo>
                    <a:pt x="68" y="113"/>
                    <a:pt x="68" y="115"/>
                    <a:pt x="77" y="131"/>
                  </a:cubicBezTo>
                  <a:cubicBezTo>
                    <a:pt x="84" y="141"/>
                    <a:pt x="84" y="144"/>
                    <a:pt x="78" y="155"/>
                  </a:cubicBezTo>
                  <a:cubicBezTo>
                    <a:pt x="74" y="164"/>
                    <a:pt x="74" y="169"/>
                    <a:pt x="77" y="175"/>
                  </a:cubicBezTo>
                  <a:cubicBezTo>
                    <a:pt x="80" y="181"/>
                    <a:pt x="79" y="184"/>
                    <a:pt x="71" y="191"/>
                  </a:cubicBezTo>
                  <a:cubicBezTo>
                    <a:pt x="66" y="196"/>
                    <a:pt x="62" y="204"/>
                    <a:pt x="62" y="210"/>
                  </a:cubicBezTo>
                  <a:cubicBezTo>
                    <a:pt x="62" y="218"/>
                    <a:pt x="55" y="229"/>
                    <a:pt x="50" y="228"/>
                  </a:cubicBezTo>
                  <a:cubicBezTo>
                    <a:pt x="49" y="228"/>
                    <a:pt x="40" y="225"/>
                    <a:pt x="31" y="223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/>
            <p:cNvSpPr>
              <a:spLocks noEditPoints="1"/>
            </p:cNvSpPr>
            <p:nvPr userDrawn="1">
              <p:custDataLst>
                <p:tags r:id="rId16"/>
              </p:custDataLst>
            </p:nvPr>
          </p:nvSpPr>
          <p:spPr bwMode="grayWhite">
            <a:xfrm>
              <a:off x="8793163" y="2378075"/>
              <a:ext cx="1238250" cy="971550"/>
            </a:xfrm>
            <a:custGeom>
              <a:gdLst>
                <a:gd name="T0" fmla="*/ 80 w 452"/>
                <a:gd name="T1" fmla="*/ 334 h 350"/>
                <a:gd name="T2" fmla="*/ 68 w 452"/>
                <a:gd name="T3" fmla="*/ 313 h 350"/>
                <a:gd name="T4" fmla="*/ 43 w 452"/>
                <a:gd name="T5" fmla="*/ 292 h 350"/>
                <a:gd name="T6" fmla="*/ 52 w 452"/>
                <a:gd name="T7" fmla="*/ 259 h 350"/>
                <a:gd name="T8" fmla="*/ 51 w 452"/>
                <a:gd name="T9" fmla="*/ 247 h 350"/>
                <a:gd name="T10" fmla="*/ 53 w 452"/>
                <a:gd name="T11" fmla="*/ 225 h 350"/>
                <a:gd name="T12" fmla="*/ 51 w 452"/>
                <a:gd name="T13" fmla="*/ 201 h 350"/>
                <a:gd name="T14" fmla="*/ 52 w 452"/>
                <a:gd name="T15" fmla="*/ 187 h 350"/>
                <a:gd name="T16" fmla="*/ 68 w 452"/>
                <a:gd name="T17" fmla="*/ 149 h 350"/>
                <a:gd name="T18" fmla="*/ 75 w 452"/>
                <a:gd name="T19" fmla="*/ 123 h 350"/>
                <a:gd name="T20" fmla="*/ 89 w 452"/>
                <a:gd name="T21" fmla="*/ 114 h 350"/>
                <a:gd name="T22" fmla="*/ 95 w 452"/>
                <a:gd name="T23" fmla="*/ 94 h 350"/>
                <a:gd name="T24" fmla="*/ 53 w 452"/>
                <a:gd name="T25" fmla="*/ 79 h 350"/>
                <a:gd name="T26" fmla="*/ 31 w 452"/>
                <a:gd name="T27" fmla="*/ 72 h 350"/>
                <a:gd name="T28" fmla="*/ 20 w 452"/>
                <a:gd name="T29" fmla="*/ 68 h 350"/>
                <a:gd name="T30" fmla="*/ 11 w 452"/>
                <a:gd name="T31" fmla="*/ 60 h 350"/>
                <a:gd name="T32" fmla="*/ 7 w 452"/>
                <a:gd name="T33" fmla="*/ 42 h 350"/>
                <a:gd name="T34" fmla="*/ 0 w 452"/>
                <a:gd name="T35" fmla="*/ 27 h 350"/>
                <a:gd name="T36" fmla="*/ 23 w 452"/>
                <a:gd name="T37" fmla="*/ 12 h 350"/>
                <a:gd name="T38" fmla="*/ 38 w 452"/>
                <a:gd name="T39" fmla="*/ 5 h 350"/>
                <a:gd name="T40" fmla="*/ 55 w 452"/>
                <a:gd name="T41" fmla="*/ 1 h 350"/>
                <a:gd name="T42" fmla="*/ 96 w 452"/>
                <a:gd name="T43" fmla="*/ 7 h 350"/>
                <a:gd name="T44" fmla="*/ 138 w 452"/>
                <a:gd name="T45" fmla="*/ 15 h 350"/>
                <a:gd name="T46" fmla="*/ 174 w 452"/>
                <a:gd name="T47" fmla="*/ 22 h 350"/>
                <a:gd name="T48" fmla="*/ 251 w 452"/>
                <a:gd name="T49" fmla="*/ 33 h 350"/>
                <a:gd name="T50" fmla="*/ 320 w 452"/>
                <a:gd name="T51" fmla="*/ 54 h 350"/>
                <a:gd name="T52" fmla="*/ 344 w 452"/>
                <a:gd name="T53" fmla="*/ 61 h 350"/>
                <a:gd name="T54" fmla="*/ 382 w 452"/>
                <a:gd name="T55" fmla="*/ 69 h 350"/>
                <a:gd name="T56" fmla="*/ 414 w 452"/>
                <a:gd name="T57" fmla="*/ 72 h 350"/>
                <a:gd name="T58" fmla="*/ 412 w 452"/>
                <a:gd name="T59" fmla="*/ 76 h 350"/>
                <a:gd name="T60" fmla="*/ 411 w 452"/>
                <a:gd name="T61" fmla="*/ 83 h 350"/>
                <a:gd name="T62" fmla="*/ 405 w 452"/>
                <a:gd name="T63" fmla="*/ 98 h 350"/>
                <a:gd name="T64" fmla="*/ 386 w 452"/>
                <a:gd name="T65" fmla="*/ 112 h 350"/>
                <a:gd name="T66" fmla="*/ 360 w 452"/>
                <a:gd name="T67" fmla="*/ 124 h 350"/>
                <a:gd name="T68" fmla="*/ 333 w 452"/>
                <a:gd name="T69" fmla="*/ 143 h 350"/>
                <a:gd name="T70" fmla="*/ 310 w 452"/>
                <a:gd name="T71" fmla="*/ 177 h 350"/>
                <a:gd name="T72" fmla="*/ 306 w 452"/>
                <a:gd name="T73" fmla="*/ 228 h 350"/>
                <a:gd name="T74" fmla="*/ 316 w 452"/>
                <a:gd name="T75" fmla="*/ 233 h 350"/>
                <a:gd name="T76" fmla="*/ 303 w 452"/>
                <a:gd name="T77" fmla="*/ 241 h 350"/>
                <a:gd name="T78" fmla="*/ 278 w 452"/>
                <a:gd name="T79" fmla="*/ 284 h 350"/>
                <a:gd name="T80" fmla="*/ 270 w 452"/>
                <a:gd name="T81" fmla="*/ 287 h 350"/>
                <a:gd name="T82" fmla="*/ 248 w 452"/>
                <a:gd name="T83" fmla="*/ 297 h 350"/>
                <a:gd name="T84" fmla="*/ 234 w 452"/>
                <a:gd name="T85" fmla="*/ 316 h 350"/>
                <a:gd name="T86" fmla="*/ 226 w 452"/>
                <a:gd name="T87" fmla="*/ 321 h 350"/>
                <a:gd name="T88" fmla="*/ 214 w 452"/>
                <a:gd name="T89" fmla="*/ 323 h 350"/>
                <a:gd name="T90" fmla="*/ 193 w 452"/>
                <a:gd name="T91" fmla="*/ 323 h 350"/>
                <a:gd name="T92" fmla="*/ 163 w 452"/>
                <a:gd name="T93" fmla="*/ 320 h 350"/>
                <a:gd name="T94" fmla="*/ 108 w 452"/>
                <a:gd name="T95" fmla="*/ 341 h 350"/>
                <a:gd name="T96" fmla="*/ 80 w 452"/>
                <a:gd name="T97" fmla="*/ 334 h 350"/>
                <a:gd name="T98" fmla="*/ 352 w 452"/>
                <a:gd name="T99" fmla="*/ 224 h 350"/>
                <a:gd name="T100" fmla="*/ 356 w 452"/>
                <a:gd name="T101" fmla="*/ 220 h 350"/>
                <a:gd name="T102" fmla="*/ 356 w 452"/>
                <a:gd name="T103" fmla="*/ 226 h 350"/>
                <a:gd name="T104" fmla="*/ 352 w 452"/>
                <a:gd name="T105" fmla="*/ 224 h 350"/>
                <a:gd name="T106" fmla="*/ 406 w 452"/>
                <a:gd name="T107" fmla="*/ 201 h 350"/>
                <a:gd name="T108" fmla="*/ 395 w 452"/>
                <a:gd name="T109" fmla="*/ 198 h 350"/>
                <a:gd name="T110" fmla="*/ 392 w 452"/>
                <a:gd name="T111" fmla="*/ 197 h 350"/>
                <a:gd name="T112" fmla="*/ 415 w 452"/>
                <a:gd name="T113" fmla="*/ 187 h 350"/>
                <a:gd name="T114" fmla="*/ 418 w 452"/>
                <a:gd name="T115" fmla="*/ 198 h 350"/>
                <a:gd name="T116" fmla="*/ 406 w 452"/>
                <a:gd name="T117" fmla="*/ 201 h 350"/>
                <a:gd name="T118" fmla="*/ 442 w 452"/>
                <a:gd name="T119" fmla="*/ 176 h 350"/>
                <a:gd name="T120" fmla="*/ 452 w 452"/>
                <a:gd name="T121" fmla="*/ 176 h 350"/>
                <a:gd name="T122" fmla="*/ 445 w 452"/>
                <a:gd name="T123" fmla="*/ 180 h 350"/>
                <a:gd name="T124" fmla="*/ 442 w 452"/>
                <a:gd name="T125" fmla="*/ 176 h 350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350">
                  <a:moveTo>
                    <a:pt x="80" y="334"/>
                  </a:moveTo>
                  <a:cubicBezTo>
                    <a:pt x="73" y="327"/>
                    <a:pt x="68" y="317"/>
                    <a:pt x="68" y="313"/>
                  </a:cubicBezTo>
                  <a:cubicBezTo>
                    <a:pt x="68" y="303"/>
                    <a:pt x="54" y="292"/>
                    <a:pt x="43" y="292"/>
                  </a:cubicBezTo>
                  <a:cubicBezTo>
                    <a:pt x="29" y="292"/>
                    <a:pt x="36" y="264"/>
                    <a:pt x="52" y="259"/>
                  </a:cubicBezTo>
                  <a:cubicBezTo>
                    <a:pt x="55" y="258"/>
                    <a:pt x="55" y="254"/>
                    <a:pt x="51" y="247"/>
                  </a:cubicBezTo>
                  <a:cubicBezTo>
                    <a:pt x="48" y="239"/>
                    <a:pt x="48" y="234"/>
                    <a:pt x="53" y="225"/>
                  </a:cubicBezTo>
                  <a:cubicBezTo>
                    <a:pt x="59" y="214"/>
                    <a:pt x="58" y="212"/>
                    <a:pt x="51" y="201"/>
                  </a:cubicBezTo>
                  <a:cubicBezTo>
                    <a:pt x="44" y="190"/>
                    <a:pt x="44" y="190"/>
                    <a:pt x="52" y="187"/>
                  </a:cubicBezTo>
                  <a:cubicBezTo>
                    <a:pt x="61" y="183"/>
                    <a:pt x="61" y="183"/>
                    <a:pt x="68" y="149"/>
                  </a:cubicBezTo>
                  <a:cubicBezTo>
                    <a:pt x="71" y="135"/>
                    <a:pt x="74" y="123"/>
                    <a:pt x="75" y="123"/>
                  </a:cubicBezTo>
                  <a:cubicBezTo>
                    <a:pt x="77" y="123"/>
                    <a:pt x="82" y="119"/>
                    <a:pt x="89" y="114"/>
                  </a:cubicBezTo>
                  <a:cubicBezTo>
                    <a:pt x="99" y="106"/>
                    <a:pt x="99" y="104"/>
                    <a:pt x="95" y="94"/>
                  </a:cubicBezTo>
                  <a:cubicBezTo>
                    <a:pt x="88" y="81"/>
                    <a:pt x="84" y="80"/>
                    <a:pt x="53" y="79"/>
                  </a:cubicBezTo>
                  <a:cubicBezTo>
                    <a:pt x="33" y="78"/>
                    <a:pt x="29" y="77"/>
                    <a:pt x="31" y="72"/>
                  </a:cubicBezTo>
                  <a:cubicBezTo>
                    <a:pt x="32" y="68"/>
                    <a:pt x="30" y="67"/>
                    <a:pt x="20" y="68"/>
                  </a:cubicBezTo>
                  <a:cubicBezTo>
                    <a:pt x="6" y="70"/>
                    <a:pt x="6" y="70"/>
                    <a:pt x="11" y="60"/>
                  </a:cubicBezTo>
                  <a:cubicBezTo>
                    <a:pt x="14" y="54"/>
                    <a:pt x="13" y="50"/>
                    <a:pt x="7" y="42"/>
                  </a:cubicBezTo>
                  <a:cubicBezTo>
                    <a:pt x="3" y="37"/>
                    <a:pt x="0" y="30"/>
                    <a:pt x="0" y="27"/>
                  </a:cubicBezTo>
                  <a:cubicBezTo>
                    <a:pt x="0" y="20"/>
                    <a:pt x="12" y="12"/>
                    <a:pt x="23" y="12"/>
                  </a:cubicBezTo>
                  <a:cubicBezTo>
                    <a:pt x="28" y="12"/>
                    <a:pt x="35" y="9"/>
                    <a:pt x="38" y="5"/>
                  </a:cubicBezTo>
                  <a:cubicBezTo>
                    <a:pt x="43" y="1"/>
                    <a:pt x="48" y="0"/>
                    <a:pt x="55" y="1"/>
                  </a:cubicBezTo>
                  <a:cubicBezTo>
                    <a:pt x="61" y="3"/>
                    <a:pt x="79" y="6"/>
                    <a:pt x="96" y="7"/>
                  </a:cubicBezTo>
                  <a:cubicBezTo>
                    <a:pt x="112" y="9"/>
                    <a:pt x="131" y="13"/>
                    <a:pt x="138" y="15"/>
                  </a:cubicBezTo>
                  <a:cubicBezTo>
                    <a:pt x="144" y="18"/>
                    <a:pt x="160" y="21"/>
                    <a:pt x="174" y="22"/>
                  </a:cubicBezTo>
                  <a:cubicBezTo>
                    <a:pt x="220" y="24"/>
                    <a:pt x="245" y="28"/>
                    <a:pt x="251" y="33"/>
                  </a:cubicBezTo>
                  <a:cubicBezTo>
                    <a:pt x="264" y="45"/>
                    <a:pt x="304" y="57"/>
                    <a:pt x="320" y="54"/>
                  </a:cubicBezTo>
                  <a:cubicBezTo>
                    <a:pt x="333" y="52"/>
                    <a:pt x="337" y="53"/>
                    <a:pt x="344" y="61"/>
                  </a:cubicBezTo>
                  <a:cubicBezTo>
                    <a:pt x="351" y="70"/>
                    <a:pt x="355" y="70"/>
                    <a:pt x="382" y="69"/>
                  </a:cubicBezTo>
                  <a:cubicBezTo>
                    <a:pt x="398" y="68"/>
                    <a:pt x="412" y="70"/>
                    <a:pt x="414" y="72"/>
                  </a:cubicBezTo>
                  <a:cubicBezTo>
                    <a:pt x="415" y="74"/>
                    <a:pt x="414" y="76"/>
                    <a:pt x="412" y="76"/>
                  </a:cubicBezTo>
                  <a:cubicBezTo>
                    <a:pt x="408" y="76"/>
                    <a:pt x="408" y="78"/>
                    <a:pt x="411" y="83"/>
                  </a:cubicBezTo>
                  <a:cubicBezTo>
                    <a:pt x="415" y="90"/>
                    <a:pt x="414" y="92"/>
                    <a:pt x="405" y="98"/>
                  </a:cubicBezTo>
                  <a:cubicBezTo>
                    <a:pt x="398" y="102"/>
                    <a:pt x="390" y="108"/>
                    <a:pt x="386" y="112"/>
                  </a:cubicBezTo>
                  <a:cubicBezTo>
                    <a:pt x="381" y="115"/>
                    <a:pt x="370" y="121"/>
                    <a:pt x="360" y="124"/>
                  </a:cubicBezTo>
                  <a:cubicBezTo>
                    <a:pt x="348" y="127"/>
                    <a:pt x="340" y="133"/>
                    <a:pt x="333" y="143"/>
                  </a:cubicBezTo>
                  <a:cubicBezTo>
                    <a:pt x="328" y="151"/>
                    <a:pt x="317" y="166"/>
                    <a:pt x="310" y="177"/>
                  </a:cubicBezTo>
                  <a:cubicBezTo>
                    <a:pt x="292" y="201"/>
                    <a:pt x="290" y="221"/>
                    <a:pt x="306" y="228"/>
                  </a:cubicBezTo>
                  <a:cubicBezTo>
                    <a:pt x="316" y="233"/>
                    <a:pt x="316" y="233"/>
                    <a:pt x="316" y="233"/>
                  </a:cubicBezTo>
                  <a:cubicBezTo>
                    <a:pt x="303" y="241"/>
                    <a:pt x="303" y="241"/>
                    <a:pt x="303" y="241"/>
                  </a:cubicBezTo>
                  <a:cubicBezTo>
                    <a:pt x="290" y="249"/>
                    <a:pt x="274" y="277"/>
                    <a:pt x="278" y="284"/>
                  </a:cubicBezTo>
                  <a:cubicBezTo>
                    <a:pt x="280" y="287"/>
                    <a:pt x="277" y="288"/>
                    <a:pt x="270" y="287"/>
                  </a:cubicBezTo>
                  <a:cubicBezTo>
                    <a:pt x="262" y="285"/>
                    <a:pt x="257" y="288"/>
                    <a:pt x="248" y="297"/>
                  </a:cubicBezTo>
                  <a:cubicBezTo>
                    <a:pt x="242" y="304"/>
                    <a:pt x="236" y="313"/>
                    <a:pt x="234" y="316"/>
                  </a:cubicBezTo>
                  <a:cubicBezTo>
                    <a:pt x="233" y="321"/>
                    <a:pt x="229" y="322"/>
                    <a:pt x="226" y="321"/>
                  </a:cubicBezTo>
                  <a:cubicBezTo>
                    <a:pt x="222" y="320"/>
                    <a:pt x="217" y="321"/>
                    <a:pt x="214" y="323"/>
                  </a:cubicBezTo>
                  <a:cubicBezTo>
                    <a:pt x="211" y="326"/>
                    <a:pt x="204" y="326"/>
                    <a:pt x="193" y="323"/>
                  </a:cubicBezTo>
                  <a:cubicBezTo>
                    <a:pt x="185" y="321"/>
                    <a:pt x="171" y="320"/>
                    <a:pt x="163" y="320"/>
                  </a:cubicBezTo>
                  <a:cubicBezTo>
                    <a:pt x="146" y="319"/>
                    <a:pt x="116" y="331"/>
                    <a:pt x="108" y="341"/>
                  </a:cubicBezTo>
                  <a:cubicBezTo>
                    <a:pt x="100" y="350"/>
                    <a:pt x="95" y="349"/>
                    <a:pt x="80" y="334"/>
                  </a:cubicBezTo>
                  <a:close/>
                  <a:moveTo>
                    <a:pt x="352" y="224"/>
                  </a:moveTo>
                  <a:cubicBezTo>
                    <a:pt x="352" y="221"/>
                    <a:pt x="353" y="220"/>
                    <a:pt x="356" y="220"/>
                  </a:cubicBezTo>
                  <a:cubicBezTo>
                    <a:pt x="361" y="220"/>
                    <a:pt x="361" y="222"/>
                    <a:pt x="356" y="226"/>
                  </a:cubicBezTo>
                  <a:cubicBezTo>
                    <a:pt x="353" y="227"/>
                    <a:pt x="352" y="226"/>
                    <a:pt x="352" y="224"/>
                  </a:cubicBezTo>
                  <a:close/>
                  <a:moveTo>
                    <a:pt x="406" y="201"/>
                  </a:moveTo>
                  <a:cubicBezTo>
                    <a:pt x="402" y="198"/>
                    <a:pt x="397" y="197"/>
                    <a:pt x="395" y="198"/>
                  </a:cubicBezTo>
                  <a:cubicBezTo>
                    <a:pt x="393" y="199"/>
                    <a:pt x="392" y="199"/>
                    <a:pt x="392" y="197"/>
                  </a:cubicBezTo>
                  <a:cubicBezTo>
                    <a:pt x="392" y="190"/>
                    <a:pt x="407" y="184"/>
                    <a:pt x="415" y="187"/>
                  </a:cubicBezTo>
                  <a:cubicBezTo>
                    <a:pt x="422" y="189"/>
                    <a:pt x="422" y="191"/>
                    <a:pt x="418" y="198"/>
                  </a:cubicBezTo>
                  <a:cubicBezTo>
                    <a:pt x="414" y="206"/>
                    <a:pt x="413" y="206"/>
                    <a:pt x="406" y="201"/>
                  </a:cubicBezTo>
                  <a:close/>
                  <a:moveTo>
                    <a:pt x="442" y="176"/>
                  </a:moveTo>
                  <a:cubicBezTo>
                    <a:pt x="445" y="170"/>
                    <a:pt x="452" y="170"/>
                    <a:pt x="452" y="176"/>
                  </a:cubicBezTo>
                  <a:cubicBezTo>
                    <a:pt x="452" y="178"/>
                    <a:pt x="449" y="180"/>
                    <a:pt x="445" y="180"/>
                  </a:cubicBezTo>
                  <a:cubicBezTo>
                    <a:pt x="442" y="180"/>
                    <a:pt x="440" y="178"/>
                    <a:pt x="442" y="176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/>
            <p:cNvSpPr>
              <a:spLocks noEditPoints="1"/>
            </p:cNvSpPr>
            <p:nvPr userDrawn="1">
              <p:custDataLst>
                <p:tags r:id="rId17"/>
              </p:custDataLst>
            </p:nvPr>
          </p:nvSpPr>
          <p:spPr bwMode="grayWhite">
            <a:xfrm>
              <a:off x="9194800" y="42862"/>
              <a:ext cx="1309688" cy="963613"/>
            </a:xfrm>
            <a:custGeom>
              <a:gdLst>
                <a:gd name="T0" fmla="*/ 405 w 478"/>
                <a:gd name="T1" fmla="*/ 341 h 347"/>
                <a:gd name="T2" fmla="*/ 392 w 478"/>
                <a:gd name="T3" fmla="*/ 340 h 347"/>
                <a:gd name="T4" fmla="*/ 389 w 478"/>
                <a:gd name="T5" fmla="*/ 330 h 347"/>
                <a:gd name="T6" fmla="*/ 379 w 478"/>
                <a:gd name="T7" fmla="*/ 290 h 347"/>
                <a:gd name="T8" fmla="*/ 375 w 478"/>
                <a:gd name="T9" fmla="*/ 237 h 347"/>
                <a:gd name="T10" fmla="*/ 397 w 478"/>
                <a:gd name="T11" fmla="*/ 216 h 347"/>
                <a:gd name="T12" fmla="*/ 417 w 478"/>
                <a:gd name="T13" fmla="*/ 226 h 347"/>
                <a:gd name="T14" fmla="*/ 430 w 478"/>
                <a:gd name="T15" fmla="*/ 254 h 347"/>
                <a:gd name="T16" fmla="*/ 423 w 478"/>
                <a:gd name="T17" fmla="*/ 280 h 347"/>
                <a:gd name="T18" fmla="*/ 415 w 478"/>
                <a:gd name="T19" fmla="*/ 331 h 347"/>
                <a:gd name="T20" fmla="*/ 421 w 478"/>
                <a:gd name="T21" fmla="*/ 339 h 347"/>
                <a:gd name="T22" fmla="*/ 405 w 478"/>
                <a:gd name="T23" fmla="*/ 341 h 347"/>
                <a:gd name="T24" fmla="*/ 456 w 478"/>
                <a:gd name="T25" fmla="*/ 333 h 347"/>
                <a:gd name="T26" fmla="*/ 455 w 478"/>
                <a:gd name="T27" fmla="*/ 316 h 347"/>
                <a:gd name="T28" fmla="*/ 472 w 478"/>
                <a:gd name="T29" fmla="*/ 294 h 347"/>
                <a:gd name="T30" fmla="*/ 467 w 478"/>
                <a:gd name="T31" fmla="*/ 330 h 347"/>
                <a:gd name="T32" fmla="*/ 456 w 478"/>
                <a:gd name="T33" fmla="*/ 333 h 347"/>
                <a:gd name="T34" fmla="*/ 426 w 478"/>
                <a:gd name="T35" fmla="*/ 318 h 347"/>
                <a:gd name="T36" fmla="*/ 427 w 478"/>
                <a:gd name="T37" fmla="*/ 308 h 347"/>
                <a:gd name="T38" fmla="*/ 434 w 478"/>
                <a:gd name="T39" fmla="*/ 313 h 347"/>
                <a:gd name="T40" fmla="*/ 426 w 478"/>
                <a:gd name="T41" fmla="*/ 318 h 347"/>
                <a:gd name="T42" fmla="*/ 5 w 478"/>
                <a:gd name="T43" fmla="*/ 10 h 347"/>
                <a:gd name="T44" fmla="*/ 6 w 478"/>
                <a:gd name="T45" fmla="*/ 3 h 347"/>
                <a:gd name="T46" fmla="*/ 14 w 478"/>
                <a:gd name="T47" fmla="*/ 9 h 347"/>
                <a:gd name="T48" fmla="*/ 5 w 478"/>
                <a:gd name="T49" fmla="*/ 10 h 347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8" h="347">
                  <a:moveTo>
                    <a:pt x="405" y="341"/>
                  </a:moveTo>
                  <a:cubicBezTo>
                    <a:pt x="400" y="339"/>
                    <a:pt x="394" y="339"/>
                    <a:pt x="392" y="340"/>
                  </a:cubicBezTo>
                  <a:cubicBezTo>
                    <a:pt x="390" y="341"/>
                    <a:pt x="389" y="337"/>
                    <a:pt x="389" y="330"/>
                  </a:cubicBezTo>
                  <a:cubicBezTo>
                    <a:pt x="389" y="323"/>
                    <a:pt x="384" y="306"/>
                    <a:pt x="379" y="290"/>
                  </a:cubicBezTo>
                  <a:cubicBezTo>
                    <a:pt x="367" y="258"/>
                    <a:pt x="366" y="244"/>
                    <a:pt x="375" y="237"/>
                  </a:cubicBezTo>
                  <a:cubicBezTo>
                    <a:pt x="379" y="234"/>
                    <a:pt x="389" y="225"/>
                    <a:pt x="397" y="216"/>
                  </a:cubicBezTo>
                  <a:cubicBezTo>
                    <a:pt x="417" y="198"/>
                    <a:pt x="422" y="201"/>
                    <a:pt x="417" y="226"/>
                  </a:cubicBezTo>
                  <a:cubicBezTo>
                    <a:pt x="413" y="247"/>
                    <a:pt x="417" y="254"/>
                    <a:pt x="430" y="254"/>
                  </a:cubicBezTo>
                  <a:cubicBezTo>
                    <a:pt x="436" y="254"/>
                    <a:pt x="435" y="257"/>
                    <a:pt x="423" y="280"/>
                  </a:cubicBezTo>
                  <a:cubicBezTo>
                    <a:pt x="408" y="309"/>
                    <a:pt x="405" y="327"/>
                    <a:pt x="415" y="331"/>
                  </a:cubicBezTo>
                  <a:cubicBezTo>
                    <a:pt x="418" y="332"/>
                    <a:pt x="421" y="336"/>
                    <a:pt x="421" y="339"/>
                  </a:cubicBezTo>
                  <a:cubicBezTo>
                    <a:pt x="421" y="346"/>
                    <a:pt x="418" y="347"/>
                    <a:pt x="405" y="341"/>
                  </a:cubicBezTo>
                  <a:close/>
                  <a:moveTo>
                    <a:pt x="456" y="333"/>
                  </a:moveTo>
                  <a:cubicBezTo>
                    <a:pt x="456" y="332"/>
                    <a:pt x="455" y="325"/>
                    <a:pt x="455" y="316"/>
                  </a:cubicBezTo>
                  <a:cubicBezTo>
                    <a:pt x="454" y="302"/>
                    <a:pt x="460" y="294"/>
                    <a:pt x="472" y="294"/>
                  </a:cubicBezTo>
                  <a:cubicBezTo>
                    <a:pt x="478" y="294"/>
                    <a:pt x="473" y="326"/>
                    <a:pt x="467" y="330"/>
                  </a:cubicBezTo>
                  <a:cubicBezTo>
                    <a:pt x="463" y="333"/>
                    <a:pt x="457" y="334"/>
                    <a:pt x="456" y="333"/>
                  </a:cubicBezTo>
                  <a:close/>
                  <a:moveTo>
                    <a:pt x="426" y="318"/>
                  </a:moveTo>
                  <a:cubicBezTo>
                    <a:pt x="422" y="316"/>
                    <a:pt x="423" y="313"/>
                    <a:pt x="427" y="308"/>
                  </a:cubicBezTo>
                  <a:cubicBezTo>
                    <a:pt x="434" y="298"/>
                    <a:pt x="439" y="302"/>
                    <a:pt x="434" y="313"/>
                  </a:cubicBezTo>
                  <a:cubicBezTo>
                    <a:pt x="432" y="318"/>
                    <a:pt x="429" y="320"/>
                    <a:pt x="426" y="318"/>
                  </a:cubicBezTo>
                  <a:close/>
                  <a:moveTo>
                    <a:pt x="5" y="10"/>
                  </a:moveTo>
                  <a:cubicBezTo>
                    <a:pt x="0" y="6"/>
                    <a:pt x="0" y="6"/>
                    <a:pt x="6" y="3"/>
                  </a:cubicBezTo>
                  <a:cubicBezTo>
                    <a:pt x="14" y="0"/>
                    <a:pt x="20" y="4"/>
                    <a:pt x="14" y="9"/>
                  </a:cubicBezTo>
                  <a:cubicBezTo>
                    <a:pt x="12" y="12"/>
                    <a:pt x="8" y="12"/>
                    <a:pt x="5" y="10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/>
            <p:cNvSpPr>
              <a:spLocks noEditPoints="1"/>
            </p:cNvSpPr>
            <p:nvPr userDrawn="1">
              <p:custDataLst>
                <p:tags r:id="rId18"/>
              </p:custDataLst>
            </p:nvPr>
          </p:nvSpPr>
          <p:spPr bwMode="grayWhite">
            <a:xfrm>
              <a:off x="10228263" y="1909763"/>
              <a:ext cx="1160463" cy="1236663"/>
            </a:xfrm>
            <a:custGeom>
              <a:gdLst>
                <a:gd name="T0" fmla="*/ 294 w 424"/>
                <a:gd name="T1" fmla="*/ 432 h 446"/>
                <a:gd name="T2" fmla="*/ 266 w 424"/>
                <a:gd name="T3" fmla="*/ 393 h 446"/>
                <a:gd name="T4" fmla="*/ 316 w 424"/>
                <a:gd name="T5" fmla="*/ 381 h 446"/>
                <a:gd name="T6" fmla="*/ 327 w 424"/>
                <a:gd name="T7" fmla="*/ 398 h 446"/>
                <a:gd name="T8" fmla="*/ 333 w 424"/>
                <a:gd name="T9" fmla="*/ 438 h 446"/>
                <a:gd name="T10" fmla="*/ 346 w 424"/>
                <a:gd name="T11" fmla="*/ 366 h 446"/>
                <a:gd name="T12" fmla="*/ 355 w 424"/>
                <a:gd name="T13" fmla="*/ 335 h 446"/>
                <a:gd name="T14" fmla="*/ 319 w 424"/>
                <a:gd name="T15" fmla="*/ 291 h 446"/>
                <a:gd name="T16" fmla="*/ 285 w 424"/>
                <a:gd name="T17" fmla="*/ 270 h 446"/>
                <a:gd name="T18" fmla="*/ 250 w 424"/>
                <a:gd name="T19" fmla="*/ 251 h 446"/>
                <a:gd name="T20" fmla="*/ 233 w 424"/>
                <a:gd name="T21" fmla="*/ 246 h 446"/>
                <a:gd name="T22" fmla="*/ 168 w 424"/>
                <a:gd name="T23" fmla="*/ 212 h 446"/>
                <a:gd name="T24" fmla="*/ 104 w 424"/>
                <a:gd name="T25" fmla="*/ 142 h 446"/>
                <a:gd name="T26" fmla="*/ 71 w 424"/>
                <a:gd name="T27" fmla="*/ 128 h 446"/>
                <a:gd name="T28" fmla="*/ 33 w 424"/>
                <a:gd name="T29" fmla="*/ 156 h 446"/>
                <a:gd name="T30" fmla="*/ 7 w 424"/>
                <a:gd name="T31" fmla="*/ 128 h 446"/>
                <a:gd name="T32" fmla="*/ 5 w 424"/>
                <a:gd name="T33" fmla="*/ 100 h 446"/>
                <a:gd name="T34" fmla="*/ 15 w 424"/>
                <a:gd name="T35" fmla="*/ 66 h 446"/>
                <a:gd name="T36" fmla="*/ 47 w 424"/>
                <a:gd name="T37" fmla="*/ 43 h 446"/>
                <a:gd name="T38" fmla="*/ 76 w 424"/>
                <a:gd name="T39" fmla="*/ 60 h 446"/>
                <a:gd name="T40" fmla="*/ 87 w 424"/>
                <a:gd name="T41" fmla="*/ 42 h 446"/>
                <a:gd name="T42" fmla="*/ 110 w 424"/>
                <a:gd name="T43" fmla="*/ 41 h 446"/>
                <a:gd name="T44" fmla="*/ 118 w 424"/>
                <a:gd name="T45" fmla="*/ 16 h 446"/>
                <a:gd name="T46" fmla="*/ 140 w 424"/>
                <a:gd name="T47" fmla="*/ 8 h 446"/>
                <a:gd name="T48" fmla="*/ 195 w 424"/>
                <a:gd name="T49" fmla="*/ 12 h 446"/>
                <a:gd name="T50" fmla="*/ 208 w 424"/>
                <a:gd name="T51" fmla="*/ 43 h 446"/>
                <a:gd name="T52" fmla="*/ 177 w 424"/>
                <a:gd name="T53" fmla="*/ 87 h 446"/>
                <a:gd name="T54" fmla="*/ 221 w 424"/>
                <a:gd name="T55" fmla="*/ 144 h 446"/>
                <a:gd name="T56" fmla="*/ 294 w 424"/>
                <a:gd name="T57" fmla="*/ 211 h 446"/>
                <a:gd name="T58" fmla="*/ 323 w 424"/>
                <a:gd name="T59" fmla="*/ 217 h 446"/>
                <a:gd name="T60" fmla="*/ 363 w 424"/>
                <a:gd name="T61" fmla="*/ 235 h 446"/>
                <a:gd name="T62" fmla="*/ 424 w 424"/>
                <a:gd name="T63" fmla="*/ 272 h 446"/>
                <a:gd name="T64" fmla="*/ 387 w 424"/>
                <a:gd name="T65" fmla="*/ 262 h 446"/>
                <a:gd name="T66" fmla="*/ 360 w 424"/>
                <a:gd name="T67" fmla="*/ 286 h 446"/>
                <a:gd name="T68" fmla="*/ 384 w 424"/>
                <a:gd name="T69" fmla="*/ 317 h 446"/>
                <a:gd name="T70" fmla="*/ 370 w 424"/>
                <a:gd name="T71" fmla="*/ 337 h 446"/>
                <a:gd name="T72" fmla="*/ 369 w 424"/>
                <a:gd name="T73" fmla="*/ 360 h 446"/>
                <a:gd name="T74" fmla="*/ 350 w 424"/>
                <a:gd name="T75" fmla="*/ 380 h 446"/>
                <a:gd name="T76" fmla="*/ 86 w 424"/>
                <a:gd name="T77" fmla="*/ 370 h 446"/>
                <a:gd name="T78" fmla="*/ 73 w 424"/>
                <a:gd name="T79" fmla="*/ 312 h 446"/>
                <a:gd name="T80" fmla="*/ 87 w 424"/>
                <a:gd name="T81" fmla="*/ 287 h 446"/>
                <a:gd name="T82" fmla="*/ 112 w 424"/>
                <a:gd name="T83" fmla="*/ 362 h 446"/>
                <a:gd name="T84" fmla="*/ 86 w 424"/>
                <a:gd name="T85" fmla="*/ 370 h 446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3" h="446">
                  <a:moveTo>
                    <a:pt x="314" y="440"/>
                  </a:moveTo>
                  <a:cubicBezTo>
                    <a:pt x="310" y="437"/>
                    <a:pt x="301" y="434"/>
                    <a:pt x="294" y="432"/>
                  </a:cubicBezTo>
                  <a:cubicBezTo>
                    <a:pt x="250" y="421"/>
                    <a:pt x="225" y="406"/>
                    <a:pt x="233" y="397"/>
                  </a:cubicBezTo>
                  <a:cubicBezTo>
                    <a:pt x="236" y="394"/>
                    <a:pt x="251" y="392"/>
                    <a:pt x="266" y="393"/>
                  </a:cubicBezTo>
                  <a:cubicBezTo>
                    <a:pt x="292" y="393"/>
                    <a:pt x="297" y="392"/>
                    <a:pt x="303" y="387"/>
                  </a:cubicBezTo>
                  <a:cubicBezTo>
                    <a:pt x="307" y="383"/>
                    <a:pt x="313" y="381"/>
                    <a:pt x="316" y="381"/>
                  </a:cubicBezTo>
                  <a:cubicBezTo>
                    <a:pt x="319" y="381"/>
                    <a:pt x="324" y="378"/>
                    <a:pt x="327" y="376"/>
                  </a:cubicBezTo>
                  <a:cubicBezTo>
                    <a:pt x="333" y="369"/>
                    <a:pt x="333" y="384"/>
                    <a:pt x="327" y="398"/>
                  </a:cubicBezTo>
                  <a:cubicBezTo>
                    <a:pt x="323" y="407"/>
                    <a:pt x="323" y="410"/>
                    <a:pt x="331" y="417"/>
                  </a:cubicBezTo>
                  <a:cubicBezTo>
                    <a:pt x="341" y="426"/>
                    <a:pt x="342" y="430"/>
                    <a:pt x="333" y="438"/>
                  </a:cubicBezTo>
                  <a:cubicBezTo>
                    <a:pt x="326" y="446"/>
                    <a:pt x="324" y="446"/>
                    <a:pt x="314" y="440"/>
                  </a:cubicBezTo>
                  <a:close/>
                  <a:moveTo>
                    <a:pt x="346" y="366"/>
                  </a:moveTo>
                  <a:cubicBezTo>
                    <a:pt x="347" y="357"/>
                    <a:pt x="351" y="348"/>
                    <a:pt x="355" y="345"/>
                  </a:cubicBezTo>
                  <a:cubicBezTo>
                    <a:pt x="361" y="341"/>
                    <a:pt x="361" y="340"/>
                    <a:pt x="355" y="335"/>
                  </a:cubicBezTo>
                  <a:cubicBezTo>
                    <a:pt x="352" y="333"/>
                    <a:pt x="344" y="321"/>
                    <a:pt x="338" y="310"/>
                  </a:cubicBezTo>
                  <a:cubicBezTo>
                    <a:pt x="329" y="295"/>
                    <a:pt x="324" y="290"/>
                    <a:pt x="319" y="291"/>
                  </a:cubicBezTo>
                  <a:cubicBezTo>
                    <a:pt x="314" y="293"/>
                    <a:pt x="308" y="289"/>
                    <a:pt x="300" y="280"/>
                  </a:cubicBezTo>
                  <a:cubicBezTo>
                    <a:pt x="294" y="273"/>
                    <a:pt x="287" y="269"/>
                    <a:pt x="285" y="270"/>
                  </a:cubicBezTo>
                  <a:cubicBezTo>
                    <a:pt x="283" y="271"/>
                    <a:pt x="275" y="267"/>
                    <a:pt x="267" y="260"/>
                  </a:cubicBezTo>
                  <a:cubicBezTo>
                    <a:pt x="259" y="254"/>
                    <a:pt x="251" y="250"/>
                    <a:pt x="250" y="251"/>
                  </a:cubicBezTo>
                  <a:cubicBezTo>
                    <a:pt x="249" y="253"/>
                    <a:pt x="245" y="251"/>
                    <a:pt x="242" y="249"/>
                  </a:cubicBezTo>
                  <a:cubicBezTo>
                    <a:pt x="238" y="246"/>
                    <a:pt x="234" y="244"/>
                    <a:pt x="233" y="246"/>
                  </a:cubicBezTo>
                  <a:cubicBezTo>
                    <a:pt x="232" y="247"/>
                    <a:pt x="220" y="241"/>
                    <a:pt x="206" y="233"/>
                  </a:cubicBezTo>
                  <a:cubicBezTo>
                    <a:pt x="193" y="226"/>
                    <a:pt x="175" y="216"/>
                    <a:pt x="168" y="212"/>
                  </a:cubicBezTo>
                  <a:cubicBezTo>
                    <a:pt x="150" y="203"/>
                    <a:pt x="128" y="179"/>
                    <a:pt x="121" y="162"/>
                  </a:cubicBezTo>
                  <a:cubicBezTo>
                    <a:pt x="116" y="151"/>
                    <a:pt x="104" y="136"/>
                    <a:pt x="104" y="142"/>
                  </a:cubicBezTo>
                  <a:cubicBezTo>
                    <a:pt x="104" y="144"/>
                    <a:pt x="96" y="141"/>
                    <a:pt x="87" y="136"/>
                  </a:cubicBezTo>
                  <a:cubicBezTo>
                    <a:pt x="71" y="128"/>
                    <a:pt x="71" y="128"/>
                    <a:pt x="71" y="128"/>
                  </a:cubicBezTo>
                  <a:cubicBezTo>
                    <a:pt x="54" y="146"/>
                    <a:pt x="54" y="146"/>
                    <a:pt x="54" y="146"/>
                  </a:cubicBezTo>
                  <a:cubicBezTo>
                    <a:pt x="35" y="166"/>
                    <a:pt x="29" y="169"/>
                    <a:pt x="33" y="156"/>
                  </a:cubicBezTo>
                  <a:cubicBezTo>
                    <a:pt x="34" y="150"/>
                    <a:pt x="32" y="147"/>
                    <a:pt x="21" y="143"/>
                  </a:cubicBezTo>
                  <a:cubicBezTo>
                    <a:pt x="11" y="138"/>
                    <a:pt x="7" y="134"/>
                    <a:pt x="7" y="128"/>
                  </a:cubicBezTo>
                  <a:cubicBezTo>
                    <a:pt x="7" y="123"/>
                    <a:pt x="6" y="116"/>
                    <a:pt x="4" y="113"/>
                  </a:cubicBezTo>
                  <a:cubicBezTo>
                    <a:pt x="2" y="109"/>
                    <a:pt x="2" y="104"/>
                    <a:pt x="5" y="100"/>
                  </a:cubicBezTo>
                  <a:cubicBezTo>
                    <a:pt x="8" y="95"/>
                    <a:pt x="8" y="90"/>
                    <a:pt x="4" y="83"/>
                  </a:cubicBezTo>
                  <a:cubicBezTo>
                    <a:pt x="0" y="73"/>
                    <a:pt x="0" y="72"/>
                    <a:pt x="15" y="66"/>
                  </a:cubicBezTo>
                  <a:cubicBezTo>
                    <a:pt x="23" y="63"/>
                    <a:pt x="33" y="56"/>
                    <a:pt x="38" y="52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43"/>
                    <a:pt x="77" y="42"/>
                    <a:pt x="87" y="42"/>
                  </a:cubicBezTo>
                  <a:cubicBezTo>
                    <a:pt x="94" y="42"/>
                    <a:pt x="100" y="44"/>
                    <a:pt x="102" y="46"/>
                  </a:cubicBezTo>
                  <a:cubicBezTo>
                    <a:pt x="108" y="51"/>
                    <a:pt x="112" y="48"/>
                    <a:pt x="110" y="41"/>
                  </a:cubicBezTo>
                  <a:cubicBezTo>
                    <a:pt x="109" y="36"/>
                    <a:pt x="111" y="31"/>
                    <a:pt x="114" y="28"/>
                  </a:cubicBezTo>
                  <a:cubicBezTo>
                    <a:pt x="117" y="25"/>
                    <a:pt x="119" y="20"/>
                    <a:pt x="118" y="16"/>
                  </a:cubicBezTo>
                  <a:cubicBezTo>
                    <a:pt x="117" y="10"/>
                    <a:pt x="118" y="9"/>
                    <a:pt x="124" y="11"/>
                  </a:cubicBezTo>
                  <a:cubicBezTo>
                    <a:pt x="128" y="12"/>
                    <a:pt x="135" y="11"/>
                    <a:pt x="140" y="8"/>
                  </a:cubicBezTo>
                  <a:cubicBezTo>
                    <a:pt x="154" y="1"/>
                    <a:pt x="175" y="0"/>
                    <a:pt x="177" y="7"/>
                  </a:cubicBezTo>
                  <a:cubicBezTo>
                    <a:pt x="179" y="12"/>
                    <a:pt x="184" y="13"/>
                    <a:pt x="195" y="12"/>
                  </a:cubicBezTo>
                  <a:cubicBezTo>
                    <a:pt x="209" y="10"/>
                    <a:pt x="210" y="10"/>
                    <a:pt x="209" y="24"/>
                  </a:cubicBezTo>
                  <a:cubicBezTo>
                    <a:pt x="209" y="32"/>
                    <a:pt x="209" y="41"/>
                    <a:pt x="208" y="43"/>
                  </a:cubicBezTo>
                  <a:cubicBezTo>
                    <a:pt x="208" y="48"/>
                    <a:pt x="185" y="62"/>
                    <a:pt x="178" y="62"/>
                  </a:cubicBezTo>
                  <a:cubicBezTo>
                    <a:pt x="170" y="63"/>
                    <a:pt x="170" y="84"/>
                    <a:pt x="177" y="87"/>
                  </a:cubicBezTo>
                  <a:cubicBezTo>
                    <a:pt x="182" y="89"/>
                    <a:pt x="183" y="91"/>
                    <a:pt x="179" y="95"/>
                  </a:cubicBezTo>
                  <a:cubicBezTo>
                    <a:pt x="170" y="106"/>
                    <a:pt x="194" y="134"/>
                    <a:pt x="221" y="144"/>
                  </a:cubicBezTo>
                  <a:cubicBezTo>
                    <a:pt x="226" y="146"/>
                    <a:pt x="235" y="156"/>
                    <a:pt x="240" y="165"/>
                  </a:cubicBezTo>
                  <a:cubicBezTo>
                    <a:pt x="250" y="183"/>
                    <a:pt x="278" y="207"/>
                    <a:pt x="294" y="211"/>
                  </a:cubicBezTo>
                  <a:cubicBezTo>
                    <a:pt x="299" y="212"/>
                    <a:pt x="309" y="211"/>
                    <a:pt x="315" y="207"/>
                  </a:cubicBezTo>
                  <a:cubicBezTo>
                    <a:pt x="328" y="201"/>
                    <a:pt x="330" y="204"/>
                    <a:pt x="323" y="217"/>
                  </a:cubicBezTo>
                  <a:cubicBezTo>
                    <a:pt x="320" y="223"/>
                    <a:pt x="321" y="225"/>
                    <a:pt x="327" y="225"/>
                  </a:cubicBezTo>
                  <a:cubicBezTo>
                    <a:pt x="331" y="225"/>
                    <a:pt x="348" y="229"/>
                    <a:pt x="363" y="235"/>
                  </a:cubicBezTo>
                  <a:cubicBezTo>
                    <a:pt x="378" y="240"/>
                    <a:pt x="393" y="245"/>
                    <a:pt x="397" y="245"/>
                  </a:cubicBezTo>
                  <a:cubicBezTo>
                    <a:pt x="406" y="245"/>
                    <a:pt x="424" y="262"/>
                    <a:pt x="424" y="272"/>
                  </a:cubicBezTo>
                  <a:cubicBezTo>
                    <a:pt x="424" y="282"/>
                    <a:pt x="418" y="283"/>
                    <a:pt x="409" y="274"/>
                  </a:cubicBezTo>
                  <a:cubicBezTo>
                    <a:pt x="405" y="270"/>
                    <a:pt x="395" y="264"/>
                    <a:pt x="387" y="262"/>
                  </a:cubicBezTo>
                  <a:cubicBezTo>
                    <a:pt x="374" y="258"/>
                    <a:pt x="371" y="258"/>
                    <a:pt x="366" y="264"/>
                  </a:cubicBezTo>
                  <a:cubicBezTo>
                    <a:pt x="362" y="268"/>
                    <a:pt x="360" y="278"/>
                    <a:pt x="360" y="286"/>
                  </a:cubicBezTo>
                  <a:cubicBezTo>
                    <a:pt x="360" y="298"/>
                    <a:pt x="361" y="301"/>
                    <a:pt x="369" y="304"/>
                  </a:cubicBezTo>
                  <a:cubicBezTo>
                    <a:pt x="375" y="306"/>
                    <a:pt x="381" y="312"/>
                    <a:pt x="384" y="317"/>
                  </a:cubicBezTo>
                  <a:cubicBezTo>
                    <a:pt x="388" y="324"/>
                    <a:pt x="387" y="327"/>
                    <a:pt x="381" y="331"/>
                  </a:cubicBezTo>
                  <a:cubicBezTo>
                    <a:pt x="377" y="334"/>
                    <a:pt x="372" y="337"/>
                    <a:pt x="370" y="337"/>
                  </a:cubicBezTo>
                  <a:cubicBezTo>
                    <a:pt x="368" y="337"/>
                    <a:pt x="368" y="341"/>
                    <a:pt x="369" y="347"/>
                  </a:cubicBezTo>
                  <a:cubicBezTo>
                    <a:pt x="371" y="353"/>
                    <a:pt x="371" y="359"/>
                    <a:pt x="369" y="360"/>
                  </a:cubicBezTo>
                  <a:cubicBezTo>
                    <a:pt x="367" y="361"/>
                    <a:pt x="364" y="366"/>
                    <a:pt x="361" y="371"/>
                  </a:cubicBezTo>
                  <a:cubicBezTo>
                    <a:pt x="359" y="375"/>
                    <a:pt x="354" y="379"/>
                    <a:pt x="350" y="380"/>
                  </a:cubicBezTo>
                  <a:cubicBezTo>
                    <a:pt x="345" y="381"/>
                    <a:pt x="344" y="378"/>
                    <a:pt x="346" y="366"/>
                  </a:cubicBezTo>
                  <a:close/>
                  <a:moveTo>
                    <a:pt x="86" y="370"/>
                  </a:moveTo>
                  <a:cubicBezTo>
                    <a:pt x="85" y="366"/>
                    <a:pt x="83" y="354"/>
                    <a:pt x="81" y="343"/>
                  </a:cubicBezTo>
                  <a:cubicBezTo>
                    <a:pt x="80" y="332"/>
                    <a:pt x="76" y="318"/>
                    <a:pt x="73" y="312"/>
                  </a:cubicBezTo>
                  <a:cubicBezTo>
                    <a:pt x="66" y="298"/>
                    <a:pt x="66" y="297"/>
                    <a:pt x="73" y="297"/>
                  </a:cubicBezTo>
                  <a:cubicBezTo>
                    <a:pt x="76" y="297"/>
                    <a:pt x="82" y="292"/>
                    <a:pt x="87" y="287"/>
                  </a:cubicBezTo>
                  <a:cubicBezTo>
                    <a:pt x="105" y="263"/>
                    <a:pt x="120" y="283"/>
                    <a:pt x="120" y="332"/>
                  </a:cubicBezTo>
                  <a:cubicBezTo>
                    <a:pt x="120" y="361"/>
                    <a:pt x="119" y="364"/>
                    <a:pt x="112" y="362"/>
                  </a:cubicBezTo>
                  <a:cubicBezTo>
                    <a:pt x="107" y="360"/>
                    <a:pt x="103" y="363"/>
                    <a:pt x="100" y="368"/>
                  </a:cubicBezTo>
                  <a:cubicBezTo>
                    <a:pt x="94" y="378"/>
                    <a:pt x="89" y="379"/>
                    <a:pt x="86" y="370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5"/>
            <p:cNvSpPr/>
            <p:nvPr userDrawn="1">
              <p:custDataLst>
                <p:tags r:id="rId19"/>
              </p:custDataLst>
            </p:nvPr>
          </p:nvSpPr>
          <p:spPr bwMode="grayWhite">
            <a:xfrm>
              <a:off x="9828213" y="1416050"/>
              <a:ext cx="290513" cy="236538"/>
            </a:xfrm>
            <a:custGeom>
              <a:gdLst>
                <a:gd name="T0" fmla="*/ 77 w 106"/>
                <a:gd name="T1" fmla="*/ 78 h 85"/>
                <a:gd name="T2" fmla="*/ 68 w 106"/>
                <a:gd name="T3" fmla="*/ 71 h 85"/>
                <a:gd name="T4" fmla="*/ 60 w 106"/>
                <a:gd name="T5" fmla="*/ 68 h 85"/>
                <a:gd name="T6" fmla="*/ 2 w 106"/>
                <a:gd name="T7" fmla="*/ 28 h 85"/>
                <a:gd name="T8" fmla="*/ 20 w 106"/>
                <a:gd name="T9" fmla="*/ 12 h 85"/>
                <a:gd name="T10" fmla="*/ 49 w 106"/>
                <a:gd name="T11" fmla="*/ 10 h 85"/>
                <a:gd name="T12" fmla="*/ 88 w 106"/>
                <a:gd name="T13" fmla="*/ 18 h 85"/>
                <a:gd name="T14" fmla="*/ 99 w 106"/>
                <a:gd name="T15" fmla="*/ 33 h 85"/>
                <a:gd name="T16" fmla="*/ 98 w 106"/>
                <a:gd name="T17" fmla="*/ 57 h 85"/>
                <a:gd name="T18" fmla="*/ 92 w 106"/>
                <a:gd name="T19" fmla="*/ 76 h 85"/>
                <a:gd name="T20" fmla="*/ 77 w 106"/>
                <a:gd name="T21" fmla="*/ 78 h 85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" h="85">
                  <a:moveTo>
                    <a:pt x="77" y="78"/>
                  </a:moveTo>
                  <a:cubicBezTo>
                    <a:pt x="72" y="76"/>
                    <a:pt x="68" y="72"/>
                    <a:pt x="68" y="71"/>
                  </a:cubicBezTo>
                  <a:cubicBezTo>
                    <a:pt x="68" y="69"/>
                    <a:pt x="65" y="68"/>
                    <a:pt x="60" y="68"/>
                  </a:cubicBezTo>
                  <a:cubicBezTo>
                    <a:pt x="51" y="68"/>
                    <a:pt x="6" y="37"/>
                    <a:pt x="2" y="28"/>
                  </a:cubicBezTo>
                  <a:cubicBezTo>
                    <a:pt x="0" y="22"/>
                    <a:pt x="17" y="6"/>
                    <a:pt x="20" y="12"/>
                  </a:cubicBezTo>
                  <a:cubicBezTo>
                    <a:pt x="24" y="18"/>
                    <a:pt x="38" y="17"/>
                    <a:pt x="49" y="10"/>
                  </a:cubicBezTo>
                  <a:cubicBezTo>
                    <a:pt x="64" y="0"/>
                    <a:pt x="81" y="3"/>
                    <a:pt x="88" y="18"/>
                  </a:cubicBezTo>
                  <a:cubicBezTo>
                    <a:pt x="91" y="24"/>
                    <a:pt x="96" y="31"/>
                    <a:pt x="99" y="33"/>
                  </a:cubicBezTo>
                  <a:cubicBezTo>
                    <a:pt x="106" y="37"/>
                    <a:pt x="106" y="43"/>
                    <a:pt x="98" y="57"/>
                  </a:cubicBezTo>
                  <a:cubicBezTo>
                    <a:pt x="95" y="63"/>
                    <a:pt x="92" y="72"/>
                    <a:pt x="92" y="76"/>
                  </a:cubicBezTo>
                  <a:cubicBezTo>
                    <a:pt x="92" y="84"/>
                    <a:pt x="91" y="85"/>
                    <a:pt x="77" y="78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/>
            <p:cNvSpPr/>
            <p:nvPr userDrawn="1">
              <p:custDataLst>
                <p:tags r:id="rId20"/>
              </p:custDataLst>
            </p:nvPr>
          </p:nvSpPr>
          <p:spPr bwMode="grayWhite">
            <a:xfrm>
              <a:off x="9899650" y="1169988"/>
              <a:ext cx="271463" cy="309563"/>
            </a:xfrm>
            <a:custGeom>
              <a:gdLst>
                <a:gd name="T0" fmla="*/ 68 w 99"/>
                <a:gd name="T1" fmla="*/ 109 h 112"/>
                <a:gd name="T2" fmla="*/ 23 w 99"/>
                <a:gd name="T3" fmla="*/ 97 h 112"/>
                <a:gd name="T4" fmla="*/ 5 w 99"/>
                <a:gd name="T5" fmla="*/ 101 h 112"/>
                <a:gd name="T6" fmla="*/ 3 w 99"/>
                <a:gd name="T7" fmla="*/ 98 h 112"/>
                <a:gd name="T8" fmla="*/ 17 w 99"/>
                <a:gd name="T9" fmla="*/ 91 h 112"/>
                <a:gd name="T10" fmla="*/ 23 w 99"/>
                <a:gd name="T11" fmla="*/ 78 h 112"/>
                <a:gd name="T12" fmla="*/ 65 w 99"/>
                <a:gd name="T13" fmla="*/ 8 h 112"/>
                <a:gd name="T14" fmla="*/ 79 w 99"/>
                <a:gd name="T15" fmla="*/ 4 h 112"/>
                <a:gd name="T16" fmla="*/ 95 w 99"/>
                <a:gd name="T17" fmla="*/ 14 h 112"/>
                <a:gd name="T18" fmla="*/ 90 w 99"/>
                <a:gd name="T19" fmla="*/ 32 h 112"/>
                <a:gd name="T20" fmla="*/ 90 w 99"/>
                <a:gd name="T21" fmla="*/ 44 h 112"/>
                <a:gd name="T22" fmla="*/ 83 w 99"/>
                <a:gd name="T23" fmla="*/ 65 h 112"/>
                <a:gd name="T24" fmla="*/ 73 w 99"/>
                <a:gd name="T25" fmla="*/ 81 h 112"/>
                <a:gd name="T26" fmla="*/ 71 w 99"/>
                <a:gd name="T27" fmla="*/ 102 h 112"/>
                <a:gd name="T28" fmla="*/ 68 w 99"/>
                <a:gd name="T29" fmla="*/ 109 h 112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112">
                  <a:moveTo>
                    <a:pt x="68" y="109"/>
                  </a:moveTo>
                  <a:cubicBezTo>
                    <a:pt x="67" y="91"/>
                    <a:pt x="40" y="84"/>
                    <a:pt x="23" y="97"/>
                  </a:cubicBezTo>
                  <a:cubicBezTo>
                    <a:pt x="16" y="102"/>
                    <a:pt x="11" y="103"/>
                    <a:pt x="5" y="101"/>
                  </a:cubicBezTo>
                  <a:cubicBezTo>
                    <a:pt x="1" y="99"/>
                    <a:pt x="0" y="98"/>
                    <a:pt x="3" y="98"/>
                  </a:cubicBezTo>
                  <a:cubicBezTo>
                    <a:pt x="5" y="97"/>
                    <a:pt x="12" y="95"/>
                    <a:pt x="17" y="91"/>
                  </a:cubicBezTo>
                  <a:cubicBezTo>
                    <a:pt x="25" y="86"/>
                    <a:pt x="26" y="83"/>
                    <a:pt x="23" y="78"/>
                  </a:cubicBezTo>
                  <a:cubicBezTo>
                    <a:pt x="14" y="63"/>
                    <a:pt x="45" y="11"/>
                    <a:pt x="65" y="8"/>
                  </a:cubicBezTo>
                  <a:cubicBezTo>
                    <a:pt x="71" y="7"/>
                    <a:pt x="77" y="5"/>
                    <a:pt x="79" y="4"/>
                  </a:cubicBezTo>
                  <a:cubicBezTo>
                    <a:pt x="85" y="0"/>
                    <a:pt x="95" y="6"/>
                    <a:pt x="95" y="14"/>
                  </a:cubicBezTo>
                  <a:cubicBezTo>
                    <a:pt x="95" y="18"/>
                    <a:pt x="93" y="26"/>
                    <a:pt x="90" y="32"/>
                  </a:cubicBezTo>
                  <a:cubicBezTo>
                    <a:pt x="87" y="41"/>
                    <a:pt x="87" y="43"/>
                    <a:pt x="90" y="44"/>
                  </a:cubicBezTo>
                  <a:cubicBezTo>
                    <a:pt x="99" y="47"/>
                    <a:pt x="96" y="55"/>
                    <a:pt x="83" y="65"/>
                  </a:cubicBezTo>
                  <a:cubicBezTo>
                    <a:pt x="75" y="71"/>
                    <a:pt x="71" y="77"/>
                    <a:pt x="73" y="81"/>
                  </a:cubicBezTo>
                  <a:cubicBezTo>
                    <a:pt x="74" y="86"/>
                    <a:pt x="73" y="95"/>
                    <a:pt x="71" y="102"/>
                  </a:cubicBezTo>
                  <a:cubicBezTo>
                    <a:pt x="70" y="109"/>
                    <a:pt x="68" y="112"/>
                    <a:pt x="68" y="109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/>
            <p:cNvSpPr/>
            <p:nvPr userDrawn="1">
              <p:custDataLst>
                <p:tags r:id="rId21"/>
              </p:custDataLst>
            </p:nvPr>
          </p:nvSpPr>
          <p:spPr bwMode="grayWhite">
            <a:xfrm>
              <a:off x="10091738" y="1593850"/>
              <a:ext cx="42863" cy="55563"/>
            </a:xfrm>
            <a:custGeom>
              <a:gdLst>
                <a:gd name="T0" fmla="*/ 0 w 16"/>
                <a:gd name="T1" fmla="*/ 10 h 20"/>
                <a:gd name="T2" fmla="*/ 8 w 16"/>
                <a:gd name="T3" fmla="*/ 5 h 20"/>
                <a:gd name="T4" fmla="*/ 6 w 16"/>
                <a:gd name="T5" fmla="*/ 20 h 20"/>
                <a:gd name="T6" fmla="*/ 0 w 16"/>
                <a:gd name="T7" fmla="*/ 10 h 20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20">
                  <a:moveTo>
                    <a:pt x="0" y="10"/>
                  </a:moveTo>
                  <a:cubicBezTo>
                    <a:pt x="0" y="1"/>
                    <a:pt x="1" y="0"/>
                    <a:pt x="8" y="5"/>
                  </a:cubicBezTo>
                  <a:cubicBezTo>
                    <a:pt x="16" y="10"/>
                    <a:pt x="15" y="20"/>
                    <a:pt x="6" y="20"/>
                  </a:cubicBezTo>
                  <a:cubicBezTo>
                    <a:pt x="2" y="20"/>
                    <a:pt x="0" y="16"/>
                    <a:pt x="0" y="10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/>
            <p:cNvSpPr/>
            <p:nvPr userDrawn="1">
              <p:custDataLst>
                <p:tags r:id="rId22"/>
              </p:custDataLst>
            </p:nvPr>
          </p:nvSpPr>
          <p:spPr bwMode="grayWhite">
            <a:xfrm>
              <a:off x="10129838" y="1873250"/>
              <a:ext cx="423863" cy="222250"/>
            </a:xfrm>
            <a:custGeom>
              <a:gdLst>
                <a:gd name="T0" fmla="*/ 42 w 155"/>
                <a:gd name="T1" fmla="*/ 72 h 80"/>
                <a:gd name="T2" fmla="*/ 16 w 155"/>
                <a:gd name="T3" fmla="*/ 65 h 80"/>
                <a:gd name="T4" fmla="*/ 10 w 155"/>
                <a:gd name="T5" fmla="*/ 57 h 80"/>
                <a:gd name="T6" fmla="*/ 18 w 155"/>
                <a:gd name="T7" fmla="*/ 41 h 80"/>
                <a:gd name="T8" fmla="*/ 55 w 155"/>
                <a:gd name="T9" fmla="*/ 8 h 80"/>
                <a:gd name="T10" fmla="*/ 82 w 155"/>
                <a:gd name="T11" fmla="*/ 5 h 80"/>
                <a:gd name="T12" fmla="*/ 110 w 155"/>
                <a:gd name="T13" fmla="*/ 7 h 80"/>
                <a:gd name="T14" fmla="*/ 118 w 155"/>
                <a:gd name="T15" fmla="*/ 17 h 80"/>
                <a:gd name="T16" fmla="*/ 134 w 155"/>
                <a:gd name="T17" fmla="*/ 24 h 80"/>
                <a:gd name="T18" fmla="*/ 145 w 155"/>
                <a:gd name="T19" fmla="*/ 42 h 80"/>
                <a:gd name="T20" fmla="*/ 141 w 155"/>
                <a:gd name="T21" fmla="*/ 54 h 80"/>
                <a:gd name="T22" fmla="*/ 138 w 155"/>
                <a:gd name="T23" fmla="*/ 55 h 80"/>
                <a:gd name="T24" fmla="*/ 125 w 155"/>
                <a:gd name="T25" fmla="*/ 53 h 80"/>
                <a:gd name="T26" fmla="*/ 118 w 155"/>
                <a:gd name="T27" fmla="*/ 50 h 80"/>
                <a:gd name="T28" fmla="*/ 112 w 155"/>
                <a:gd name="T29" fmla="*/ 50 h 80"/>
                <a:gd name="T30" fmla="*/ 106 w 155"/>
                <a:gd name="T31" fmla="*/ 61 h 80"/>
                <a:gd name="T32" fmla="*/ 96 w 155"/>
                <a:gd name="T33" fmla="*/ 61 h 80"/>
                <a:gd name="T34" fmla="*/ 86 w 155"/>
                <a:gd name="T35" fmla="*/ 53 h 80"/>
                <a:gd name="T36" fmla="*/ 75 w 155"/>
                <a:gd name="T37" fmla="*/ 59 h 80"/>
                <a:gd name="T38" fmla="*/ 42 w 155"/>
                <a:gd name="T39" fmla="*/ 72 h 80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5" h="80">
                  <a:moveTo>
                    <a:pt x="42" y="72"/>
                  </a:moveTo>
                  <a:cubicBezTo>
                    <a:pt x="42" y="62"/>
                    <a:pt x="28" y="57"/>
                    <a:pt x="16" y="65"/>
                  </a:cubicBezTo>
                  <a:cubicBezTo>
                    <a:pt x="3" y="73"/>
                    <a:pt x="0" y="70"/>
                    <a:pt x="10" y="57"/>
                  </a:cubicBezTo>
                  <a:cubicBezTo>
                    <a:pt x="15" y="52"/>
                    <a:pt x="18" y="44"/>
                    <a:pt x="18" y="41"/>
                  </a:cubicBezTo>
                  <a:cubicBezTo>
                    <a:pt x="18" y="30"/>
                    <a:pt x="46" y="5"/>
                    <a:pt x="55" y="8"/>
                  </a:cubicBezTo>
                  <a:cubicBezTo>
                    <a:pt x="59" y="9"/>
                    <a:pt x="72" y="7"/>
                    <a:pt x="82" y="5"/>
                  </a:cubicBezTo>
                  <a:cubicBezTo>
                    <a:pt x="99" y="0"/>
                    <a:pt x="102" y="0"/>
                    <a:pt x="110" y="7"/>
                  </a:cubicBezTo>
                  <a:cubicBezTo>
                    <a:pt x="115" y="10"/>
                    <a:pt x="118" y="15"/>
                    <a:pt x="118" y="17"/>
                  </a:cubicBezTo>
                  <a:cubicBezTo>
                    <a:pt x="118" y="19"/>
                    <a:pt x="126" y="22"/>
                    <a:pt x="134" y="24"/>
                  </a:cubicBezTo>
                  <a:cubicBezTo>
                    <a:pt x="151" y="26"/>
                    <a:pt x="155" y="33"/>
                    <a:pt x="145" y="42"/>
                  </a:cubicBezTo>
                  <a:cubicBezTo>
                    <a:pt x="141" y="45"/>
                    <a:pt x="140" y="50"/>
                    <a:pt x="141" y="54"/>
                  </a:cubicBezTo>
                  <a:cubicBezTo>
                    <a:pt x="144" y="59"/>
                    <a:pt x="143" y="59"/>
                    <a:pt x="138" y="55"/>
                  </a:cubicBezTo>
                  <a:cubicBezTo>
                    <a:pt x="134" y="52"/>
                    <a:pt x="129" y="51"/>
                    <a:pt x="125" y="53"/>
                  </a:cubicBezTo>
                  <a:cubicBezTo>
                    <a:pt x="121" y="54"/>
                    <a:pt x="118" y="53"/>
                    <a:pt x="118" y="50"/>
                  </a:cubicBezTo>
                  <a:cubicBezTo>
                    <a:pt x="118" y="46"/>
                    <a:pt x="117" y="46"/>
                    <a:pt x="112" y="50"/>
                  </a:cubicBezTo>
                  <a:cubicBezTo>
                    <a:pt x="109" y="53"/>
                    <a:pt x="106" y="58"/>
                    <a:pt x="106" y="61"/>
                  </a:cubicBezTo>
                  <a:cubicBezTo>
                    <a:pt x="106" y="65"/>
                    <a:pt x="104" y="65"/>
                    <a:pt x="96" y="61"/>
                  </a:cubicBezTo>
                  <a:cubicBezTo>
                    <a:pt x="91" y="59"/>
                    <a:pt x="86" y="55"/>
                    <a:pt x="86" y="53"/>
                  </a:cubicBezTo>
                  <a:cubicBezTo>
                    <a:pt x="86" y="51"/>
                    <a:pt x="81" y="53"/>
                    <a:pt x="75" y="59"/>
                  </a:cubicBezTo>
                  <a:cubicBezTo>
                    <a:pt x="61" y="73"/>
                    <a:pt x="42" y="80"/>
                    <a:pt x="42" y="72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9"/>
            <p:cNvSpPr/>
            <p:nvPr userDrawn="1">
              <p:custDataLst>
                <p:tags r:id="rId23"/>
              </p:custDataLst>
            </p:nvPr>
          </p:nvSpPr>
          <p:spPr bwMode="grayWhite">
            <a:xfrm>
              <a:off x="10477500" y="1630363"/>
              <a:ext cx="585788" cy="304800"/>
            </a:xfrm>
            <a:custGeom>
              <a:gdLst>
                <a:gd name="T0" fmla="*/ 6 w 214"/>
                <a:gd name="T1" fmla="*/ 102 h 110"/>
                <a:gd name="T2" fmla="*/ 19 w 214"/>
                <a:gd name="T3" fmla="*/ 91 h 110"/>
                <a:gd name="T4" fmla="*/ 59 w 214"/>
                <a:gd name="T5" fmla="*/ 79 h 110"/>
                <a:gd name="T6" fmla="*/ 87 w 214"/>
                <a:gd name="T7" fmla="*/ 72 h 110"/>
                <a:gd name="T8" fmla="*/ 88 w 214"/>
                <a:gd name="T9" fmla="*/ 52 h 110"/>
                <a:gd name="T10" fmla="*/ 99 w 214"/>
                <a:gd name="T11" fmla="*/ 27 h 110"/>
                <a:gd name="T12" fmla="*/ 118 w 214"/>
                <a:gd name="T13" fmla="*/ 18 h 110"/>
                <a:gd name="T14" fmla="*/ 133 w 214"/>
                <a:gd name="T15" fmla="*/ 22 h 110"/>
                <a:gd name="T16" fmla="*/ 147 w 214"/>
                <a:gd name="T17" fmla="*/ 12 h 110"/>
                <a:gd name="T18" fmla="*/ 187 w 214"/>
                <a:gd name="T19" fmla="*/ 0 h 110"/>
                <a:gd name="T20" fmla="*/ 204 w 214"/>
                <a:gd name="T21" fmla="*/ 10 h 110"/>
                <a:gd name="T22" fmla="*/ 209 w 214"/>
                <a:gd name="T23" fmla="*/ 24 h 110"/>
                <a:gd name="T24" fmla="*/ 203 w 214"/>
                <a:gd name="T25" fmla="*/ 41 h 110"/>
                <a:gd name="T26" fmla="*/ 195 w 214"/>
                <a:gd name="T27" fmla="*/ 50 h 110"/>
                <a:gd name="T28" fmla="*/ 178 w 214"/>
                <a:gd name="T29" fmla="*/ 88 h 110"/>
                <a:gd name="T30" fmla="*/ 156 w 214"/>
                <a:gd name="T31" fmla="*/ 100 h 110"/>
                <a:gd name="T32" fmla="*/ 120 w 214"/>
                <a:gd name="T33" fmla="*/ 107 h 110"/>
                <a:gd name="T34" fmla="*/ 87 w 214"/>
                <a:gd name="T35" fmla="*/ 104 h 110"/>
                <a:gd name="T36" fmla="*/ 52 w 214"/>
                <a:gd name="T37" fmla="*/ 104 h 110"/>
                <a:gd name="T38" fmla="*/ 6 w 214"/>
                <a:gd name="T39" fmla="*/ 102 h 110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4" h="110">
                  <a:moveTo>
                    <a:pt x="6" y="102"/>
                  </a:moveTo>
                  <a:cubicBezTo>
                    <a:pt x="0" y="96"/>
                    <a:pt x="0" y="95"/>
                    <a:pt x="19" y="91"/>
                  </a:cubicBezTo>
                  <a:cubicBezTo>
                    <a:pt x="30" y="88"/>
                    <a:pt x="48" y="83"/>
                    <a:pt x="59" y="79"/>
                  </a:cubicBezTo>
                  <a:cubicBezTo>
                    <a:pt x="70" y="76"/>
                    <a:pt x="82" y="72"/>
                    <a:pt x="87" y="72"/>
                  </a:cubicBezTo>
                  <a:cubicBezTo>
                    <a:pt x="96" y="71"/>
                    <a:pt x="96" y="68"/>
                    <a:pt x="88" y="52"/>
                  </a:cubicBezTo>
                  <a:cubicBezTo>
                    <a:pt x="83" y="41"/>
                    <a:pt x="83" y="40"/>
                    <a:pt x="99" y="27"/>
                  </a:cubicBezTo>
                  <a:cubicBezTo>
                    <a:pt x="109" y="19"/>
                    <a:pt x="116" y="15"/>
                    <a:pt x="118" y="18"/>
                  </a:cubicBezTo>
                  <a:cubicBezTo>
                    <a:pt x="120" y="20"/>
                    <a:pt x="127" y="22"/>
                    <a:pt x="133" y="22"/>
                  </a:cubicBezTo>
                  <a:cubicBezTo>
                    <a:pt x="142" y="22"/>
                    <a:pt x="145" y="19"/>
                    <a:pt x="147" y="12"/>
                  </a:cubicBezTo>
                  <a:cubicBezTo>
                    <a:pt x="149" y="1"/>
                    <a:pt x="151" y="1"/>
                    <a:pt x="187" y="0"/>
                  </a:cubicBezTo>
                  <a:cubicBezTo>
                    <a:pt x="201" y="0"/>
                    <a:pt x="203" y="1"/>
                    <a:pt x="204" y="10"/>
                  </a:cubicBezTo>
                  <a:cubicBezTo>
                    <a:pt x="205" y="15"/>
                    <a:pt x="207" y="22"/>
                    <a:pt x="209" y="24"/>
                  </a:cubicBezTo>
                  <a:cubicBezTo>
                    <a:pt x="214" y="30"/>
                    <a:pt x="209" y="42"/>
                    <a:pt x="203" y="41"/>
                  </a:cubicBezTo>
                  <a:cubicBezTo>
                    <a:pt x="189" y="39"/>
                    <a:pt x="187" y="42"/>
                    <a:pt x="195" y="50"/>
                  </a:cubicBezTo>
                  <a:cubicBezTo>
                    <a:pt x="206" y="62"/>
                    <a:pt x="199" y="77"/>
                    <a:pt x="178" y="88"/>
                  </a:cubicBezTo>
                  <a:cubicBezTo>
                    <a:pt x="169" y="92"/>
                    <a:pt x="159" y="98"/>
                    <a:pt x="156" y="100"/>
                  </a:cubicBezTo>
                  <a:cubicBezTo>
                    <a:pt x="153" y="103"/>
                    <a:pt x="137" y="106"/>
                    <a:pt x="120" y="107"/>
                  </a:cubicBezTo>
                  <a:cubicBezTo>
                    <a:pt x="95" y="109"/>
                    <a:pt x="89" y="109"/>
                    <a:pt x="87" y="104"/>
                  </a:cubicBezTo>
                  <a:cubicBezTo>
                    <a:pt x="85" y="98"/>
                    <a:pt x="62" y="98"/>
                    <a:pt x="52" y="104"/>
                  </a:cubicBezTo>
                  <a:cubicBezTo>
                    <a:pt x="42" y="110"/>
                    <a:pt x="13" y="109"/>
                    <a:pt x="6" y="102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0"/>
            <p:cNvSpPr>
              <a:spLocks noEditPoints="1"/>
            </p:cNvSpPr>
            <p:nvPr userDrawn="1">
              <p:custDataLst>
                <p:tags r:id="rId24"/>
              </p:custDataLst>
            </p:nvPr>
          </p:nvSpPr>
          <p:spPr bwMode="grayWhite">
            <a:xfrm>
              <a:off x="11052175" y="76200"/>
              <a:ext cx="422275" cy="280988"/>
            </a:xfrm>
            <a:custGeom>
              <a:gdLst>
                <a:gd name="T0" fmla="*/ 3 w 154"/>
                <a:gd name="T1" fmla="*/ 92 h 101"/>
                <a:gd name="T2" fmla="*/ 6 w 154"/>
                <a:gd name="T3" fmla="*/ 84 h 101"/>
                <a:gd name="T4" fmla="*/ 16 w 154"/>
                <a:gd name="T5" fmla="*/ 82 h 101"/>
                <a:gd name="T6" fmla="*/ 22 w 154"/>
                <a:gd name="T7" fmla="*/ 90 h 101"/>
                <a:gd name="T8" fmla="*/ 3 w 154"/>
                <a:gd name="T9" fmla="*/ 92 h 101"/>
                <a:gd name="T10" fmla="*/ 64 w 154"/>
                <a:gd name="T11" fmla="*/ 95 h 101"/>
                <a:gd name="T12" fmla="*/ 62 w 154"/>
                <a:gd name="T13" fmla="*/ 83 h 101"/>
                <a:gd name="T14" fmla="*/ 51 w 154"/>
                <a:gd name="T15" fmla="*/ 78 h 101"/>
                <a:gd name="T16" fmla="*/ 33 w 154"/>
                <a:gd name="T17" fmla="*/ 62 h 101"/>
                <a:gd name="T18" fmla="*/ 40 w 154"/>
                <a:gd name="T19" fmla="*/ 34 h 101"/>
                <a:gd name="T20" fmla="*/ 91 w 154"/>
                <a:gd name="T21" fmla="*/ 8 h 101"/>
                <a:gd name="T22" fmla="*/ 108 w 154"/>
                <a:gd name="T23" fmla="*/ 5 h 101"/>
                <a:gd name="T24" fmla="*/ 126 w 154"/>
                <a:gd name="T25" fmla="*/ 3 h 101"/>
                <a:gd name="T26" fmla="*/ 138 w 154"/>
                <a:gd name="T27" fmla="*/ 32 h 101"/>
                <a:gd name="T28" fmla="*/ 144 w 154"/>
                <a:gd name="T29" fmla="*/ 57 h 101"/>
                <a:gd name="T30" fmla="*/ 154 w 154"/>
                <a:gd name="T31" fmla="*/ 74 h 101"/>
                <a:gd name="T32" fmla="*/ 138 w 154"/>
                <a:gd name="T33" fmla="*/ 84 h 101"/>
                <a:gd name="T34" fmla="*/ 104 w 154"/>
                <a:gd name="T35" fmla="*/ 88 h 101"/>
                <a:gd name="T36" fmla="*/ 77 w 154"/>
                <a:gd name="T37" fmla="*/ 92 h 101"/>
                <a:gd name="T38" fmla="*/ 64 w 154"/>
                <a:gd name="T39" fmla="*/ 95 h 101"/>
                <a:gd name="T40" fmla="*/ 4 w 154"/>
                <a:gd name="T41" fmla="*/ 66 h 101"/>
                <a:gd name="T42" fmla="*/ 12 w 154"/>
                <a:gd name="T43" fmla="*/ 65 h 101"/>
                <a:gd name="T44" fmla="*/ 10 w 154"/>
                <a:gd name="T45" fmla="*/ 70 h 101"/>
                <a:gd name="T46" fmla="*/ 4 w 154"/>
                <a:gd name="T47" fmla="*/ 66 h 101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4" h="100">
                  <a:moveTo>
                    <a:pt x="3" y="92"/>
                  </a:moveTo>
                  <a:cubicBezTo>
                    <a:pt x="5" y="88"/>
                    <a:pt x="6" y="85"/>
                    <a:pt x="6" y="84"/>
                  </a:cubicBezTo>
                  <a:cubicBezTo>
                    <a:pt x="6" y="83"/>
                    <a:pt x="10" y="82"/>
                    <a:pt x="16" y="82"/>
                  </a:cubicBezTo>
                  <a:cubicBezTo>
                    <a:pt x="25" y="82"/>
                    <a:pt x="26" y="83"/>
                    <a:pt x="22" y="90"/>
                  </a:cubicBezTo>
                  <a:cubicBezTo>
                    <a:pt x="17" y="100"/>
                    <a:pt x="0" y="101"/>
                    <a:pt x="3" y="92"/>
                  </a:cubicBezTo>
                  <a:close/>
                  <a:moveTo>
                    <a:pt x="64" y="95"/>
                  </a:moveTo>
                  <a:cubicBezTo>
                    <a:pt x="63" y="94"/>
                    <a:pt x="62" y="89"/>
                    <a:pt x="62" y="83"/>
                  </a:cubicBezTo>
                  <a:cubicBezTo>
                    <a:pt x="62" y="73"/>
                    <a:pt x="58" y="72"/>
                    <a:pt x="51" y="78"/>
                  </a:cubicBezTo>
                  <a:cubicBezTo>
                    <a:pt x="44" y="85"/>
                    <a:pt x="39" y="80"/>
                    <a:pt x="33" y="62"/>
                  </a:cubicBezTo>
                  <a:cubicBezTo>
                    <a:pt x="29" y="47"/>
                    <a:pt x="29" y="46"/>
                    <a:pt x="40" y="34"/>
                  </a:cubicBezTo>
                  <a:cubicBezTo>
                    <a:pt x="55" y="18"/>
                    <a:pt x="79" y="5"/>
                    <a:pt x="91" y="8"/>
                  </a:cubicBezTo>
                  <a:cubicBezTo>
                    <a:pt x="96" y="9"/>
                    <a:pt x="103" y="8"/>
                    <a:pt x="108" y="5"/>
                  </a:cubicBezTo>
                  <a:cubicBezTo>
                    <a:pt x="113" y="0"/>
                    <a:pt x="118" y="0"/>
                    <a:pt x="126" y="3"/>
                  </a:cubicBezTo>
                  <a:cubicBezTo>
                    <a:pt x="140" y="7"/>
                    <a:pt x="143" y="17"/>
                    <a:pt x="138" y="32"/>
                  </a:cubicBezTo>
                  <a:cubicBezTo>
                    <a:pt x="134" y="41"/>
                    <a:pt x="135" y="45"/>
                    <a:pt x="144" y="57"/>
                  </a:cubicBezTo>
                  <a:cubicBezTo>
                    <a:pt x="149" y="65"/>
                    <a:pt x="154" y="73"/>
                    <a:pt x="154" y="74"/>
                  </a:cubicBezTo>
                  <a:cubicBezTo>
                    <a:pt x="154" y="76"/>
                    <a:pt x="147" y="80"/>
                    <a:pt x="138" y="84"/>
                  </a:cubicBezTo>
                  <a:cubicBezTo>
                    <a:pt x="126" y="89"/>
                    <a:pt x="118" y="90"/>
                    <a:pt x="104" y="88"/>
                  </a:cubicBezTo>
                  <a:cubicBezTo>
                    <a:pt x="91" y="86"/>
                    <a:pt x="84" y="87"/>
                    <a:pt x="77" y="92"/>
                  </a:cubicBezTo>
                  <a:cubicBezTo>
                    <a:pt x="71" y="95"/>
                    <a:pt x="66" y="97"/>
                    <a:pt x="64" y="95"/>
                  </a:cubicBezTo>
                  <a:close/>
                  <a:moveTo>
                    <a:pt x="4" y="66"/>
                  </a:moveTo>
                  <a:cubicBezTo>
                    <a:pt x="5" y="64"/>
                    <a:pt x="9" y="63"/>
                    <a:pt x="12" y="65"/>
                  </a:cubicBezTo>
                  <a:cubicBezTo>
                    <a:pt x="20" y="68"/>
                    <a:pt x="19" y="70"/>
                    <a:pt x="10" y="70"/>
                  </a:cubicBezTo>
                  <a:cubicBezTo>
                    <a:pt x="5" y="70"/>
                    <a:pt x="2" y="68"/>
                    <a:pt x="4" y="66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1"/>
            <p:cNvSpPr/>
            <p:nvPr userDrawn="1">
              <p:custDataLst>
                <p:tags r:id="rId25"/>
              </p:custDataLst>
            </p:nvPr>
          </p:nvSpPr>
          <p:spPr bwMode="grayWhite">
            <a:xfrm>
              <a:off x="11058525" y="301625"/>
              <a:ext cx="514350" cy="315913"/>
            </a:xfrm>
            <a:custGeom>
              <a:gdLst>
                <a:gd name="T0" fmla="*/ 2 w 188"/>
                <a:gd name="T1" fmla="*/ 108 h 114"/>
                <a:gd name="T2" fmla="*/ 2 w 188"/>
                <a:gd name="T3" fmla="*/ 81 h 114"/>
                <a:gd name="T4" fmla="*/ 13 w 188"/>
                <a:gd name="T5" fmla="*/ 49 h 114"/>
                <a:gd name="T6" fmla="*/ 22 w 188"/>
                <a:gd name="T7" fmla="*/ 40 h 114"/>
                <a:gd name="T8" fmla="*/ 40 w 188"/>
                <a:gd name="T9" fmla="*/ 52 h 114"/>
                <a:gd name="T10" fmla="*/ 71 w 188"/>
                <a:gd name="T11" fmla="*/ 62 h 114"/>
                <a:gd name="T12" fmla="*/ 79 w 188"/>
                <a:gd name="T13" fmla="*/ 50 h 114"/>
                <a:gd name="T14" fmla="*/ 69 w 188"/>
                <a:gd name="T15" fmla="*/ 34 h 114"/>
                <a:gd name="T16" fmla="*/ 74 w 188"/>
                <a:gd name="T17" fmla="*/ 15 h 114"/>
                <a:gd name="T18" fmla="*/ 103 w 188"/>
                <a:gd name="T19" fmla="*/ 11 h 114"/>
                <a:gd name="T20" fmla="*/ 136 w 188"/>
                <a:gd name="T21" fmla="*/ 7 h 114"/>
                <a:gd name="T22" fmla="*/ 158 w 188"/>
                <a:gd name="T23" fmla="*/ 9 h 114"/>
                <a:gd name="T24" fmla="*/ 178 w 188"/>
                <a:gd name="T25" fmla="*/ 36 h 114"/>
                <a:gd name="T26" fmla="*/ 188 w 188"/>
                <a:gd name="T27" fmla="*/ 54 h 114"/>
                <a:gd name="T28" fmla="*/ 172 w 188"/>
                <a:gd name="T29" fmla="*/ 68 h 114"/>
                <a:gd name="T30" fmla="*/ 109 w 188"/>
                <a:gd name="T31" fmla="*/ 80 h 114"/>
                <a:gd name="T32" fmla="*/ 71 w 188"/>
                <a:gd name="T33" fmla="*/ 86 h 114"/>
                <a:gd name="T34" fmla="*/ 37 w 188"/>
                <a:gd name="T35" fmla="*/ 99 h 114"/>
                <a:gd name="T36" fmla="*/ 15 w 188"/>
                <a:gd name="T37" fmla="*/ 107 h 114"/>
                <a:gd name="T38" fmla="*/ 2 w 188"/>
                <a:gd name="T39" fmla="*/ 108 h 114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8" h="114">
                  <a:moveTo>
                    <a:pt x="2" y="108"/>
                  </a:moveTo>
                  <a:cubicBezTo>
                    <a:pt x="0" y="106"/>
                    <a:pt x="0" y="94"/>
                    <a:pt x="2" y="81"/>
                  </a:cubicBezTo>
                  <a:cubicBezTo>
                    <a:pt x="4" y="64"/>
                    <a:pt x="7" y="55"/>
                    <a:pt x="13" y="49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54" y="61"/>
                    <a:pt x="61" y="63"/>
                    <a:pt x="71" y="62"/>
                  </a:cubicBezTo>
                  <a:cubicBezTo>
                    <a:pt x="84" y="59"/>
                    <a:pt x="87" y="55"/>
                    <a:pt x="79" y="50"/>
                  </a:cubicBezTo>
                  <a:cubicBezTo>
                    <a:pt x="76" y="48"/>
                    <a:pt x="72" y="41"/>
                    <a:pt x="69" y="34"/>
                  </a:cubicBezTo>
                  <a:cubicBezTo>
                    <a:pt x="65" y="22"/>
                    <a:pt x="66" y="20"/>
                    <a:pt x="74" y="15"/>
                  </a:cubicBezTo>
                  <a:cubicBezTo>
                    <a:pt x="81" y="10"/>
                    <a:pt x="89" y="9"/>
                    <a:pt x="103" y="11"/>
                  </a:cubicBezTo>
                  <a:cubicBezTo>
                    <a:pt x="118" y="13"/>
                    <a:pt x="126" y="12"/>
                    <a:pt x="136" y="7"/>
                  </a:cubicBezTo>
                  <a:cubicBezTo>
                    <a:pt x="148" y="0"/>
                    <a:pt x="149" y="0"/>
                    <a:pt x="158" y="9"/>
                  </a:cubicBezTo>
                  <a:cubicBezTo>
                    <a:pt x="164" y="14"/>
                    <a:pt x="173" y="26"/>
                    <a:pt x="178" y="36"/>
                  </a:cubicBezTo>
                  <a:cubicBezTo>
                    <a:pt x="188" y="54"/>
                    <a:pt x="188" y="54"/>
                    <a:pt x="188" y="54"/>
                  </a:cubicBezTo>
                  <a:cubicBezTo>
                    <a:pt x="172" y="68"/>
                    <a:pt x="172" y="68"/>
                    <a:pt x="172" y="68"/>
                  </a:cubicBezTo>
                  <a:cubicBezTo>
                    <a:pt x="154" y="84"/>
                    <a:pt x="140" y="87"/>
                    <a:pt x="109" y="80"/>
                  </a:cubicBezTo>
                  <a:cubicBezTo>
                    <a:pt x="90" y="76"/>
                    <a:pt x="87" y="77"/>
                    <a:pt x="71" y="86"/>
                  </a:cubicBezTo>
                  <a:cubicBezTo>
                    <a:pt x="62" y="92"/>
                    <a:pt x="46" y="97"/>
                    <a:pt x="37" y="99"/>
                  </a:cubicBezTo>
                  <a:cubicBezTo>
                    <a:pt x="28" y="100"/>
                    <a:pt x="18" y="104"/>
                    <a:pt x="15" y="107"/>
                  </a:cubicBezTo>
                  <a:cubicBezTo>
                    <a:pt x="10" y="114"/>
                    <a:pt x="5" y="114"/>
                    <a:pt x="2" y="108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2"/>
            <p:cNvSpPr/>
            <p:nvPr userDrawn="1">
              <p:custDataLst>
                <p:tags r:id="rId26"/>
              </p:custDataLst>
            </p:nvPr>
          </p:nvSpPr>
          <p:spPr bwMode="grayWhite">
            <a:xfrm>
              <a:off x="11071225" y="523875"/>
              <a:ext cx="430213" cy="293688"/>
            </a:xfrm>
            <a:custGeom>
              <a:gdLst>
                <a:gd name="T0" fmla="*/ 86 w 157"/>
                <a:gd name="T1" fmla="*/ 101 h 106"/>
                <a:gd name="T2" fmla="*/ 76 w 157"/>
                <a:gd name="T3" fmla="*/ 92 h 106"/>
                <a:gd name="T4" fmla="*/ 66 w 157"/>
                <a:gd name="T5" fmla="*/ 82 h 106"/>
                <a:gd name="T6" fmla="*/ 40 w 157"/>
                <a:gd name="T7" fmla="*/ 81 h 106"/>
                <a:gd name="T8" fmla="*/ 24 w 157"/>
                <a:gd name="T9" fmla="*/ 80 h 106"/>
                <a:gd name="T10" fmla="*/ 12 w 157"/>
                <a:gd name="T11" fmla="*/ 56 h 106"/>
                <a:gd name="T12" fmla="*/ 0 w 157"/>
                <a:gd name="T13" fmla="*/ 39 h 106"/>
                <a:gd name="T14" fmla="*/ 9 w 157"/>
                <a:gd name="T15" fmla="*/ 32 h 106"/>
                <a:gd name="T16" fmla="*/ 34 w 157"/>
                <a:gd name="T17" fmla="*/ 22 h 106"/>
                <a:gd name="T18" fmla="*/ 67 w 157"/>
                <a:gd name="T19" fmla="*/ 9 h 106"/>
                <a:gd name="T20" fmla="*/ 106 w 157"/>
                <a:gd name="T21" fmla="*/ 4 h 106"/>
                <a:gd name="T22" fmla="*/ 137 w 157"/>
                <a:gd name="T23" fmla="*/ 6 h 106"/>
                <a:gd name="T24" fmla="*/ 147 w 157"/>
                <a:gd name="T25" fmla="*/ 32 h 106"/>
                <a:gd name="T26" fmla="*/ 140 w 157"/>
                <a:gd name="T27" fmla="*/ 56 h 106"/>
                <a:gd name="T28" fmla="*/ 111 w 157"/>
                <a:gd name="T29" fmla="*/ 97 h 106"/>
                <a:gd name="T30" fmla="*/ 86 w 157"/>
                <a:gd name="T31" fmla="*/ 101 h 106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105">
                  <a:moveTo>
                    <a:pt x="86" y="101"/>
                  </a:moveTo>
                  <a:cubicBezTo>
                    <a:pt x="80" y="98"/>
                    <a:pt x="76" y="94"/>
                    <a:pt x="76" y="92"/>
                  </a:cubicBezTo>
                  <a:cubicBezTo>
                    <a:pt x="76" y="90"/>
                    <a:pt x="71" y="85"/>
                    <a:pt x="66" y="82"/>
                  </a:cubicBezTo>
                  <a:cubicBezTo>
                    <a:pt x="58" y="76"/>
                    <a:pt x="55" y="76"/>
                    <a:pt x="40" y="81"/>
                  </a:cubicBezTo>
                  <a:cubicBezTo>
                    <a:pt x="25" y="87"/>
                    <a:pt x="24" y="87"/>
                    <a:pt x="24" y="80"/>
                  </a:cubicBezTo>
                  <a:cubicBezTo>
                    <a:pt x="24" y="76"/>
                    <a:pt x="18" y="65"/>
                    <a:pt x="12" y="56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14" y="28"/>
                    <a:pt x="25" y="24"/>
                    <a:pt x="34" y="22"/>
                  </a:cubicBezTo>
                  <a:cubicBezTo>
                    <a:pt x="42" y="21"/>
                    <a:pt x="57" y="15"/>
                    <a:pt x="67" y="9"/>
                  </a:cubicBezTo>
                  <a:cubicBezTo>
                    <a:pt x="83" y="0"/>
                    <a:pt x="85" y="0"/>
                    <a:pt x="106" y="4"/>
                  </a:cubicBezTo>
                  <a:cubicBezTo>
                    <a:pt x="118" y="7"/>
                    <a:pt x="132" y="8"/>
                    <a:pt x="137" y="6"/>
                  </a:cubicBezTo>
                  <a:cubicBezTo>
                    <a:pt x="151" y="3"/>
                    <a:pt x="157" y="19"/>
                    <a:pt x="147" y="32"/>
                  </a:cubicBezTo>
                  <a:cubicBezTo>
                    <a:pt x="143" y="38"/>
                    <a:pt x="140" y="48"/>
                    <a:pt x="140" y="56"/>
                  </a:cubicBezTo>
                  <a:cubicBezTo>
                    <a:pt x="139" y="72"/>
                    <a:pt x="131" y="84"/>
                    <a:pt x="111" y="97"/>
                  </a:cubicBezTo>
                  <a:cubicBezTo>
                    <a:pt x="98" y="106"/>
                    <a:pt x="96" y="106"/>
                    <a:pt x="86" y="101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3"/>
            <p:cNvSpPr/>
            <p:nvPr userDrawn="1">
              <p:custDataLst>
                <p:tags r:id="rId27"/>
              </p:custDataLst>
            </p:nvPr>
          </p:nvSpPr>
          <p:spPr bwMode="grayWhite">
            <a:xfrm>
              <a:off x="11060113" y="750887"/>
              <a:ext cx="222250" cy="134938"/>
            </a:xfrm>
            <a:custGeom>
              <a:gdLst>
                <a:gd name="T0" fmla="*/ 0 w 81"/>
                <a:gd name="T1" fmla="*/ 43 h 49"/>
                <a:gd name="T2" fmla="*/ 7 w 81"/>
                <a:gd name="T3" fmla="*/ 33 h 49"/>
                <a:gd name="T4" fmla="*/ 7 w 81"/>
                <a:gd name="T5" fmla="*/ 28 h 49"/>
                <a:gd name="T6" fmla="*/ 0 w 81"/>
                <a:gd name="T7" fmla="*/ 27 h 49"/>
                <a:gd name="T8" fmla="*/ 18 w 81"/>
                <a:gd name="T9" fmla="*/ 12 h 49"/>
                <a:gd name="T10" fmla="*/ 42 w 81"/>
                <a:gd name="T11" fmla="*/ 5 h 49"/>
                <a:gd name="T12" fmla="*/ 65 w 81"/>
                <a:gd name="T13" fmla="*/ 1 h 49"/>
                <a:gd name="T14" fmla="*/ 78 w 81"/>
                <a:gd name="T15" fmla="*/ 22 h 49"/>
                <a:gd name="T16" fmla="*/ 0 w 81"/>
                <a:gd name="T17" fmla="*/ 43 h 49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49">
                  <a:moveTo>
                    <a:pt x="0" y="43"/>
                  </a:moveTo>
                  <a:cubicBezTo>
                    <a:pt x="0" y="42"/>
                    <a:pt x="3" y="38"/>
                    <a:pt x="7" y="33"/>
                  </a:cubicBezTo>
                  <a:cubicBezTo>
                    <a:pt x="13" y="26"/>
                    <a:pt x="13" y="25"/>
                    <a:pt x="7" y="28"/>
                  </a:cubicBezTo>
                  <a:cubicBezTo>
                    <a:pt x="3" y="29"/>
                    <a:pt x="0" y="29"/>
                    <a:pt x="0" y="27"/>
                  </a:cubicBezTo>
                  <a:cubicBezTo>
                    <a:pt x="0" y="21"/>
                    <a:pt x="10" y="12"/>
                    <a:pt x="18" y="12"/>
                  </a:cubicBezTo>
                  <a:cubicBezTo>
                    <a:pt x="22" y="12"/>
                    <a:pt x="33" y="8"/>
                    <a:pt x="42" y="5"/>
                  </a:cubicBezTo>
                  <a:cubicBezTo>
                    <a:pt x="52" y="1"/>
                    <a:pt x="62" y="0"/>
                    <a:pt x="65" y="1"/>
                  </a:cubicBezTo>
                  <a:cubicBezTo>
                    <a:pt x="73" y="4"/>
                    <a:pt x="81" y="17"/>
                    <a:pt x="78" y="22"/>
                  </a:cubicBezTo>
                  <a:cubicBezTo>
                    <a:pt x="73" y="29"/>
                    <a:pt x="0" y="49"/>
                    <a:pt x="0" y="43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4"/>
            <p:cNvSpPr/>
            <p:nvPr userDrawn="1">
              <p:custDataLst>
                <p:tags r:id="rId28"/>
              </p:custDataLst>
            </p:nvPr>
          </p:nvSpPr>
          <p:spPr bwMode="grayWhite">
            <a:xfrm>
              <a:off x="10688638" y="814387"/>
              <a:ext cx="804863" cy="698500"/>
            </a:xfrm>
            <a:custGeom>
              <a:gdLst>
                <a:gd name="T0" fmla="*/ 172 w 294"/>
                <a:gd name="T1" fmla="*/ 242 h 252"/>
                <a:gd name="T2" fmla="*/ 157 w 294"/>
                <a:gd name="T3" fmla="*/ 231 h 252"/>
                <a:gd name="T4" fmla="*/ 138 w 294"/>
                <a:gd name="T5" fmla="*/ 230 h 252"/>
                <a:gd name="T6" fmla="*/ 130 w 294"/>
                <a:gd name="T7" fmla="*/ 225 h 252"/>
                <a:gd name="T8" fmla="*/ 100 w 294"/>
                <a:gd name="T9" fmla="*/ 219 h 252"/>
                <a:gd name="T10" fmla="*/ 84 w 294"/>
                <a:gd name="T11" fmla="*/ 214 h 252"/>
                <a:gd name="T12" fmla="*/ 68 w 294"/>
                <a:gd name="T13" fmla="*/ 204 h 252"/>
                <a:gd name="T14" fmla="*/ 52 w 294"/>
                <a:gd name="T15" fmla="*/ 193 h 252"/>
                <a:gd name="T16" fmla="*/ 45 w 294"/>
                <a:gd name="T17" fmla="*/ 183 h 252"/>
                <a:gd name="T18" fmla="*/ 25 w 294"/>
                <a:gd name="T19" fmla="*/ 151 h 252"/>
                <a:gd name="T20" fmla="*/ 7 w 294"/>
                <a:gd name="T21" fmla="*/ 123 h 252"/>
                <a:gd name="T22" fmla="*/ 8 w 294"/>
                <a:gd name="T23" fmla="*/ 111 h 252"/>
                <a:gd name="T24" fmla="*/ 6 w 294"/>
                <a:gd name="T25" fmla="*/ 89 h 252"/>
                <a:gd name="T26" fmla="*/ 7 w 294"/>
                <a:gd name="T27" fmla="*/ 70 h 252"/>
                <a:gd name="T28" fmla="*/ 28 w 294"/>
                <a:gd name="T29" fmla="*/ 58 h 252"/>
                <a:gd name="T30" fmla="*/ 45 w 294"/>
                <a:gd name="T31" fmla="*/ 45 h 252"/>
                <a:gd name="T32" fmla="*/ 90 w 294"/>
                <a:gd name="T33" fmla="*/ 12 h 252"/>
                <a:gd name="T34" fmla="*/ 97 w 294"/>
                <a:gd name="T35" fmla="*/ 17 h 252"/>
                <a:gd name="T36" fmla="*/ 130 w 294"/>
                <a:gd name="T37" fmla="*/ 31 h 252"/>
                <a:gd name="T38" fmla="*/ 162 w 294"/>
                <a:gd name="T39" fmla="*/ 21 h 252"/>
                <a:gd name="T40" fmla="*/ 205 w 294"/>
                <a:gd name="T41" fmla="*/ 8 h 252"/>
                <a:gd name="T42" fmla="*/ 229 w 294"/>
                <a:gd name="T43" fmla="*/ 2 h 252"/>
                <a:gd name="T44" fmla="*/ 244 w 294"/>
                <a:gd name="T45" fmla="*/ 25 h 252"/>
                <a:gd name="T46" fmla="*/ 259 w 294"/>
                <a:gd name="T47" fmla="*/ 50 h 252"/>
                <a:gd name="T48" fmla="*/ 260 w 294"/>
                <a:gd name="T49" fmla="*/ 70 h 252"/>
                <a:gd name="T50" fmla="*/ 263 w 294"/>
                <a:gd name="T51" fmla="*/ 91 h 252"/>
                <a:gd name="T52" fmla="*/ 272 w 294"/>
                <a:gd name="T53" fmla="*/ 108 h 252"/>
                <a:gd name="T54" fmla="*/ 281 w 294"/>
                <a:gd name="T55" fmla="*/ 127 h 252"/>
                <a:gd name="T56" fmla="*/ 284 w 294"/>
                <a:gd name="T57" fmla="*/ 178 h 252"/>
                <a:gd name="T58" fmla="*/ 280 w 294"/>
                <a:gd name="T59" fmla="*/ 218 h 252"/>
                <a:gd name="T60" fmla="*/ 284 w 294"/>
                <a:gd name="T61" fmla="*/ 228 h 252"/>
                <a:gd name="T62" fmla="*/ 259 w 294"/>
                <a:gd name="T63" fmla="*/ 226 h 252"/>
                <a:gd name="T64" fmla="*/ 226 w 294"/>
                <a:gd name="T65" fmla="*/ 229 h 252"/>
                <a:gd name="T66" fmla="*/ 211 w 294"/>
                <a:gd name="T67" fmla="*/ 235 h 252"/>
                <a:gd name="T68" fmla="*/ 202 w 294"/>
                <a:gd name="T69" fmla="*/ 242 h 252"/>
                <a:gd name="T70" fmla="*/ 193 w 294"/>
                <a:gd name="T71" fmla="*/ 243 h 252"/>
                <a:gd name="T72" fmla="*/ 181 w 294"/>
                <a:gd name="T73" fmla="*/ 245 h 252"/>
                <a:gd name="T74" fmla="*/ 172 w 294"/>
                <a:gd name="T75" fmla="*/ 242 h 252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4" h="251">
                  <a:moveTo>
                    <a:pt x="172" y="242"/>
                  </a:moveTo>
                  <a:cubicBezTo>
                    <a:pt x="169" y="234"/>
                    <a:pt x="165" y="231"/>
                    <a:pt x="157" y="231"/>
                  </a:cubicBezTo>
                  <a:cubicBezTo>
                    <a:pt x="151" y="231"/>
                    <a:pt x="142" y="230"/>
                    <a:pt x="138" y="230"/>
                  </a:cubicBezTo>
                  <a:cubicBezTo>
                    <a:pt x="133" y="230"/>
                    <a:pt x="130" y="227"/>
                    <a:pt x="130" y="225"/>
                  </a:cubicBezTo>
                  <a:cubicBezTo>
                    <a:pt x="132" y="218"/>
                    <a:pt x="104" y="213"/>
                    <a:pt x="100" y="219"/>
                  </a:cubicBezTo>
                  <a:cubicBezTo>
                    <a:pt x="96" y="225"/>
                    <a:pt x="84" y="221"/>
                    <a:pt x="84" y="214"/>
                  </a:cubicBezTo>
                  <a:cubicBezTo>
                    <a:pt x="84" y="211"/>
                    <a:pt x="76" y="206"/>
                    <a:pt x="68" y="204"/>
                  </a:cubicBezTo>
                  <a:cubicBezTo>
                    <a:pt x="59" y="201"/>
                    <a:pt x="52" y="196"/>
                    <a:pt x="52" y="193"/>
                  </a:cubicBezTo>
                  <a:cubicBezTo>
                    <a:pt x="52" y="191"/>
                    <a:pt x="49" y="186"/>
                    <a:pt x="45" y="183"/>
                  </a:cubicBezTo>
                  <a:cubicBezTo>
                    <a:pt x="42" y="180"/>
                    <a:pt x="33" y="166"/>
                    <a:pt x="25" y="151"/>
                  </a:cubicBezTo>
                  <a:cubicBezTo>
                    <a:pt x="18" y="136"/>
                    <a:pt x="10" y="124"/>
                    <a:pt x="7" y="123"/>
                  </a:cubicBezTo>
                  <a:cubicBezTo>
                    <a:pt x="4" y="122"/>
                    <a:pt x="4" y="118"/>
                    <a:pt x="8" y="111"/>
                  </a:cubicBezTo>
                  <a:cubicBezTo>
                    <a:pt x="11" y="103"/>
                    <a:pt x="11" y="98"/>
                    <a:pt x="6" y="89"/>
                  </a:cubicBezTo>
                  <a:cubicBezTo>
                    <a:pt x="0" y="77"/>
                    <a:pt x="0" y="76"/>
                    <a:pt x="7" y="70"/>
                  </a:cubicBezTo>
                  <a:cubicBezTo>
                    <a:pt x="10" y="67"/>
                    <a:pt x="20" y="62"/>
                    <a:pt x="28" y="58"/>
                  </a:cubicBezTo>
                  <a:cubicBezTo>
                    <a:pt x="36" y="55"/>
                    <a:pt x="44" y="49"/>
                    <a:pt x="45" y="45"/>
                  </a:cubicBezTo>
                  <a:cubicBezTo>
                    <a:pt x="48" y="37"/>
                    <a:pt x="82" y="12"/>
                    <a:pt x="90" y="12"/>
                  </a:cubicBezTo>
                  <a:cubicBezTo>
                    <a:pt x="93" y="12"/>
                    <a:pt x="96" y="14"/>
                    <a:pt x="97" y="17"/>
                  </a:cubicBezTo>
                  <a:cubicBezTo>
                    <a:pt x="101" y="27"/>
                    <a:pt x="123" y="37"/>
                    <a:pt x="130" y="31"/>
                  </a:cubicBezTo>
                  <a:cubicBezTo>
                    <a:pt x="133" y="29"/>
                    <a:pt x="147" y="24"/>
                    <a:pt x="162" y="21"/>
                  </a:cubicBezTo>
                  <a:cubicBezTo>
                    <a:pt x="177" y="18"/>
                    <a:pt x="196" y="12"/>
                    <a:pt x="205" y="8"/>
                  </a:cubicBezTo>
                  <a:cubicBezTo>
                    <a:pt x="215" y="3"/>
                    <a:pt x="225" y="0"/>
                    <a:pt x="229" y="2"/>
                  </a:cubicBezTo>
                  <a:cubicBezTo>
                    <a:pt x="232" y="3"/>
                    <a:pt x="239" y="13"/>
                    <a:pt x="244" y="25"/>
                  </a:cubicBezTo>
                  <a:cubicBezTo>
                    <a:pt x="249" y="36"/>
                    <a:pt x="255" y="47"/>
                    <a:pt x="259" y="50"/>
                  </a:cubicBezTo>
                  <a:cubicBezTo>
                    <a:pt x="265" y="54"/>
                    <a:pt x="265" y="57"/>
                    <a:pt x="260" y="70"/>
                  </a:cubicBezTo>
                  <a:cubicBezTo>
                    <a:pt x="255" y="84"/>
                    <a:pt x="255" y="85"/>
                    <a:pt x="263" y="91"/>
                  </a:cubicBezTo>
                  <a:cubicBezTo>
                    <a:pt x="268" y="94"/>
                    <a:pt x="272" y="101"/>
                    <a:pt x="272" y="108"/>
                  </a:cubicBezTo>
                  <a:cubicBezTo>
                    <a:pt x="272" y="115"/>
                    <a:pt x="275" y="122"/>
                    <a:pt x="281" y="127"/>
                  </a:cubicBezTo>
                  <a:cubicBezTo>
                    <a:pt x="294" y="137"/>
                    <a:pt x="294" y="144"/>
                    <a:pt x="284" y="178"/>
                  </a:cubicBezTo>
                  <a:cubicBezTo>
                    <a:pt x="277" y="200"/>
                    <a:pt x="276" y="209"/>
                    <a:pt x="280" y="21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59" y="226"/>
                    <a:pt x="259" y="226"/>
                    <a:pt x="259" y="226"/>
                  </a:cubicBezTo>
                  <a:cubicBezTo>
                    <a:pt x="239" y="224"/>
                    <a:pt x="232" y="224"/>
                    <a:pt x="226" y="229"/>
                  </a:cubicBezTo>
                  <a:cubicBezTo>
                    <a:pt x="221" y="233"/>
                    <a:pt x="215" y="235"/>
                    <a:pt x="211" y="235"/>
                  </a:cubicBezTo>
                  <a:cubicBezTo>
                    <a:pt x="207" y="235"/>
                    <a:pt x="203" y="238"/>
                    <a:pt x="202" y="242"/>
                  </a:cubicBezTo>
                  <a:cubicBezTo>
                    <a:pt x="200" y="247"/>
                    <a:pt x="198" y="248"/>
                    <a:pt x="193" y="243"/>
                  </a:cubicBezTo>
                  <a:cubicBezTo>
                    <a:pt x="188" y="239"/>
                    <a:pt x="186" y="239"/>
                    <a:pt x="181" y="245"/>
                  </a:cubicBezTo>
                  <a:cubicBezTo>
                    <a:pt x="176" y="252"/>
                    <a:pt x="176" y="252"/>
                    <a:pt x="172" y="242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5"/>
            <p:cNvSpPr/>
            <p:nvPr userDrawn="1">
              <p:custDataLst>
                <p:tags r:id="rId29"/>
              </p:custDataLst>
            </p:nvPr>
          </p:nvSpPr>
          <p:spPr bwMode="grayWhite">
            <a:xfrm>
              <a:off x="10610850" y="1368425"/>
              <a:ext cx="546100" cy="317500"/>
            </a:xfrm>
            <a:custGeom>
              <a:gdLst>
                <a:gd name="T0" fmla="*/ 64 w 199"/>
                <a:gd name="T1" fmla="*/ 103 h 114"/>
                <a:gd name="T2" fmla="*/ 48 w 199"/>
                <a:gd name="T3" fmla="*/ 96 h 114"/>
                <a:gd name="T4" fmla="*/ 12 w 199"/>
                <a:gd name="T5" fmla="*/ 61 h 114"/>
                <a:gd name="T6" fmla="*/ 5 w 199"/>
                <a:gd name="T7" fmla="*/ 52 h 114"/>
                <a:gd name="T8" fmla="*/ 18 w 199"/>
                <a:gd name="T9" fmla="*/ 38 h 114"/>
                <a:gd name="T10" fmla="*/ 49 w 199"/>
                <a:gd name="T11" fmla="*/ 16 h 114"/>
                <a:gd name="T12" fmla="*/ 112 w 199"/>
                <a:gd name="T13" fmla="*/ 20 h 114"/>
                <a:gd name="T14" fmla="*/ 132 w 199"/>
                <a:gd name="T15" fmla="*/ 24 h 114"/>
                <a:gd name="T16" fmla="*/ 151 w 199"/>
                <a:gd name="T17" fmla="*/ 26 h 114"/>
                <a:gd name="T18" fmla="*/ 166 w 199"/>
                <a:gd name="T19" fmla="*/ 34 h 114"/>
                <a:gd name="T20" fmla="*/ 187 w 199"/>
                <a:gd name="T21" fmla="*/ 35 h 114"/>
                <a:gd name="T22" fmla="*/ 188 w 199"/>
                <a:gd name="T23" fmla="*/ 56 h 114"/>
                <a:gd name="T24" fmla="*/ 180 w 199"/>
                <a:gd name="T25" fmla="*/ 66 h 114"/>
                <a:gd name="T26" fmla="*/ 171 w 199"/>
                <a:gd name="T27" fmla="*/ 76 h 114"/>
                <a:gd name="T28" fmla="*/ 159 w 199"/>
                <a:gd name="T29" fmla="*/ 84 h 114"/>
                <a:gd name="T30" fmla="*/ 127 w 199"/>
                <a:gd name="T31" fmla="*/ 88 h 114"/>
                <a:gd name="T32" fmla="*/ 95 w 199"/>
                <a:gd name="T33" fmla="*/ 100 h 114"/>
                <a:gd name="T34" fmla="*/ 64 w 199"/>
                <a:gd name="T35" fmla="*/ 103 h 114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9" h="114">
                  <a:moveTo>
                    <a:pt x="64" y="103"/>
                  </a:moveTo>
                  <a:cubicBezTo>
                    <a:pt x="59" y="99"/>
                    <a:pt x="52" y="96"/>
                    <a:pt x="48" y="96"/>
                  </a:cubicBezTo>
                  <a:cubicBezTo>
                    <a:pt x="40" y="96"/>
                    <a:pt x="12" y="69"/>
                    <a:pt x="12" y="61"/>
                  </a:cubicBezTo>
                  <a:cubicBezTo>
                    <a:pt x="12" y="58"/>
                    <a:pt x="9" y="54"/>
                    <a:pt x="5" y="52"/>
                  </a:cubicBezTo>
                  <a:cubicBezTo>
                    <a:pt x="0" y="49"/>
                    <a:pt x="2" y="47"/>
                    <a:pt x="18" y="38"/>
                  </a:cubicBezTo>
                  <a:cubicBezTo>
                    <a:pt x="29" y="31"/>
                    <a:pt x="43" y="22"/>
                    <a:pt x="49" y="16"/>
                  </a:cubicBezTo>
                  <a:cubicBezTo>
                    <a:pt x="66" y="0"/>
                    <a:pt x="93" y="1"/>
                    <a:pt x="112" y="20"/>
                  </a:cubicBezTo>
                  <a:cubicBezTo>
                    <a:pt x="120" y="28"/>
                    <a:pt x="132" y="30"/>
                    <a:pt x="132" y="24"/>
                  </a:cubicBezTo>
                  <a:cubicBezTo>
                    <a:pt x="132" y="17"/>
                    <a:pt x="147" y="19"/>
                    <a:pt x="151" y="26"/>
                  </a:cubicBezTo>
                  <a:cubicBezTo>
                    <a:pt x="153" y="30"/>
                    <a:pt x="160" y="33"/>
                    <a:pt x="166" y="34"/>
                  </a:cubicBezTo>
                  <a:cubicBezTo>
                    <a:pt x="172" y="34"/>
                    <a:pt x="182" y="35"/>
                    <a:pt x="187" y="35"/>
                  </a:cubicBezTo>
                  <a:cubicBezTo>
                    <a:pt x="198" y="36"/>
                    <a:pt x="199" y="50"/>
                    <a:pt x="188" y="56"/>
                  </a:cubicBezTo>
                  <a:cubicBezTo>
                    <a:pt x="183" y="58"/>
                    <a:pt x="180" y="62"/>
                    <a:pt x="180" y="66"/>
                  </a:cubicBezTo>
                  <a:cubicBezTo>
                    <a:pt x="180" y="69"/>
                    <a:pt x="175" y="73"/>
                    <a:pt x="171" y="76"/>
                  </a:cubicBezTo>
                  <a:cubicBezTo>
                    <a:pt x="166" y="79"/>
                    <a:pt x="161" y="82"/>
                    <a:pt x="159" y="84"/>
                  </a:cubicBezTo>
                  <a:cubicBezTo>
                    <a:pt x="158" y="86"/>
                    <a:pt x="144" y="88"/>
                    <a:pt x="127" y="88"/>
                  </a:cubicBezTo>
                  <a:cubicBezTo>
                    <a:pt x="99" y="89"/>
                    <a:pt x="97" y="90"/>
                    <a:pt x="95" y="100"/>
                  </a:cubicBezTo>
                  <a:cubicBezTo>
                    <a:pt x="93" y="112"/>
                    <a:pt x="77" y="114"/>
                    <a:pt x="64" y="103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6"/>
            <p:cNvSpPr/>
            <p:nvPr userDrawn="1">
              <p:custDataLst>
                <p:tags r:id="rId30"/>
              </p:custDataLst>
            </p:nvPr>
          </p:nvSpPr>
          <p:spPr bwMode="grayWhite">
            <a:xfrm>
              <a:off x="11342688" y="423862"/>
              <a:ext cx="703263" cy="650875"/>
            </a:xfrm>
            <a:custGeom>
              <a:gdLst>
                <a:gd name="T0" fmla="*/ 27 w 257"/>
                <a:gd name="T1" fmla="*/ 230 h 235"/>
                <a:gd name="T2" fmla="*/ 24 w 257"/>
                <a:gd name="T3" fmla="*/ 214 h 235"/>
                <a:gd name="T4" fmla="*/ 23 w 257"/>
                <a:gd name="T5" fmla="*/ 187 h 235"/>
                <a:gd name="T6" fmla="*/ 9 w 257"/>
                <a:gd name="T7" fmla="*/ 166 h 235"/>
                <a:gd name="T8" fmla="*/ 0 w 257"/>
                <a:gd name="T9" fmla="*/ 147 h 235"/>
                <a:gd name="T10" fmla="*/ 9 w 257"/>
                <a:gd name="T11" fmla="*/ 141 h 235"/>
                <a:gd name="T12" fmla="*/ 45 w 257"/>
                <a:gd name="T13" fmla="*/ 93 h 235"/>
                <a:gd name="T14" fmla="*/ 52 w 257"/>
                <a:gd name="T15" fmla="*/ 69 h 235"/>
                <a:gd name="T16" fmla="*/ 56 w 257"/>
                <a:gd name="T17" fmla="*/ 51 h 235"/>
                <a:gd name="T18" fmla="*/ 73 w 257"/>
                <a:gd name="T19" fmla="*/ 26 h 235"/>
                <a:gd name="T20" fmla="*/ 83 w 257"/>
                <a:gd name="T21" fmla="*/ 16 h 235"/>
                <a:gd name="T22" fmla="*/ 123 w 257"/>
                <a:gd name="T23" fmla="*/ 10 h 235"/>
                <a:gd name="T24" fmla="*/ 149 w 257"/>
                <a:gd name="T25" fmla="*/ 8 h 235"/>
                <a:gd name="T26" fmla="*/ 164 w 257"/>
                <a:gd name="T27" fmla="*/ 0 h 235"/>
                <a:gd name="T28" fmla="*/ 170 w 257"/>
                <a:gd name="T29" fmla="*/ 9 h 235"/>
                <a:gd name="T30" fmla="*/ 181 w 257"/>
                <a:gd name="T31" fmla="*/ 30 h 235"/>
                <a:gd name="T32" fmla="*/ 237 w 257"/>
                <a:gd name="T33" fmla="*/ 65 h 235"/>
                <a:gd name="T34" fmla="*/ 257 w 257"/>
                <a:gd name="T35" fmla="*/ 79 h 235"/>
                <a:gd name="T36" fmla="*/ 242 w 257"/>
                <a:gd name="T37" fmla="*/ 92 h 235"/>
                <a:gd name="T38" fmla="*/ 228 w 257"/>
                <a:gd name="T39" fmla="*/ 101 h 235"/>
                <a:gd name="T40" fmla="*/ 237 w 257"/>
                <a:gd name="T41" fmla="*/ 116 h 235"/>
                <a:gd name="T42" fmla="*/ 246 w 257"/>
                <a:gd name="T43" fmla="*/ 132 h 235"/>
                <a:gd name="T44" fmla="*/ 235 w 257"/>
                <a:gd name="T45" fmla="*/ 146 h 235"/>
                <a:gd name="T46" fmla="*/ 227 w 257"/>
                <a:gd name="T47" fmla="*/ 170 h 235"/>
                <a:gd name="T48" fmla="*/ 209 w 257"/>
                <a:gd name="T49" fmla="*/ 182 h 235"/>
                <a:gd name="T50" fmla="*/ 164 w 257"/>
                <a:gd name="T51" fmla="*/ 195 h 235"/>
                <a:gd name="T52" fmla="*/ 113 w 257"/>
                <a:gd name="T53" fmla="*/ 202 h 235"/>
                <a:gd name="T54" fmla="*/ 66 w 257"/>
                <a:gd name="T55" fmla="*/ 209 h 235"/>
                <a:gd name="T56" fmla="*/ 39 w 257"/>
                <a:gd name="T57" fmla="*/ 227 h 235"/>
                <a:gd name="T58" fmla="*/ 27 w 257"/>
                <a:gd name="T59" fmla="*/ 230 h 235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7" h="235">
                  <a:moveTo>
                    <a:pt x="27" y="230"/>
                  </a:moveTo>
                  <a:cubicBezTo>
                    <a:pt x="20" y="225"/>
                    <a:pt x="20" y="223"/>
                    <a:pt x="24" y="214"/>
                  </a:cubicBezTo>
                  <a:cubicBezTo>
                    <a:pt x="30" y="201"/>
                    <a:pt x="30" y="190"/>
                    <a:pt x="23" y="187"/>
                  </a:cubicBezTo>
                  <a:cubicBezTo>
                    <a:pt x="20" y="186"/>
                    <a:pt x="13" y="176"/>
                    <a:pt x="9" y="166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1"/>
                    <a:pt x="9" y="141"/>
                    <a:pt x="9" y="141"/>
                  </a:cubicBezTo>
                  <a:cubicBezTo>
                    <a:pt x="32" y="125"/>
                    <a:pt x="45" y="108"/>
                    <a:pt x="45" y="93"/>
                  </a:cubicBezTo>
                  <a:cubicBezTo>
                    <a:pt x="45" y="85"/>
                    <a:pt x="48" y="74"/>
                    <a:pt x="52" y="69"/>
                  </a:cubicBezTo>
                  <a:cubicBezTo>
                    <a:pt x="58" y="61"/>
                    <a:pt x="59" y="57"/>
                    <a:pt x="56" y="51"/>
                  </a:cubicBezTo>
                  <a:cubicBezTo>
                    <a:pt x="51" y="43"/>
                    <a:pt x="60" y="31"/>
                    <a:pt x="73" y="26"/>
                  </a:cubicBezTo>
                  <a:cubicBezTo>
                    <a:pt x="77" y="25"/>
                    <a:pt x="81" y="21"/>
                    <a:pt x="83" y="16"/>
                  </a:cubicBezTo>
                  <a:cubicBezTo>
                    <a:pt x="86" y="6"/>
                    <a:pt x="108" y="2"/>
                    <a:pt x="123" y="10"/>
                  </a:cubicBezTo>
                  <a:cubicBezTo>
                    <a:pt x="133" y="15"/>
                    <a:pt x="136" y="15"/>
                    <a:pt x="149" y="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70" y="9"/>
                    <a:pt x="170" y="9"/>
                    <a:pt x="170" y="9"/>
                  </a:cubicBezTo>
                  <a:cubicBezTo>
                    <a:pt x="173" y="14"/>
                    <a:pt x="178" y="24"/>
                    <a:pt x="181" y="30"/>
                  </a:cubicBezTo>
                  <a:cubicBezTo>
                    <a:pt x="187" y="42"/>
                    <a:pt x="222" y="65"/>
                    <a:pt x="237" y="65"/>
                  </a:cubicBezTo>
                  <a:cubicBezTo>
                    <a:pt x="248" y="65"/>
                    <a:pt x="257" y="71"/>
                    <a:pt x="257" y="79"/>
                  </a:cubicBezTo>
                  <a:cubicBezTo>
                    <a:pt x="257" y="82"/>
                    <a:pt x="250" y="88"/>
                    <a:pt x="242" y="92"/>
                  </a:cubicBezTo>
                  <a:cubicBezTo>
                    <a:pt x="228" y="101"/>
                    <a:pt x="228" y="101"/>
                    <a:pt x="228" y="101"/>
                  </a:cubicBezTo>
                  <a:cubicBezTo>
                    <a:pt x="237" y="116"/>
                    <a:pt x="237" y="116"/>
                    <a:pt x="237" y="116"/>
                  </a:cubicBezTo>
                  <a:cubicBezTo>
                    <a:pt x="246" y="132"/>
                    <a:pt x="246" y="132"/>
                    <a:pt x="246" y="132"/>
                  </a:cubicBezTo>
                  <a:cubicBezTo>
                    <a:pt x="235" y="146"/>
                    <a:pt x="235" y="146"/>
                    <a:pt x="235" y="146"/>
                  </a:cubicBezTo>
                  <a:cubicBezTo>
                    <a:pt x="227" y="156"/>
                    <a:pt x="225" y="162"/>
                    <a:pt x="227" y="170"/>
                  </a:cubicBezTo>
                  <a:cubicBezTo>
                    <a:pt x="229" y="179"/>
                    <a:pt x="228" y="179"/>
                    <a:pt x="209" y="182"/>
                  </a:cubicBezTo>
                  <a:cubicBezTo>
                    <a:pt x="198" y="183"/>
                    <a:pt x="178" y="189"/>
                    <a:pt x="164" y="195"/>
                  </a:cubicBezTo>
                  <a:cubicBezTo>
                    <a:pt x="142" y="204"/>
                    <a:pt x="135" y="205"/>
                    <a:pt x="113" y="202"/>
                  </a:cubicBezTo>
                  <a:cubicBezTo>
                    <a:pt x="92" y="200"/>
                    <a:pt x="84" y="201"/>
                    <a:pt x="66" y="209"/>
                  </a:cubicBezTo>
                  <a:cubicBezTo>
                    <a:pt x="53" y="214"/>
                    <a:pt x="42" y="221"/>
                    <a:pt x="39" y="227"/>
                  </a:cubicBezTo>
                  <a:cubicBezTo>
                    <a:pt x="35" y="235"/>
                    <a:pt x="34" y="235"/>
                    <a:pt x="27" y="230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7"/>
            <p:cNvSpPr/>
            <p:nvPr userDrawn="1">
              <p:custDataLst>
                <p:tags r:id="rId31"/>
              </p:custDataLst>
            </p:nvPr>
          </p:nvSpPr>
          <p:spPr bwMode="grayWhite">
            <a:xfrm>
              <a:off x="11414125" y="720725"/>
              <a:ext cx="1355725" cy="992188"/>
            </a:xfrm>
            <a:custGeom>
              <a:gdLst>
                <a:gd name="T0" fmla="*/ 227 w 495"/>
                <a:gd name="T1" fmla="*/ 355 h 358"/>
                <a:gd name="T2" fmla="*/ 225 w 495"/>
                <a:gd name="T3" fmla="*/ 349 h 358"/>
                <a:gd name="T4" fmla="*/ 233 w 495"/>
                <a:gd name="T5" fmla="*/ 321 h 358"/>
                <a:gd name="T6" fmla="*/ 239 w 495"/>
                <a:gd name="T7" fmla="*/ 297 h 358"/>
                <a:gd name="T8" fmla="*/ 219 w 495"/>
                <a:gd name="T9" fmla="*/ 277 h 358"/>
                <a:gd name="T10" fmla="*/ 199 w 495"/>
                <a:gd name="T11" fmla="*/ 253 h 358"/>
                <a:gd name="T12" fmla="*/ 183 w 495"/>
                <a:gd name="T13" fmla="*/ 239 h 358"/>
                <a:gd name="T14" fmla="*/ 149 w 495"/>
                <a:gd name="T15" fmla="*/ 241 h 358"/>
                <a:gd name="T16" fmla="*/ 136 w 495"/>
                <a:gd name="T17" fmla="*/ 255 h 358"/>
                <a:gd name="T18" fmla="*/ 127 w 495"/>
                <a:gd name="T19" fmla="*/ 267 h 358"/>
                <a:gd name="T20" fmla="*/ 118 w 495"/>
                <a:gd name="T21" fmla="*/ 276 h 358"/>
                <a:gd name="T22" fmla="*/ 97 w 495"/>
                <a:gd name="T23" fmla="*/ 291 h 358"/>
                <a:gd name="T24" fmla="*/ 83 w 495"/>
                <a:gd name="T25" fmla="*/ 298 h 358"/>
                <a:gd name="T26" fmla="*/ 70 w 495"/>
                <a:gd name="T27" fmla="*/ 297 h 358"/>
                <a:gd name="T28" fmla="*/ 13 w 495"/>
                <a:gd name="T29" fmla="*/ 300 h 358"/>
                <a:gd name="T30" fmla="*/ 17 w 495"/>
                <a:gd name="T31" fmla="*/ 267 h 358"/>
                <a:gd name="T32" fmla="*/ 19 w 495"/>
                <a:gd name="T33" fmla="*/ 252 h 358"/>
                <a:gd name="T34" fmla="*/ 23 w 495"/>
                <a:gd name="T35" fmla="*/ 212 h 358"/>
                <a:gd name="T36" fmla="*/ 20 w 495"/>
                <a:gd name="T37" fmla="*/ 160 h 358"/>
                <a:gd name="T38" fmla="*/ 41 w 495"/>
                <a:gd name="T39" fmla="*/ 105 h 358"/>
                <a:gd name="T40" fmla="*/ 87 w 495"/>
                <a:gd name="T41" fmla="*/ 99 h 358"/>
                <a:gd name="T42" fmla="*/ 138 w 495"/>
                <a:gd name="T43" fmla="*/ 92 h 358"/>
                <a:gd name="T44" fmla="*/ 184 w 495"/>
                <a:gd name="T45" fmla="*/ 78 h 358"/>
                <a:gd name="T46" fmla="*/ 204 w 495"/>
                <a:gd name="T47" fmla="*/ 64 h 358"/>
                <a:gd name="T48" fmla="*/ 224 w 495"/>
                <a:gd name="T49" fmla="*/ 30 h 358"/>
                <a:gd name="T50" fmla="*/ 252 w 495"/>
                <a:gd name="T51" fmla="*/ 15 h 358"/>
                <a:gd name="T52" fmla="*/ 296 w 495"/>
                <a:gd name="T53" fmla="*/ 17 h 358"/>
                <a:gd name="T54" fmla="*/ 332 w 495"/>
                <a:gd name="T55" fmla="*/ 39 h 358"/>
                <a:gd name="T56" fmla="*/ 355 w 495"/>
                <a:gd name="T57" fmla="*/ 50 h 358"/>
                <a:gd name="T58" fmla="*/ 383 w 495"/>
                <a:gd name="T59" fmla="*/ 60 h 358"/>
                <a:gd name="T60" fmla="*/ 411 w 495"/>
                <a:gd name="T61" fmla="*/ 51 h 358"/>
                <a:gd name="T62" fmla="*/ 433 w 495"/>
                <a:gd name="T63" fmla="*/ 51 h 358"/>
                <a:gd name="T64" fmla="*/ 463 w 495"/>
                <a:gd name="T65" fmla="*/ 53 h 358"/>
                <a:gd name="T66" fmla="*/ 495 w 495"/>
                <a:gd name="T67" fmla="*/ 98 h 358"/>
                <a:gd name="T68" fmla="*/ 495 w 495"/>
                <a:gd name="T69" fmla="*/ 142 h 358"/>
                <a:gd name="T70" fmla="*/ 482 w 495"/>
                <a:gd name="T71" fmla="*/ 152 h 358"/>
                <a:gd name="T72" fmla="*/ 465 w 495"/>
                <a:gd name="T73" fmla="*/ 173 h 358"/>
                <a:gd name="T74" fmla="*/ 433 w 495"/>
                <a:gd name="T75" fmla="*/ 206 h 358"/>
                <a:gd name="T76" fmla="*/ 425 w 495"/>
                <a:gd name="T77" fmla="*/ 216 h 358"/>
                <a:gd name="T78" fmla="*/ 394 w 495"/>
                <a:gd name="T79" fmla="*/ 250 h 358"/>
                <a:gd name="T80" fmla="*/ 391 w 495"/>
                <a:gd name="T81" fmla="*/ 254 h 358"/>
                <a:gd name="T82" fmla="*/ 383 w 495"/>
                <a:gd name="T83" fmla="*/ 258 h 358"/>
                <a:gd name="T84" fmla="*/ 375 w 495"/>
                <a:gd name="T85" fmla="*/ 264 h 358"/>
                <a:gd name="T86" fmla="*/ 367 w 495"/>
                <a:gd name="T87" fmla="*/ 268 h 358"/>
                <a:gd name="T88" fmla="*/ 359 w 495"/>
                <a:gd name="T89" fmla="*/ 269 h 358"/>
                <a:gd name="T90" fmla="*/ 334 w 495"/>
                <a:gd name="T91" fmla="*/ 278 h 358"/>
                <a:gd name="T92" fmla="*/ 332 w 495"/>
                <a:gd name="T93" fmla="*/ 270 h 358"/>
                <a:gd name="T94" fmla="*/ 331 w 495"/>
                <a:gd name="T95" fmla="*/ 261 h 358"/>
                <a:gd name="T96" fmla="*/ 319 w 495"/>
                <a:gd name="T97" fmla="*/ 258 h 358"/>
                <a:gd name="T98" fmla="*/ 310 w 495"/>
                <a:gd name="T99" fmla="*/ 250 h 358"/>
                <a:gd name="T100" fmla="*/ 311 w 495"/>
                <a:gd name="T101" fmla="*/ 258 h 358"/>
                <a:gd name="T102" fmla="*/ 313 w 495"/>
                <a:gd name="T103" fmla="*/ 266 h 358"/>
                <a:gd name="T104" fmla="*/ 307 w 495"/>
                <a:gd name="T105" fmla="*/ 267 h 358"/>
                <a:gd name="T106" fmla="*/ 287 w 495"/>
                <a:gd name="T107" fmla="*/ 301 h 358"/>
                <a:gd name="T108" fmla="*/ 280 w 495"/>
                <a:gd name="T109" fmla="*/ 316 h 358"/>
                <a:gd name="T110" fmla="*/ 276 w 495"/>
                <a:gd name="T111" fmla="*/ 324 h 358"/>
                <a:gd name="T112" fmla="*/ 238 w 495"/>
                <a:gd name="T113" fmla="*/ 357 h 358"/>
                <a:gd name="T114" fmla="*/ 227 w 495"/>
                <a:gd name="T115" fmla="*/ 355 h 358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5" h="358">
                  <a:moveTo>
                    <a:pt x="227" y="355"/>
                  </a:moveTo>
                  <a:cubicBezTo>
                    <a:pt x="225" y="354"/>
                    <a:pt x="224" y="351"/>
                    <a:pt x="225" y="349"/>
                  </a:cubicBezTo>
                  <a:cubicBezTo>
                    <a:pt x="226" y="347"/>
                    <a:pt x="230" y="334"/>
                    <a:pt x="233" y="321"/>
                  </a:cubicBezTo>
                  <a:cubicBezTo>
                    <a:pt x="239" y="297"/>
                    <a:pt x="239" y="297"/>
                    <a:pt x="239" y="297"/>
                  </a:cubicBezTo>
                  <a:cubicBezTo>
                    <a:pt x="219" y="277"/>
                    <a:pt x="219" y="277"/>
                    <a:pt x="219" y="277"/>
                  </a:cubicBezTo>
                  <a:cubicBezTo>
                    <a:pt x="208" y="266"/>
                    <a:pt x="199" y="255"/>
                    <a:pt x="199" y="253"/>
                  </a:cubicBezTo>
                  <a:cubicBezTo>
                    <a:pt x="199" y="251"/>
                    <a:pt x="191" y="245"/>
                    <a:pt x="183" y="239"/>
                  </a:cubicBezTo>
                  <a:cubicBezTo>
                    <a:pt x="166" y="228"/>
                    <a:pt x="153" y="229"/>
                    <a:pt x="149" y="241"/>
                  </a:cubicBezTo>
                  <a:cubicBezTo>
                    <a:pt x="147" y="245"/>
                    <a:pt x="142" y="252"/>
                    <a:pt x="136" y="255"/>
                  </a:cubicBezTo>
                  <a:cubicBezTo>
                    <a:pt x="131" y="259"/>
                    <a:pt x="127" y="264"/>
                    <a:pt x="127" y="267"/>
                  </a:cubicBezTo>
                  <a:cubicBezTo>
                    <a:pt x="127" y="270"/>
                    <a:pt x="122" y="274"/>
                    <a:pt x="118" y="276"/>
                  </a:cubicBezTo>
                  <a:cubicBezTo>
                    <a:pt x="113" y="277"/>
                    <a:pt x="104" y="284"/>
                    <a:pt x="97" y="291"/>
                  </a:cubicBezTo>
                  <a:cubicBezTo>
                    <a:pt x="89" y="299"/>
                    <a:pt x="85" y="302"/>
                    <a:pt x="83" y="298"/>
                  </a:cubicBezTo>
                  <a:cubicBezTo>
                    <a:pt x="81" y="295"/>
                    <a:pt x="77" y="294"/>
                    <a:pt x="70" y="297"/>
                  </a:cubicBezTo>
                  <a:cubicBezTo>
                    <a:pt x="51" y="304"/>
                    <a:pt x="21" y="306"/>
                    <a:pt x="13" y="300"/>
                  </a:cubicBezTo>
                  <a:cubicBezTo>
                    <a:pt x="5" y="294"/>
                    <a:pt x="7" y="275"/>
                    <a:pt x="17" y="267"/>
                  </a:cubicBezTo>
                  <a:cubicBezTo>
                    <a:pt x="21" y="264"/>
                    <a:pt x="22" y="260"/>
                    <a:pt x="19" y="252"/>
                  </a:cubicBezTo>
                  <a:cubicBezTo>
                    <a:pt x="15" y="243"/>
                    <a:pt x="16" y="235"/>
                    <a:pt x="23" y="212"/>
                  </a:cubicBezTo>
                  <a:cubicBezTo>
                    <a:pt x="34" y="178"/>
                    <a:pt x="33" y="170"/>
                    <a:pt x="20" y="160"/>
                  </a:cubicBezTo>
                  <a:cubicBezTo>
                    <a:pt x="0" y="145"/>
                    <a:pt x="10" y="118"/>
                    <a:pt x="41" y="105"/>
                  </a:cubicBezTo>
                  <a:cubicBezTo>
                    <a:pt x="58" y="98"/>
                    <a:pt x="66" y="97"/>
                    <a:pt x="87" y="99"/>
                  </a:cubicBezTo>
                  <a:cubicBezTo>
                    <a:pt x="109" y="102"/>
                    <a:pt x="116" y="101"/>
                    <a:pt x="138" y="92"/>
                  </a:cubicBezTo>
                  <a:cubicBezTo>
                    <a:pt x="151" y="86"/>
                    <a:pt x="172" y="80"/>
                    <a:pt x="184" y="78"/>
                  </a:cubicBezTo>
                  <a:cubicBezTo>
                    <a:pt x="204" y="75"/>
                    <a:pt x="204" y="75"/>
                    <a:pt x="204" y="64"/>
                  </a:cubicBezTo>
                  <a:cubicBezTo>
                    <a:pt x="203" y="51"/>
                    <a:pt x="216" y="30"/>
                    <a:pt x="224" y="30"/>
                  </a:cubicBezTo>
                  <a:cubicBezTo>
                    <a:pt x="227" y="30"/>
                    <a:pt x="240" y="23"/>
                    <a:pt x="252" y="15"/>
                  </a:cubicBezTo>
                  <a:cubicBezTo>
                    <a:pt x="279" y="0"/>
                    <a:pt x="287" y="0"/>
                    <a:pt x="296" y="17"/>
                  </a:cubicBezTo>
                  <a:cubicBezTo>
                    <a:pt x="304" y="32"/>
                    <a:pt x="319" y="41"/>
                    <a:pt x="332" y="39"/>
                  </a:cubicBezTo>
                  <a:cubicBezTo>
                    <a:pt x="340" y="37"/>
                    <a:pt x="345" y="39"/>
                    <a:pt x="355" y="50"/>
                  </a:cubicBezTo>
                  <a:cubicBezTo>
                    <a:pt x="366" y="61"/>
                    <a:pt x="368" y="62"/>
                    <a:pt x="383" y="60"/>
                  </a:cubicBezTo>
                  <a:cubicBezTo>
                    <a:pt x="392" y="58"/>
                    <a:pt x="405" y="55"/>
                    <a:pt x="411" y="51"/>
                  </a:cubicBezTo>
                  <a:cubicBezTo>
                    <a:pt x="422" y="46"/>
                    <a:pt x="424" y="46"/>
                    <a:pt x="433" y="51"/>
                  </a:cubicBezTo>
                  <a:cubicBezTo>
                    <a:pt x="441" y="56"/>
                    <a:pt x="446" y="57"/>
                    <a:pt x="463" y="53"/>
                  </a:cubicBezTo>
                  <a:cubicBezTo>
                    <a:pt x="494" y="46"/>
                    <a:pt x="495" y="47"/>
                    <a:pt x="495" y="98"/>
                  </a:cubicBezTo>
                  <a:cubicBezTo>
                    <a:pt x="495" y="142"/>
                    <a:pt x="495" y="142"/>
                    <a:pt x="495" y="142"/>
                  </a:cubicBezTo>
                  <a:cubicBezTo>
                    <a:pt x="482" y="152"/>
                    <a:pt x="482" y="152"/>
                    <a:pt x="482" y="152"/>
                  </a:cubicBezTo>
                  <a:cubicBezTo>
                    <a:pt x="476" y="158"/>
                    <a:pt x="468" y="167"/>
                    <a:pt x="465" y="173"/>
                  </a:cubicBezTo>
                  <a:cubicBezTo>
                    <a:pt x="457" y="188"/>
                    <a:pt x="440" y="206"/>
                    <a:pt x="433" y="206"/>
                  </a:cubicBezTo>
                  <a:cubicBezTo>
                    <a:pt x="430" y="206"/>
                    <a:pt x="426" y="210"/>
                    <a:pt x="425" y="216"/>
                  </a:cubicBezTo>
                  <a:cubicBezTo>
                    <a:pt x="422" y="227"/>
                    <a:pt x="401" y="250"/>
                    <a:pt x="394" y="250"/>
                  </a:cubicBezTo>
                  <a:cubicBezTo>
                    <a:pt x="392" y="250"/>
                    <a:pt x="391" y="251"/>
                    <a:pt x="391" y="254"/>
                  </a:cubicBezTo>
                  <a:cubicBezTo>
                    <a:pt x="391" y="256"/>
                    <a:pt x="387" y="258"/>
                    <a:pt x="383" y="258"/>
                  </a:cubicBezTo>
                  <a:cubicBezTo>
                    <a:pt x="378" y="258"/>
                    <a:pt x="375" y="260"/>
                    <a:pt x="375" y="264"/>
                  </a:cubicBezTo>
                  <a:cubicBezTo>
                    <a:pt x="375" y="268"/>
                    <a:pt x="372" y="269"/>
                    <a:pt x="367" y="268"/>
                  </a:cubicBezTo>
                  <a:cubicBezTo>
                    <a:pt x="362" y="266"/>
                    <a:pt x="359" y="267"/>
                    <a:pt x="359" y="269"/>
                  </a:cubicBezTo>
                  <a:cubicBezTo>
                    <a:pt x="359" y="276"/>
                    <a:pt x="344" y="282"/>
                    <a:pt x="334" y="278"/>
                  </a:cubicBezTo>
                  <a:cubicBezTo>
                    <a:pt x="327" y="275"/>
                    <a:pt x="326" y="275"/>
                    <a:pt x="332" y="270"/>
                  </a:cubicBezTo>
                  <a:cubicBezTo>
                    <a:pt x="341" y="262"/>
                    <a:pt x="340" y="256"/>
                    <a:pt x="331" y="261"/>
                  </a:cubicBezTo>
                  <a:cubicBezTo>
                    <a:pt x="324" y="265"/>
                    <a:pt x="322" y="264"/>
                    <a:pt x="319" y="258"/>
                  </a:cubicBezTo>
                  <a:cubicBezTo>
                    <a:pt x="316" y="253"/>
                    <a:pt x="312" y="250"/>
                    <a:pt x="310" y="250"/>
                  </a:cubicBezTo>
                  <a:cubicBezTo>
                    <a:pt x="308" y="250"/>
                    <a:pt x="308" y="252"/>
                    <a:pt x="311" y="258"/>
                  </a:cubicBezTo>
                  <a:cubicBezTo>
                    <a:pt x="313" y="262"/>
                    <a:pt x="314" y="266"/>
                    <a:pt x="313" y="266"/>
                  </a:cubicBezTo>
                  <a:cubicBezTo>
                    <a:pt x="311" y="266"/>
                    <a:pt x="309" y="267"/>
                    <a:pt x="307" y="267"/>
                  </a:cubicBezTo>
                  <a:cubicBezTo>
                    <a:pt x="299" y="268"/>
                    <a:pt x="287" y="289"/>
                    <a:pt x="287" y="301"/>
                  </a:cubicBezTo>
                  <a:cubicBezTo>
                    <a:pt x="287" y="309"/>
                    <a:pt x="284" y="315"/>
                    <a:pt x="280" y="316"/>
                  </a:cubicBezTo>
                  <a:cubicBezTo>
                    <a:pt x="277" y="317"/>
                    <a:pt x="275" y="321"/>
                    <a:pt x="276" y="324"/>
                  </a:cubicBezTo>
                  <a:cubicBezTo>
                    <a:pt x="278" y="330"/>
                    <a:pt x="246" y="358"/>
                    <a:pt x="238" y="357"/>
                  </a:cubicBezTo>
                  <a:cubicBezTo>
                    <a:pt x="235" y="357"/>
                    <a:pt x="230" y="356"/>
                    <a:pt x="227" y="355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8"/>
            <p:cNvSpPr/>
            <p:nvPr userDrawn="1">
              <p:custDataLst>
                <p:tags r:id="rId32"/>
              </p:custDataLst>
            </p:nvPr>
          </p:nvSpPr>
          <p:spPr bwMode="grayWhite">
            <a:xfrm>
              <a:off x="11807825" y="1363663"/>
              <a:ext cx="249238" cy="323850"/>
            </a:xfrm>
            <a:custGeom>
              <a:gdLst>
                <a:gd name="T0" fmla="*/ 72 w 91"/>
                <a:gd name="T1" fmla="*/ 99 h 117"/>
                <a:gd name="T2" fmla="*/ 56 w 91"/>
                <a:gd name="T3" fmla="*/ 70 h 117"/>
                <a:gd name="T4" fmla="*/ 15 w 91"/>
                <a:gd name="T5" fmla="*/ 37 h 117"/>
                <a:gd name="T6" fmla="*/ 0 w 91"/>
                <a:gd name="T7" fmla="*/ 22 h 117"/>
                <a:gd name="T8" fmla="*/ 9 w 91"/>
                <a:gd name="T9" fmla="*/ 11 h 117"/>
                <a:gd name="T10" fmla="*/ 18 w 91"/>
                <a:gd name="T11" fmla="*/ 0 h 117"/>
                <a:gd name="T12" fmla="*/ 32 w 91"/>
                <a:gd name="T13" fmla="*/ 7 h 117"/>
                <a:gd name="T14" fmla="*/ 57 w 91"/>
                <a:gd name="T15" fmla="*/ 30 h 117"/>
                <a:gd name="T16" fmla="*/ 79 w 91"/>
                <a:gd name="T17" fmla="*/ 55 h 117"/>
                <a:gd name="T18" fmla="*/ 91 w 91"/>
                <a:gd name="T19" fmla="*/ 64 h 117"/>
                <a:gd name="T20" fmla="*/ 85 w 91"/>
                <a:gd name="T21" fmla="*/ 89 h 117"/>
                <a:gd name="T22" fmla="*/ 77 w 91"/>
                <a:gd name="T23" fmla="*/ 116 h 117"/>
                <a:gd name="T24" fmla="*/ 72 w 91"/>
                <a:gd name="T25" fmla="*/ 99 h 117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117">
                  <a:moveTo>
                    <a:pt x="72" y="99"/>
                  </a:moveTo>
                  <a:cubicBezTo>
                    <a:pt x="69" y="78"/>
                    <a:pt x="65" y="70"/>
                    <a:pt x="56" y="70"/>
                  </a:cubicBezTo>
                  <a:cubicBezTo>
                    <a:pt x="51" y="70"/>
                    <a:pt x="37" y="59"/>
                    <a:pt x="15" y="3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40" y="11"/>
                    <a:pt x="51" y="22"/>
                    <a:pt x="57" y="30"/>
                  </a:cubicBezTo>
                  <a:cubicBezTo>
                    <a:pt x="63" y="39"/>
                    <a:pt x="73" y="50"/>
                    <a:pt x="79" y="55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2" y="103"/>
                    <a:pt x="78" y="115"/>
                    <a:pt x="77" y="116"/>
                  </a:cubicBezTo>
                  <a:cubicBezTo>
                    <a:pt x="76" y="117"/>
                    <a:pt x="74" y="110"/>
                    <a:pt x="72" y="99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9"/>
            <p:cNvSpPr/>
            <p:nvPr userDrawn="1">
              <p:custDataLst>
                <p:tags r:id="rId33"/>
              </p:custDataLst>
            </p:nvPr>
          </p:nvSpPr>
          <p:spPr bwMode="grayWhite">
            <a:xfrm>
              <a:off x="11055350" y="1444625"/>
              <a:ext cx="385763" cy="271463"/>
            </a:xfrm>
            <a:custGeom>
              <a:gdLst>
                <a:gd name="T0" fmla="*/ 10 w 141"/>
                <a:gd name="T1" fmla="*/ 93 h 98"/>
                <a:gd name="T2" fmla="*/ 0 w 141"/>
                <a:gd name="T3" fmla="*/ 74 h 98"/>
                <a:gd name="T4" fmla="*/ 9 w 141"/>
                <a:gd name="T5" fmla="*/ 55 h 98"/>
                <a:gd name="T6" fmla="*/ 20 w 141"/>
                <a:gd name="T7" fmla="*/ 43 h 98"/>
                <a:gd name="T8" fmla="*/ 39 w 141"/>
                <a:gd name="T9" fmla="*/ 27 h 98"/>
                <a:gd name="T10" fmla="*/ 49 w 141"/>
                <a:gd name="T11" fmla="*/ 22 h 98"/>
                <a:gd name="T12" fmla="*/ 56 w 141"/>
                <a:gd name="T13" fmla="*/ 20 h 98"/>
                <a:gd name="T14" fmla="*/ 70 w 141"/>
                <a:gd name="T15" fmla="*/ 21 h 98"/>
                <a:gd name="T16" fmla="*/ 86 w 141"/>
                <a:gd name="T17" fmla="*/ 9 h 98"/>
                <a:gd name="T18" fmla="*/ 122 w 141"/>
                <a:gd name="T19" fmla="*/ 3 h 98"/>
                <a:gd name="T20" fmla="*/ 141 w 141"/>
                <a:gd name="T21" fmla="*/ 5 h 98"/>
                <a:gd name="T22" fmla="*/ 137 w 141"/>
                <a:gd name="T23" fmla="*/ 21 h 98"/>
                <a:gd name="T24" fmla="*/ 123 w 141"/>
                <a:gd name="T25" fmla="*/ 32 h 98"/>
                <a:gd name="T26" fmla="*/ 76 w 141"/>
                <a:gd name="T27" fmla="*/ 53 h 98"/>
                <a:gd name="T28" fmla="*/ 57 w 141"/>
                <a:gd name="T29" fmla="*/ 68 h 98"/>
                <a:gd name="T30" fmla="*/ 38 w 141"/>
                <a:gd name="T31" fmla="*/ 86 h 98"/>
                <a:gd name="T32" fmla="*/ 10 w 141"/>
                <a:gd name="T33" fmla="*/ 93 h 98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1" h="98">
                  <a:moveTo>
                    <a:pt x="10" y="93"/>
                  </a:moveTo>
                  <a:cubicBezTo>
                    <a:pt x="1" y="91"/>
                    <a:pt x="0" y="88"/>
                    <a:pt x="0" y="74"/>
                  </a:cubicBezTo>
                  <a:cubicBezTo>
                    <a:pt x="0" y="62"/>
                    <a:pt x="1" y="58"/>
                    <a:pt x="9" y="55"/>
                  </a:cubicBezTo>
                  <a:cubicBezTo>
                    <a:pt x="14" y="52"/>
                    <a:pt x="19" y="47"/>
                    <a:pt x="20" y="43"/>
                  </a:cubicBezTo>
                  <a:cubicBezTo>
                    <a:pt x="23" y="33"/>
                    <a:pt x="34" y="24"/>
                    <a:pt x="39" y="27"/>
                  </a:cubicBezTo>
                  <a:cubicBezTo>
                    <a:pt x="41" y="29"/>
                    <a:pt x="45" y="26"/>
                    <a:pt x="49" y="22"/>
                  </a:cubicBezTo>
                  <a:cubicBezTo>
                    <a:pt x="53" y="17"/>
                    <a:pt x="55" y="16"/>
                    <a:pt x="56" y="20"/>
                  </a:cubicBezTo>
                  <a:cubicBezTo>
                    <a:pt x="58" y="25"/>
                    <a:pt x="70" y="26"/>
                    <a:pt x="70" y="21"/>
                  </a:cubicBezTo>
                  <a:cubicBezTo>
                    <a:pt x="70" y="19"/>
                    <a:pt x="77" y="13"/>
                    <a:pt x="86" y="9"/>
                  </a:cubicBezTo>
                  <a:cubicBezTo>
                    <a:pt x="99" y="2"/>
                    <a:pt x="107" y="0"/>
                    <a:pt x="122" y="3"/>
                  </a:cubicBezTo>
                  <a:cubicBezTo>
                    <a:pt x="141" y="5"/>
                    <a:pt x="141" y="5"/>
                    <a:pt x="141" y="5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33" y="35"/>
                    <a:pt x="132" y="36"/>
                    <a:pt x="123" y="32"/>
                  </a:cubicBezTo>
                  <a:cubicBezTo>
                    <a:pt x="111" y="28"/>
                    <a:pt x="86" y="39"/>
                    <a:pt x="76" y="53"/>
                  </a:cubicBezTo>
                  <a:cubicBezTo>
                    <a:pt x="73" y="57"/>
                    <a:pt x="64" y="64"/>
                    <a:pt x="57" y="68"/>
                  </a:cubicBezTo>
                  <a:cubicBezTo>
                    <a:pt x="50" y="72"/>
                    <a:pt x="41" y="80"/>
                    <a:pt x="38" y="86"/>
                  </a:cubicBezTo>
                  <a:cubicBezTo>
                    <a:pt x="33" y="97"/>
                    <a:pt x="28" y="98"/>
                    <a:pt x="10" y="93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0"/>
            <p:cNvSpPr/>
            <p:nvPr userDrawn="1">
              <p:custDataLst>
                <p:tags r:id="rId34"/>
              </p:custDataLst>
            </p:nvPr>
          </p:nvSpPr>
          <p:spPr bwMode="grayWhite">
            <a:xfrm>
              <a:off x="11010900" y="1531938"/>
              <a:ext cx="487363" cy="425450"/>
            </a:xfrm>
            <a:custGeom>
              <a:gdLst>
                <a:gd name="T0" fmla="*/ 48 w 178"/>
                <a:gd name="T1" fmla="*/ 148 h 153"/>
                <a:gd name="T2" fmla="*/ 5 w 178"/>
                <a:gd name="T3" fmla="*/ 119 h 153"/>
                <a:gd name="T4" fmla="*/ 7 w 178"/>
                <a:gd name="T5" fmla="*/ 106 h 153"/>
                <a:gd name="T6" fmla="*/ 6 w 178"/>
                <a:gd name="T7" fmla="*/ 88 h 153"/>
                <a:gd name="T8" fmla="*/ 7 w 178"/>
                <a:gd name="T9" fmla="*/ 79 h 153"/>
                <a:gd name="T10" fmla="*/ 17 w 178"/>
                <a:gd name="T11" fmla="*/ 73 h 153"/>
                <a:gd name="T12" fmla="*/ 35 w 178"/>
                <a:gd name="T13" fmla="*/ 66 h 153"/>
                <a:gd name="T14" fmla="*/ 58 w 178"/>
                <a:gd name="T15" fmla="*/ 55 h 153"/>
                <a:gd name="T16" fmla="*/ 75 w 178"/>
                <a:gd name="T17" fmla="*/ 39 h 153"/>
                <a:gd name="T18" fmla="*/ 94 w 178"/>
                <a:gd name="T19" fmla="*/ 24 h 153"/>
                <a:gd name="T20" fmla="*/ 139 w 178"/>
                <a:gd name="T21" fmla="*/ 4 h 153"/>
                <a:gd name="T22" fmla="*/ 150 w 178"/>
                <a:gd name="T23" fmla="*/ 6 h 153"/>
                <a:gd name="T24" fmla="*/ 163 w 178"/>
                <a:gd name="T25" fmla="*/ 11 h 153"/>
                <a:gd name="T26" fmla="*/ 177 w 178"/>
                <a:gd name="T27" fmla="*/ 19 h 153"/>
                <a:gd name="T28" fmla="*/ 169 w 178"/>
                <a:gd name="T29" fmla="*/ 35 h 153"/>
                <a:gd name="T30" fmla="*/ 159 w 178"/>
                <a:gd name="T31" fmla="*/ 61 h 153"/>
                <a:gd name="T32" fmla="*/ 143 w 178"/>
                <a:gd name="T33" fmla="*/ 108 h 153"/>
                <a:gd name="T34" fmla="*/ 126 w 178"/>
                <a:gd name="T35" fmla="*/ 113 h 153"/>
                <a:gd name="T36" fmla="*/ 115 w 178"/>
                <a:gd name="T37" fmla="*/ 117 h 153"/>
                <a:gd name="T38" fmla="*/ 62 w 178"/>
                <a:gd name="T39" fmla="*/ 152 h 153"/>
                <a:gd name="T40" fmla="*/ 48 w 178"/>
                <a:gd name="T41" fmla="*/ 148 h 153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8" h="153">
                  <a:moveTo>
                    <a:pt x="48" y="148"/>
                  </a:moveTo>
                  <a:cubicBezTo>
                    <a:pt x="35" y="143"/>
                    <a:pt x="10" y="126"/>
                    <a:pt x="5" y="119"/>
                  </a:cubicBezTo>
                  <a:cubicBezTo>
                    <a:pt x="3" y="117"/>
                    <a:pt x="4" y="111"/>
                    <a:pt x="7" y="106"/>
                  </a:cubicBezTo>
                  <a:cubicBezTo>
                    <a:pt x="10" y="98"/>
                    <a:pt x="10" y="94"/>
                    <a:pt x="6" y="88"/>
                  </a:cubicBezTo>
                  <a:cubicBezTo>
                    <a:pt x="0" y="78"/>
                    <a:pt x="0" y="76"/>
                    <a:pt x="7" y="79"/>
                  </a:cubicBezTo>
                  <a:cubicBezTo>
                    <a:pt x="10" y="80"/>
                    <a:pt x="15" y="78"/>
                    <a:pt x="17" y="73"/>
                  </a:cubicBezTo>
                  <a:cubicBezTo>
                    <a:pt x="21" y="66"/>
                    <a:pt x="24" y="65"/>
                    <a:pt x="35" y="66"/>
                  </a:cubicBezTo>
                  <a:cubicBezTo>
                    <a:pt x="49" y="69"/>
                    <a:pt x="56" y="66"/>
                    <a:pt x="58" y="55"/>
                  </a:cubicBezTo>
                  <a:cubicBezTo>
                    <a:pt x="59" y="51"/>
                    <a:pt x="66" y="44"/>
                    <a:pt x="75" y="39"/>
                  </a:cubicBezTo>
                  <a:cubicBezTo>
                    <a:pt x="83" y="35"/>
                    <a:pt x="92" y="28"/>
                    <a:pt x="94" y="24"/>
                  </a:cubicBezTo>
                  <a:cubicBezTo>
                    <a:pt x="100" y="11"/>
                    <a:pt x="127" y="0"/>
                    <a:pt x="139" y="4"/>
                  </a:cubicBezTo>
                  <a:cubicBezTo>
                    <a:pt x="145" y="7"/>
                    <a:pt x="150" y="7"/>
                    <a:pt x="150" y="6"/>
                  </a:cubicBezTo>
                  <a:cubicBezTo>
                    <a:pt x="150" y="5"/>
                    <a:pt x="155" y="7"/>
                    <a:pt x="163" y="11"/>
                  </a:cubicBezTo>
                  <a:cubicBezTo>
                    <a:pt x="170" y="15"/>
                    <a:pt x="176" y="19"/>
                    <a:pt x="177" y="19"/>
                  </a:cubicBezTo>
                  <a:cubicBezTo>
                    <a:pt x="178" y="20"/>
                    <a:pt x="174" y="27"/>
                    <a:pt x="169" y="35"/>
                  </a:cubicBezTo>
                  <a:cubicBezTo>
                    <a:pt x="164" y="44"/>
                    <a:pt x="160" y="55"/>
                    <a:pt x="159" y="61"/>
                  </a:cubicBezTo>
                  <a:cubicBezTo>
                    <a:pt x="155" y="96"/>
                    <a:pt x="152" y="104"/>
                    <a:pt x="143" y="108"/>
                  </a:cubicBezTo>
                  <a:cubicBezTo>
                    <a:pt x="138" y="111"/>
                    <a:pt x="130" y="113"/>
                    <a:pt x="126" y="113"/>
                  </a:cubicBezTo>
                  <a:cubicBezTo>
                    <a:pt x="121" y="113"/>
                    <a:pt x="117" y="114"/>
                    <a:pt x="115" y="117"/>
                  </a:cubicBezTo>
                  <a:cubicBezTo>
                    <a:pt x="112" y="122"/>
                    <a:pt x="66" y="153"/>
                    <a:pt x="62" y="152"/>
                  </a:cubicBezTo>
                  <a:cubicBezTo>
                    <a:pt x="61" y="152"/>
                    <a:pt x="54" y="150"/>
                    <a:pt x="48" y="148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1"/>
            <p:cNvSpPr/>
            <p:nvPr userDrawn="1">
              <p:custDataLst>
                <p:tags r:id="rId35"/>
              </p:custDataLst>
            </p:nvPr>
          </p:nvSpPr>
          <p:spPr bwMode="grayWhite">
            <a:xfrm>
              <a:off x="11342688" y="1423988"/>
              <a:ext cx="833438" cy="649288"/>
            </a:xfrm>
            <a:custGeom>
              <a:gdLst>
                <a:gd name="T0" fmla="*/ 116 w 304"/>
                <a:gd name="T1" fmla="*/ 229 h 234"/>
                <a:gd name="T2" fmla="*/ 109 w 304"/>
                <a:gd name="T3" fmla="*/ 219 h 234"/>
                <a:gd name="T4" fmla="*/ 104 w 304"/>
                <a:gd name="T5" fmla="*/ 209 h 234"/>
                <a:gd name="T6" fmla="*/ 104 w 304"/>
                <a:gd name="T7" fmla="*/ 202 h 234"/>
                <a:gd name="T8" fmla="*/ 98 w 304"/>
                <a:gd name="T9" fmla="*/ 194 h 234"/>
                <a:gd name="T10" fmla="*/ 85 w 304"/>
                <a:gd name="T11" fmla="*/ 196 h 234"/>
                <a:gd name="T12" fmla="*/ 58 w 304"/>
                <a:gd name="T13" fmla="*/ 192 h 234"/>
                <a:gd name="T14" fmla="*/ 40 w 304"/>
                <a:gd name="T15" fmla="*/ 181 h 234"/>
                <a:gd name="T16" fmla="*/ 21 w 304"/>
                <a:gd name="T17" fmla="*/ 171 h 234"/>
                <a:gd name="T18" fmla="*/ 7 w 304"/>
                <a:gd name="T19" fmla="*/ 159 h 234"/>
                <a:gd name="T20" fmla="*/ 6 w 304"/>
                <a:gd name="T21" fmla="*/ 156 h 234"/>
                <a:gd name="T22" fmla="*/ 24 w 304"/>
                <a:gd name="T23" fmla="*/ 150 h 234"/>
                <a:gd name="T24" fmla="*/ 42 w 304"/>
                <a:gd name="T25" fmla="*/ 100 h 234"/>
                <a:gd name="T26" fmla="*/ 54 w 304"/>
                <a:gd name="T27" fmla="*/ 71 h 234"/>
                <a:gd name="T28" fmla="*/ 75 w 304"/>
                <a:gd name="T29" fmla="*/ 52 h 234"/>
                <a:gd name="T30" fmla="*/ 94 w 304"/>
                <a:gd name="T31" fmla="*/ 48 h 234"/>
                <a:gd name="T32" fmla="*/ 107 w 304"/>
                <a:gd name="T33" fmla="*/ 48 h 234"/>
                <a:gd name="T34" fmla="*/ 123 w 304"/>
                <a:gd name="T35" fmla="*/ 43 h 234"/>
                <a:gd name="T36" fmla="*/ 141 w 304"/>
                <a:gd name="T37" fmla="*/ 27 h 234"/>
                <a:gd name="T38" fmla="*/ 157 w 304"/>
                <a:gd name="T39" fmla="*/ 14 h 234"/>
                <a:gd name="T40" fmla="*/ 182 w 304"/>
                <a:gd name="T41" fmla="*/ 19 h 234"/>
                <a:gd name="T42" fmla="*/ 192 w 304"/>
                <a:gd name="T43" fmla="*/ 29 h 234"/>
                <a:gd name="T44" fmla="*/ 209 w 304"/>
                <a:gd name="T45" fmla="*/ 41 h 234"/>
                <a:gd name="T46" fmla="*/ 226 w 304"/>
                <a:gd name="T47" fmla="*/ 52 h 234"/>
                <a:gd name="T48" fmla="*/ 238 w 304"/>
                <a:gd name="T49" fmla="*/ 76 h 234"/>
                <a:gd name="T50" fmla="*/ 259 w 304"/>
                <a:gd name="T51" fmla="*/ 106 h 234"/>
                <a:gd name="T52" fmla="*/ 279 w 304"/>
                <a:gd name="T53" fmla="*/ 100 h 234"/>
                <a:gd name="T54" fmla="*/ 302 w 304"/>
                <a:gd name="T55" fmla="*/ 102 h 234"/>
                <a:gd name="T56" fmla="*/ 299 w 304"/>
                <a:gd name="T57" fmla="*/ 119 h 234"/>
                <a:gd name="T58" fmla="*/ 293 w 304"/>
                <a:gd name="T59" fmla="*/ 120 h 234"/>
                <a:gd name="T60" fmla="*/ 289 w 304"/>
                <a:gd name="T61" fmla="*/ 117 h 234"/>
                <a:gd name="T62" fmla="*/ 291 w 304"/>
                <a:gd name="T63" fmla="*/ 159 h 234"/>
                <a:gd name="T64" fmla="*/ 294 w 304"/>
                <a:gd name="T65" fmla="*/ 176 h 234"/>
                <a:gd name="T66" fmla="*/ 283 w 304"/>
                <a:gd name="T67" fmla="*/ 172 h 234"/>
                <a:gd name="T68" fmla="*/ 264 w 304"/>
                <a:gd name="T69" fmla="*/ 171 h 234"/>
                <a:gd name="T70" fmla="*/ 252 w 304"/>
                <a:gd name="T71" fmla="*/ 174 h 234"/>
                <a:gd name="T72" fmla="*/ 214 w 304"/>
                <a:gd name="T73" fmla="*/ 200 h 234"/>
                <a:gd name="T74" fmla="*/ 116 w 304"/>
                <a:gd name="T75" fmla="*/ 229 h 234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4" h="234">
                  <a:moveTo>
                    <a:pt x="116" y="229"/>
                  </a:moveTo>
                  <a:cubicBezTo>
                    <a:pt x="112" y="228"/>
                    <a:pt x="109" y="224"/>
                    <a:pt x="109" y="219"/>
                  </a:cubicBezTo>
                  <a:cubicBezTo>
                    <a:pt x="109" y="215"/>
                    <a:pt x="107" y="211"/>
                    <a:pt x="104" y="209"/>
                  </a:cubicBezTo>
                  <a:cubicBezTo>
                    <a:pt x="101" y="208"/>
                    <a:pt x="101" y="205"/>
                    <a:pt x="104" y="202"/>
                  </a:cubicBezTo>
                  <a:cubicBezTo>
                    <a:pt x="108" y="198"/>
                    <a:pt x="106" y="196"/>
                    <a:pt x="98" y="194"/>
                  </a:cubicBezTo>
                  <a:cubicBezTo>
                    <a:pt x="92" y="193"/>
                    <a:pt x="86" y="194"/>
                    <a:pt x="85" y="196"/>
                  </a:cubicBezTo>
                  <a:cubicBezTo>
                    <a:pt x="83" y="203"/>
                    <a:pt x="63" y="200"/>
                    <a:pt x="58" y="192"/>
                  </a:cubicBezTo>
                  <a:cubicBezTo>
                    <a:pt x="55" y="188"/>
                    <a:pt x="47" y="183"/>
                    <a:pt x="40" y="181"/>
                  </a:cubicBezTo>
                  <a:cubicBezTo>
                    <a:pt x="32" y="180"/>
                    <a:pt x="24" y="175"/>
                    <a:pt x="21" y="171"/>
                  </a:cubicBezTo>
                  <a:cubicBezTo>
                    <a:pt x="18" y="166"/>
                    <a:pt x="12" y="161"/>
                    <a:pt x="7" y="159"/>
                  </a:cubicBezTo>
                  <a:cubicBezTo>
                    <a:pt x="0" y="157"/>
                    <a:pt x="0" y="156"/>
                    <a:pt x="6" y="156"/>
                  </a:cubicBezTo>
                  <a:cubicBezTo>
                    <a:pt x="10" y="156"/>
                    <a:pt x="18" y="153"/>
                    <a:pt x="24" y="150"/>
                  </a:cubicBezTo>
                  <a:cubicBezTo>
                    <a:pt x="35" y="144"/>
                    <a:pt x="37" y="138"/>
                    <a:pt x="42" y="100"/>
                  </a:cubicBezTo>
                  <a:cubicBezTo>
                    <a:pt x="43" y="94"/>
                    <a:pt x="48" y="81"/>
                    <a:pt x="54" y="71"/>
                  </a:cubicBezTo>
                  <a:cubicBezTo>
                    <a:pt x="62" y="56"/>
                    <a:pt x="68" y="52"/>
                    <a:pt x="75" y="52"/>
                  </a:cubicBezTo>
                  <a:cubicBezTo>
                    <a:pt x="80" y="52"/>
                    <a:pt x="89" y="50"/>
                    <a:pt x="94" y="48"/>
                  </a:cubicBezTo>
                  <a:cubicBezTo>
                    <a:pt x="101" y="45"/>
                    <a:pt x="105" y="45"/>
                    <a:pt x="107" y="48"/>
                  </a:cubicBezTo>
                  <a:cubicBezTo>
                    <a:pt x="111" y="54"/>
                    <a:pt x="120" y="52"/>
                    <a:pt x="123" y="43"/>
                  </a:cubicBezTo>
                  <a:cubicBezTo>
                    <a:pt x="124" y="39"/>
                    <a:pt x="132" y="32"/>
                    <a:pt x="141" y="27"/>
                  </a:cubicBezTo>
                  <a:cubicBezTo>
                    <a:pt x="149" y="23"/>
                    <a:pt x="157" y="17"/>
                    <a:pt x="157" y="14"/>
                  </a:cubicBezTo>
                  <a:cubicBezTo>
                    <a:pt x="157" y="0"/>
                    <a:pt x="178" y="4"/>
                    <a:pt x="182" y="19"/>
                  </a:cubicBezTo>
                  <a:cubicBezTo>
                    <a:pt x="184" y="24"/>
                    <a:pt x="188" y="28"/>
                    <a:pt x="192" y="29"/>
                  </a:cubicBezTo>
                  <a:cubicBezTo>
                    <a:pt x="196" y="31"/>
                    <a:pt x="204" y="36"/>
                    <a:pt x="209" y="41"/>
                  </a:cubicBezTo>
                  <a:cubicBezTo>
                    <a:pt x="214" y="46"/>
                    <a:pt x="222" y="51"/>
                    <a:pt x="226" y="52"/>
                  </a:cubicBezTo>
                  <a:cubicBezTo>
                    <a:pt x="232" y="53"/>
                    <a:pt x="235" y="59"/>
                    <a:pt x="238" y="76"/>
                  </a:cubicBezTo>
                  <a:cubicBezTo>
                    <a:pt x="244" y="103"/>
                    <a:pt x="244" y="103"/>
                    <a:pt x="259" y="106"/>
                  </a:cubicBezTo>
                  <a:cubicBezTo>
                    <a:pt x="267" y="107"/>
                    <a:pt x="273" y="106"/>
                    <a:pt x="279" y="100"/>
                  </a:cubicBezTo>
                  <a:cubicBezTo>
                    <a:pt x="291" y="89"/>
                    <a:pt x="299" y="89"/>
                    <a:pt x="302" y="102"/>
                  </a:cubicBezTo>
                  <a:cubicBezTo>
                    <a:pt x="304" y="109"/>
                    <a:pt x="303" y="115"/>
                    <a:pt x="299" y="119"/>
                  </a:cubicBezTo>
                  <a:cubicBezTo>
                    <a:pt x="294" y="123"/>
                    <a:pt x="293" y="124"/>
                    <a:pt x="293" y="120"/>
                  </a:cubicBezTo>
                  <a:cubicBezTo>
                    <a:pt x="293" y="117"/>
                    <a:pt x="291" y="116"/>
                    <a:pt x="289" y="117"/>
                  </a:cubicBezTo>
                  <a:cubicBezTo>
                    <a:pt x="285" y="119"/>
                    <a:pt x="286" y="132"/>
                    <a:pt x="291" y="159"/>
                  </a:cubicBezTo>
                  <a:cubicBezTo>
                    <a:pt x="294" y="176"/>
                    <a:pt x="294" y="176"/>
                    <a:pt x="294" y="176"/>
                  </a:cubicBezTo>
                  <a:cubicBezTo>
                    <a:pt x="283" y="172"/>
                    <a:pt x="283" y="172"/>
                    <a:pt x="283" y="172"/>
                  </a:cubicBezTo>
                  <a:cubicBezTo>
                    <a:pt x="277" y="169"/>
                    <a:pt x="269" y="169"/>
                    <a:pt x="264" y="171"/>
                  </a:cubicBezTo>
                  <a:cubicBezTo>
                    <a:pt x="259" y="173"/>
                    <a:pt x="253" y="174"/>
                    <a:pt x="252" y="174"/>
                  </a:cubicBezTo>
                  <a:cubicBezTo>
                    <a:pt x="246" y="173"/>
                    <a:pt x="217" y="194"/>
                    <a:pt x="214" y="200"/>
                  </a:cubicBezTo>
                  <a:cubicBezTo>
                    <a:pt x="210" y="213"/>
                    <a:pt x="137" y="234"/>
                    <a:pt x="116" y="229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2"/>
            <p:cNvSpPr/>
            <p:nvPr userDrawn="1">
              <p:custDataLst>
                <p:tags r:id="rId36"/>
              </p:custDataLst>
            </p:nvPr>
          </p:nvSpPr>
          <p:spPr bwMode="grayWhite">
            <a:xfrm>
              <a:off x="11222038" y="1868488"/>
              <a:ext cx="476250" cy="485775"/>
            </a:xfrm>
            <a:custGeom>
              <a:gdLst>
                <a:gd name="T0" fmla="*/ 105 w 174"/>
                <a:gd name="T1" fmla="*/ 170 h 175"/>
                <a:gd name="T2" fmla="*/ 95 w 174"/>
                <a:gd name="T3" fmla="*/ 157 h 175"/>
                <a:gd name="T4" fmla="*/ 87 w 174"/>
                <a:gd name="T5" fmla="*/ 146 h 175"/>
                <a:gd name="T6" fmla="*/ 80 w 174"/>
                <a:gd name="T7" fmla="*/ 138 h 175"/>
                <a:gd name="T8" fmla="*/ 51 w 174"/>
                <a:gd name="T9" fmla="*/ 122 h 175"/>
                <a:gd name="T10" fmla="*/ 49 w 174"/>
                <a:gd name="T11" fmla="*/ 114 h 175"/>
                <a:gd name="T12" fmla="*/ 47 w 174"/>
                <a:gd name="T13" fmla="*/ 107 h 175"/>
                <a:gd name="T14" fmla="*/ 37 w 174"/>
                <a:gd name="T15" fmla="*/ 91 h 175"/>
                <a:gd name="T16" fmla="*/ 22 w 174"/>
                <a:gd name="T17" fmla="*/ 66 h 175"/>
                <a:gd name="T18" fmla="*/ 12 w 174"/>
                <a:gd name="T19" fmla="*/ 46 h 175"/>
                <a:gd name="T20" fmla="*/ 22 w 174"/>
                <a:gd name="T21" fmla="*/ 12 h 175"/>
                <a:gd name="T22" fmla="*/ 50 w 174"/>
                <a:gd name="T23" fmla="*/ 3 h 175"/>
                <a:gd name="T24" fmla="*/ 64 w 174"/>
                <a:gd name="T25" fmla="*/ 15 h 175"/>
                <a:gd name="T26" fmla="*/ 82 w 174"/>
                <a:gd name="T27" fmla="*/ 25 h 175"/>
                <a:gd name="T28" fmla="*/ 101 w 174"/>
                <a:gd name="T29" fmla="*/ 36 h 175"/>
                <a:gd name="T30" fmla="*/ 119 w 174"/>
                <a:gd name="T31" fmla="*/ 44 h 175"/>
                <a:gd name="T32" fmla="*/ 133 w 174"/>
                <a:gd name="T33" fmla="*/ 40 h 175"/>
                <a:gd name="T34" fmla="*/ 139 w 174"/>
                <a:gd name="T35" fmla="*/ 38 h 175"/>
                <a:gd name="T36" fmla="*/ 143 w 174"/>
                <a:gd name="T37" fmla="*/ 43 h 175"/>
                <a:gd name="T38" fmla="*/ 145 w 174"/>
                <a:gd name="T39" fmla="*/ 50 h 175"/>
                <a:gd name="T40" fmla="*/ 149 w 174"/>
                <a:gd name="T41" fmla="*/ 72 h 175"/>
                <a:gd name="T42" fmla="*/ 161 w 174"/>
                <a:gd name="T43" fmla="*/ 94 h 175"/>
                <a:gd name="T44" fmla="*/ 167 w 174"/>
                <a:gd name="T45" fmla="*/ 116 h 175"/>
                <a:gd name="T46" fmla="*/ 161 w 174"/>
                <a:gd name="T47" fmla="*/ 138 h 175"/>
                <a:gd name="T48" fmla="*/ 140 w 174"/>
                <a:gd name="T49" fmla="*/ 159 h 175"/>
                <a:gd name="T50" fmla="*/ 112 w 174"/>
                <a:gd name="T51" fmla="*/ 172 h 175"/>
                <a:gd name="T52" fmla="*/ 105 w 174"/>
                <a:gd name="T53" fmla="*/ 170 h 175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4" h="175">
                  <a:moveTo>
                    <a:pt x="105" y="170"/>
                  </a:moveTo>
                  <a:cubicBezTo>
                    <a:pt x="105" y="166"/>
                    <a:pt x="100" y="161"/>
                    <a:pt x="95" y="157"/>
                  </a:cubicBezTo>
                  <a:cubicBezTo>
                    <a:pt x="89" y="154"/>
                    <a:pt x="86" y="149"/>
                    <a:pt x="87" y="146"/>
                  </a:cubicBezTo>
                  <a:cubicBezTo>
                    <a:pt x="88" y="142"/>
                    <a:pt x="85" y="139"/>
                    <a:pt x="80" y="138"/>
                  </a:cubicBezTo>
                  <a:cubicBezTo>
                    <a:pt x="58" y="131"/>
                    <a:pt x="49" y="127"/>
                    <a:pt x="51" y="122"/>
                  </a:cubicBezTo>
                  <a:cubicBezTo>
                    <a:pt x="52" y="119"/>
                    <a:pt x="51" y="115"/>
                    <a:pt x="49" y="114"/>
                  </a:cubicBezTo>
                  <a:cubicBezTo>
                    <a:pt x="46" y="112"/>
                    <a:pt x="46" y="109"/>
                    <a:pt x="47" y="107"/>
                  </a:cubicBezTo>
                  <a:cubicBezTo>
                    <a:pt x="48" y="105"/>
                    <a:pt x="44" y="98"/>
                    <a:pt x="37" y="91"/>
                  </a:cubicBezTo>
                  <a:cubicBezTo>
                    <a:pt x="31" y="84"/>
                    <a:pt x="24" y="73"/>
                    <a:pt x="22" y="66"/>
                  </a:cubicBezTo>
                  <a:cubicBezTo>
                    <a:pt x="21" y="59"/>
                    <a:pt x="16" y="50"/>
                    <a:pt x="12" y="46"/>
                  </a:cubicBezTo>
                  <a:cubicBezTo>
                    <a:pt x="0" y="35"/>
                    <a:pt x="3" y="26"/>
                    <a:pt x="22" y="12"/>
                  </a:cubicBezTo>
                  <a:cubicBezTo>
                    <a:pt x="37" y="2"/>
                    <a:pt x="42" y="0"/>
                    <a:pt x="50" y="3"/>
                  </a:cubicBezTo>
                  <a:cubicBezTo>
                    <a:pt x="56" y="5"/>
                    <a:pt x="62" y="11"/>
                    <a:pt x="64" y="15"/>
                  </a:cubicBezTo>
                  <a:cubicBezTo>
                    <a:pt x="66" y="19"/>
                    <a:pt x="75" y="24"/>
                    <a:pt x="82" y="25"/>
                  </a:cubicBezTo>
                  <a:cubicBezTo>
                    <a:pt x="90" y="27"/>
                    <a:pt x="98" y="31"/>
                    <a:pt x="101" y="36"/>
                  </a:cubicBezTo>
                  <a:cubicBezTo>
                    <a:pt x="104" y="41"/>
                    <a:pt x="109" y="44"/>
                    <a:pt x="119" y="44"/>
                  </a:cubicBezTo>
                  <a:cubicBezTo>
                    <a:pt x="126" y="44"/>
                    <a:pt x="133" y="42"/>
                    <a:pt x="133" y="40"/>
                  </a:cubicBezTo>
                  <a:cubicBezTo>
                    <a:pt x="133" y="38"/>
                    <a:pt x="135" y="37"/>
                    <a:pt x="139" y="38"/>
                  </a:cubicBezTo>
                  <a:cubicBezTo>
                    <a:pt x="142" y="39"/>
                    <a:pt x="144" y="41"/>
                    <a:pt x="143" y="43"/>
                  </a:cubicBezTo>
                  <a:cubicBezTo>
                    <a:pt x="142" y="44"/>
                    <a:pt x="143" y="47"/>
                    <a:pt x="145" y="50"/>
                  </a:cubicBezTo>
                  <a:cubicBezTo>
                    <a:pt x="147" y="53"/>
                    <a:pt x="149" y="63"/>
                    <a:pt x="149" y="72"/>
                  </a:cubicBezTo>
                  <a:cubicBezTo>
                    <a:pt x="149" y="85"/>
                    <a:pt x="151" y="88"/>
                    <a:pt x="161" y="94"/>
                  </a:cubicBezTo>
                  <a:cubicBezTo>
                    <a:pt x="174" y="101"/>
                    <a:pt x="174" y="102"/>
                    <a:pt x="167" y="116"/>
                  </a:cubicBezTo>
                  <a:cubicBezTo>
                    <a:pt x="163" y="121"/>
                    <a:pt x="161" y="131"/>
                    <a:pt x="161" y="138"/>
                  </a:cubicBezTo>
                  <a:cubicBezTo>
                    <a:pt x="161" y="148"/>
                    <a:pt x="158" y="151"/>
                    <a:pt x="140" y="159"/>
                  </a:cubicBezTo>
                  <a:cubicBezTo>
                    <a:pt x="128" y="165"/>
                    <a:pt x="115" y="170"/>
                    <a:pt x="112" y="172"/>
                  </a:cubicBezTo>
                  <a:cubicBezTo>
                    <a:pt x="106" y="175"/>
                    <a:pt x="105" y="174"/>
                    <a:pt x="105" y="170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3"/>
            <p:cNvSpPr/>
            <p:nvPr userDrawn="1">
              <p:custDataLst>
                <p:tags r:id="rId37"/>
              </p:custDataLst>
            </p:nvPr>
          </p:nvSpPr>
          <p:spPr bwMode="grayWhite">
            <a:xfrm>
              <a:off x="10806113" y="1865313"/>
              <a:ext cx="223838" cy="214313"/>
            </a:xfrm>
            <a:custGeom>
              <a:gdLst>
                <a:gd name="T0" fmla="*/ 0 w 82"/>
                <a:gd name="T1" fmla="*/ 71 h 77"/>
                <a:gd name="T2" fmla="*/ 1 w 82"/>
                <a:gd name="T3" fmla="*/ 63 h 77"/>
                <a:gd name="T4" fmla="*/ 2 w 82"/>
                <a:gd name="T5" fmla="*/ 43 h 77"/>
                <a:gd name="T6" fmla="*/ 17 w 82"/>
                <a:gd name="T7" fmla="*/ 25 h 77"/>
                <a:gd name="T8" fmla="*/ 37 w 82"/>
                <a:gd name="T9" fmla="*/ 19 h 77"/>
                <a:gd name="T10" fmla="*/ 77 w 82"/>
                <a:gd name="T11" fmla="*/ 3 h 77"/>
                <a:gd name="T12" fmla="*/ 68 w 82"/>
                <a:gd name="T13" fmla="*/ 27 h 77"/>
                <a:gd name="T14" fmla="*/ 61 w 82"/>
                <a:gd name="T15" fmla="*/ 36 h 77"/>
                <a:gd name="T16" fmla="*/ 56 w 82"/>
                <a:gd name="T17" fmla="*/ 56 h 77"/>
                <a:gd name="T18" fmla="*/ 44 w 82"/>
                <a:gd name="T19" fmla="*/ 66 h 77"/>
                <a:gd name="T20" fmla="*/ 33 w 82"/>
                <a:gd name="T21" fmla="*/ 63 h 77"/>
                <a:gd name="T22" fmla="*/ 25 w 82"/>
                <a:gd name="T23" fmla="*/ 66 h 77"/>
                <a:gd name="T24" fmla="*/ 0 w 82"/>
                <a:gd name="T25" fmla="*/ 71 h 77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77">
                  <a:moveTo>
                    <a:pt x="0" y="71"/>
                  </a:moveTo>
                  <a:cubicBezTo>
                    <a:pt x="0" y="69"/>
                    <a:pt x="0" y="65"/>
                    <a:pt x="1" y="63"/>
                  </a:cubicBezTo>
                  <a:cubicBezTo>
                    <a:pt x="2" y="60"/>
                    <a:pt x="2" y="51"/>
                    <a:pt x="2" y="43"/>
                  </a:cubicBezTo>
                  <a:cubicBezTo>
                    <a:pt x="3" y="27"/>
                    <a:pt x="3" y="26"/>
                    <a:pt x="17" y="25"/>
                  </a:cubicBezTo>
                  <a:cubicBezTo>
                    <a:pt x="24" y="24"/>
                    <a:pt x="33" y="22"/>
                    <a:pt x="37" y="19"/>
                  </a:cubicBezTo>
                  <a:cubicBezTo>
                    <a:pt x="47" y="10"/>
                    <a:pt x="73" y="0"/>
                    <a:pt x="77" y="3"/>
                  </a:cubicBezTo>
                  <a:cubicBezTo>
                    <a:pt x="82" y="9"/>
                    <a:pt x="76" y="24"/>
                    <a:pt x="68" y="27"/>
                  </a:cubicBezTo>
                  <a:cubicBezTo>
                    <a:pt x="64" y="28"/>
                    <a:pt x="61" y="32"/>
                    <a:pt x="61" y="36"/>
                  </a:cubicBezTo>
                  <a:cubicBezTo>
                    <a:pt x="61" y="40"/>
                    <a:pt x="59" y="49"/>
                    <a:pt x="56" y="56"/>
                  </a:cubicBezTo>
                  <a:cubicBezTo>
                    <a:pt x="53" y="65"/>
                    <a:pt x="50" y="68"/>
                    <a:pt x="44" y="66"/>
                  </a:cubicBezTo>
                  <a:cubicBezTo>
                    <a:pt x="39" y="65"/>
                    <a:pt x="34" y="64"/>
                    <a:pt x="33" y="63"/>
                  </a:cubicBezTo>
                  <a:cubicBezTo>
                    <a:pt x="32" y="61"/>
                    <a:pt x="28" y="63"/>
                    <a:pt x="25" y="66"/>
                  </a:cubicBezTo>
                  <a:cubicBezTo>
                    <a:pt x="16" y="74"/>
                    <a:pt x="1" y="77"/>
                    <a:pt x="0" y="71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4"/>
            <p:cNvSpPr>
              <a:spLocks noEditPoints="1"/>
            </p:cNvSpPr>
            <p:nvPr userDrawn="1">
              <p:custDataLst>
                <p:tags r:id="rId38"/>
              </p:custDataLst>
            </p:nvPr>
          </p:nvSpPr>
          <p:spPr bwMode="grayWhite">
            <a:xfrm>
              <a:off x="10814050" y="1893888"/>
              <a:ext cx="471488" cy="446088"/>
            </a:xfrm>
            <a:custGeom>
              <a:gdLst>
                <a:gd name="T0" fmla="*/ 156 w 172"/>
                <a:gd name="T1" fmla="*/ 156 h 161"/>
                <a:gd name="T2" fmla="*/ 144 w 172"/>
                <a:gd name="T3" fmla="*/ 150 h 161"/>
                <a:gd name="T4" fmla="*/ 156 w 172"/>
                <a:gd name="T5" fmla="*/ 153 h 161"/>
                <a:gd name="T6" fmla="*/ 169 w 172"/>
                <a:gd name="T7" fmla="*/ 160 h 161"/>
                <a:gd name="T8" fmla="*/ 156 w 172"/>
                <a:gd name="T9" fmla="*/ 156 h 161"/>
                <a:gd name="T10" fmla="*/ 89 w 172"/>
                <a:gd name="T11" fmla="*/ 132 h 161"/>
                <a:gd name="T12" fmla="*/ 73 w 172"/>
                <a:gd name="T13" fmla="*/ 122 h 161"/>
                <a:gd name="T14" fmla="*/ 67 w 172"/>
                <a:gd name="T15" fmla="*/ 112 h 161"/>
                <a:gd name="T16" fmla="*/ 64 w 172"/>
                <a:gd name="T17" fmla="*/ 103 h 161"/>
                <a:gd name="T18" fmla="*/ 45 w 172"/>
                <a:gd name="T19" fmla="*/ 82 h 161"/>
                <a:gd name="T20" fmla="*/ 30 w 172"/>
                <a:gd name="T21" fmla="*/ 67 h 161"/>
                <a:gd name="T22" fmla="*/ 28 w 172"/>
                <a:gd name="T23" fmla="*/ 85 h 161"/>
                <a:gd name="T24" fmla="*/ 25 w 172"/>
                <a:gd name="T25" fmla="*/ 87 h 161"/>
                <a:gd name="T26" fmla="*/ 15 w 172"/>
                <a:gd name="T27" fmla="*/ 87 h 161"/>
                <a:gd name="T28" fmla="*/ 7 w 172"/>
                <a:gd name="T29" fmla="*/ 82 h 161"/>
                <a:gd name="T30" fmla="*/ 9 w 172"/>
                <a:gd name="T31" fmla="*/ 67 h 161"/>
                <a:gd name="T32" fmla="*/ 21 w 172"/>
                <a:gd name="T33" fmla="*/ 61 h 161"/>
                <a:gd name="T34" fmla="*/ 30 w 172"/>
                <a:gd name="T35" fmla="*/ 57 h 161"/>
                <a:gd name="T36" fmla="*/ 43 w 172"/>
                <a:gd name="T37" fmla="*/ 61 h 161"/>
                <a:gd name="T38" fmla="*/ 58 w 172"/>
                <a:gd name="T39" fmla="*/ 43 h 161"/>
                <a:gd name="T40" fmla="*/ 72 w 172"/>
                <a:gd name="T41" fmla="*/ 16 h 161"/>
                <a:gd name="T42" fmla="*/ 82 w 172"/>
                <a:gd name="T43" fmla="*/ 2 h 161"/>
                <a:gd name="T44" fmla="*/ 95 w 172"/>
                <a:gd name="T45" fmla="*/ 8 h 161"/>
                <a:gd name="T46" fmla="*/ 142 w 172"/>
                <a:gd name="T47" fmla="*/ 22 h 161"/>
                <a:gd name="T48" fmla="*/ 150 w 172"/>
                <a:gd name="T49" fmla="*/ 24 h 161"/>
                <a:gd name="T50" fmla="*/ 158 w 172"/>
                <a:gd name="T51" fmla="*/ 39 h 161"/>
                <a:gd name="T52" fmla="*/ 162 w 172"/>
                <a:gd name="T53" fmla="*/ 59 h 161"/>
                <a:gd name="T54" fmla="*/ 155 w 172"/>
                <a:gd name="T55" fmla="*/ 55 h 161"/>
                <a:gd name="T56" fmla="*/ 128 w 172"/>
                <a:gd name="T57" fmla="*/ 56 h 161"/>
                <a:gd name="T58" fmla="*/ 100 w 172"/>
                <a:gd name="T59" fmla="*/ 60 h 161"/>
                <a:gd name="T60" fmla="*/ 88 w 172"/>
                <a:gd name="T61" fmla="*/ 64 h 161"/>
                <a:gd name="T62" fmla="*/ 77 w 172"/>
                <a:gd name="T63" fmla="*/ 70 h 161"/>
                <a:gd name="T64" fmla="*/ 76 w 172"/>
                <a:gd name="T65" fmla="*/ 98 h 161"/>
                <a:gd name="T66" fmla="*/ 86 w 172"/>
                <a:gd name="T67" fmla="*/ 110 h 161"/>
                <a:gd name="T68" fmla="*/ 95 w 172"/>
                <a:gd name="T69" fmla="*/ 117 h 161"/>
                <a:gd name="T70" fmla="*/ 106 w 172"/>
                <a:gd name="T71" fmla="*/ 124 h 161"/>
                <a:gd name="T72" fmla="*/ 122 w 172"/>
                <a:gd name="T73" fmla="*/ 133 h 161"/>
                <a:gd name="T74" fmla="*/ 114 w 172"/>
                <a:gd name="T75" fmla="*/ 137 h 161"/>
                <a:gd name="T76" fmla="*/ 89 w 172"/>
                <a:gd name="T77" fmla="*/ 132 h 161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2" h="161">
                  <a:moveTo>
                    <a:pt x="156" y="156"/>
                  </a:moveTo>
                  <a:cubicBezTo>
                    <a:pt x="144" y="150"/>
                    <a:pt x="144" y="150"/>
                    <a:pt x="144" y="150"/>
                  </a:cubicBezTo>
                  <a:cubicBezTo>
                    <a:pt x="156" y="153"/>
                    <a:pt x="156" y="153"/>
                    <a:pt x="156" y="153"/>
                  </a:cubicBezTo>
                  <a:cubicBezTo>
                    <a:pt x="168" y="155"/>
                    <a:pt x="172" y="157"/>
                    <a:pt x="169" y="160"/>
                  </a:cubicBezTo>
                  <a:cubicBezTo>
                    <a:pt x="168" y="161"/>
                    <a:pt x="162" y="159"/>
                    <a:pt x="156" y="156"/>
                  </a:cubicBezTo>
                  <a:close/>
                  <a:moveTo>
                    <a:pt x="89" y="132"/>
                  </a:moveTo>
                  <a:cubicBezTo>
                    <a:pt x="87" y="129"/>
                    <a:pt x="80" y="125"/>
                    <a:pt x="73" y="122"/>
                  </a:cubicBezTo>
                  <a:cubicBezTo>
                    <a:pt x="62" y="118"/>
                    <a:pt x="61" y="117"/>
                    <a:pt x="67" y="112"/>
                  </a:cubicBezTo>
                  <a:cubicBezTo>
                    <a:pt x="73" y="108"/>
                    <a:pt x="72" y="107"/>
                    <a:pt x="64" y="103"/>
                  </a:cubicBezTo>
                  <a:cubicBezTo>
                    <a:pt x="58" y="101"/>
                    <a:pt x="50" y="91"/>
                    <a:pt x="45" y="82"/>
                  </a:cubicBezTo>
                  <a:cubicBezTo>
                    <a:pt x="40" y="71"/>
                    <a:pt x="35" y="66"/>
                    <a:pt x="30" y="67"/>
                  </a:cubicBezTo>
                  <a:cubicBezTo>
                    <a:pt x="23" y="69"/>
                    <a:pt x="23" y="71"/>
                    <a:pt x="28" y="85"/>
                  </a:cubicBezTo>
                  <a:cubicBezTo>
                    <a:pt x="31" y="91"/>
                    <a:pt x="30" y="92"/>
                    <a:pt x="25" y="87"/>
                  </a:cubicBezTo>
                  <a:cubicBezTo>
                    <a:pt x="20" y="83"/>
                    <a:pt x="18" y="83"/>
                    <a:pt x="15" y="87"/>
                  </a:cubicBezTo>
                  <a:cubicBezTo>
                    <a:pt x="13" y="90"/>
                    <a:pt x="11" y="89"/>
                    <a:pt x="7" y="82"/>
                  </a:cubicBezTo>
                  <a:cubicBezTo>
                    <a:pt x="0" y="69"/>
                    <a:pt x="0" y="67"/>
                    <a:pt x="9" y="67"/>
                  </a:cubicBezTo>
                  <a:cubicBezTo>
                    <a:pt x="13" y="67"/>
                    <a:pt x="19" y="64"/>
                    <a:pt x="21" y="61"/>
                  </a:cubicBezTo>
                  <a:cubicBezTo>
                    <a:pt x="24" y="57"/>
                    <a:pt x="28" y="56"/>
                    <a:pt x="30" y="57"/>
                  </a:cubicBezTo>
                  <a:cubicBezTo>
                    <a:pt x="32" y="58"/>
                    <a:pt x="38" y="60"/>
                    <a:pt x="43" y="61"/>
                  </a:cubicBezTo>
                  <a:cubicBezTo>
                    <a:pt x="51" y="62"/>
                    <a:pt x="53" y="60"/>
                    <a:pt x="58" y="43"/>
                  </a:cubicBezTo>
                  <a:cubicBezTo>
                    <a:pt x="61" y="33"/>
                    <a:pt x="67" y="21"/>
                    <a:pt x="72" y="16"/>
                  </a:cubicBezTo>
                  <a:cubicBezTo>
                    <a:pt x="77" y="11"/>
                    <a:pt x="82" y="5"/>
                    <a:pt x="82" y="2"/>
                  </a:cubicBezTo>
                  <a:cubicBezTo>
                    <a:pt x="82" y="0"/>
                    <a:pt x="87" y="2"/>
                    <a:pt x="95" y="8"/>
                  </a:cubicBezTo>
                  <a:cubicBezTo>
                    <a:pt x="113" y="21"/>
                    <a:pt x="132" y="27"/>
                    <a:pt x="142" y="22"/>
                  </a:cubicBezTo>
                  <a:cubicBezTo>
                    <a:pt x="148" y="19"/>
                    <a:pt x="150" y="20"/>
                    <a:pt x="150" y="24"/>
                  </a:cubicBezTo>
                  <a:cubicBezTo>
                    <a:pt x="150" y="28"/>
                    <a:pt x="153" y="34"/>
                    <a:pt x="158" y="39"/>
                  </a:cubicBezTo>
                  <a:cubicBezTo>
                    <a:pt x="165" y="46"/>
                    <a:pt x="168" y="59"/>
                    <a:pt x="162" y="59"/>
                  </a:cubicBezTo>
                  <a:cubicBezTo>
                    <a:pt x="161" y="59"/>
                    <a:pt x="157" y="57"/>
                    <a:pt x="155" y="55"/>
                  </a:cubicBezTo>
                  <a:cubicBezTo>
                    <a:pt x="152" y="52"/>
                    <a:pt x="144" y="53"/>
                    <a:pt x="128" y="56"/>
                  </a:cubicBezTo>
                  <a:cubicBezTo>
                    <a:pt x="116" y="60"/>
                    <a:pt x="103" y="61"/>
                    <a:pt x="100" y="60"/>
                  </a:cubicBezTo>
                  <a:cubicBezTo>
                    <a:pt x="97" y="59"/>
                    <a:pt x="92" y="61"/>
                    <a:pt x="88" y="64"/>
                  </a:cubicBezTo>
                  <a:cubicBezTo>
                    <a:pt x="85" y="68"/>
                    <a:pt x="79" y="71"/>
                    <a:pt x="77" y="70"/>
                  </a:cubicBezTo>
                  <a:cubicBezTo>
                    <a:pt x="58" y="68"/>
                    <a:pt x="58" y="81"/>
                    <a:pt x="76" y="98"/>
                  </a:cubicBezTo>
                  <a:cubicBezTo>
                    <a:pt x="81" y="103"/>
                    <a:pt x="86" y="108"/>
                    <a:pt x="86" y="110"/>
                  </a:cubicBezTo>
                  <a:cubicBezTo>
                    <a:pt x="86" y="112"/>
                    <a:pt x="90" y="115"/>
                    <a:pt x="95" y="117"/>
                  </a:cubicBezTo>
                  <a:cubicBezTo>
                    <a:pt x="99" y="118"/>
                    <a:pt x="105" y="122"/>
                    <a:pt x="106" y="124"/>
                  </a:cubicBezTo>
                  <a:cubicBezTo>
                    <a:pt x="108" y="126"/>
                    <a:pt x="115" y="130"/>
                    <a:pt x="122" y="133"/>
                  </a:cubicBezTo>
                  <a:cubicBezTo>
                    <a:pt x="135" y="137"/>
                    <a:pt x="135" y="138"/>
                    <a:pt x="114" y="137"/>
                  </a:cubicBezTo>
                  <a:cubicBezTo>
                    <a:pt x="102" y="137"/>
                    <a:pt x="91" y="134"/>
                    <a:pt x="89" y="132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5"/>
            <p:cNvSpPr/>
            <p:nvPr userDrawn="1">
              <p:custDataLst>
                <p:tags r:id="rId39"/>
              </p:custDataLst>
            </p:nvPr>
          </p:nvSpPr>
          <p:spPr bwMode="grayWhite">
            <a:xfrm>
              <a:off x="10999788" y="2047875"/>
              <a:ext cx="347663" cy="261938"/>
            </a:xfrm>
            <a:custGeom>
              <a:gdLst>
                <a:gd name="T0" fmla="*/ 81 w 127"/>
                <a:gd name="T1" fmla="*/ 92 h 94"/>
                <a:gd name="T2" fmla="*/ 68 w 127"/>
                <a:gd name="T3" fmla="*/ 83 h 94"/>
                <a:gd name="T4" fmla="*/ 54 w 127"/>
                <a:gd name="T5" fmla="*/ 73 h 94"/>
                <a:gd name="T6" fmla="*/ 40 w 127"/>
                <a:gd name="T7" fmla="*/ 64 h 94"/>
                <a:gd name="T8" fmla="*/ 33 w 127"/>
                <a:gd name="T9" fmla="*/ 59 h 94"/>
                <a:gd name="T10" fmla="*/ 1 w 127"/>
                <a:gd name="T11" fmla="*/ 24 h 94"/>
                <a:gd name="T12" fmla="*/ 7 w 127"/>
                <a:gd name="T13" fmla="*/ 18 h 94"/>
                <a:gd name="T14" fmla="*/ 22 w 127"/>
                <a:gd name="T15" fmla="*/ 12 h 94"/>
                <a:gd name="T16" fmla="*/ 33 w 127"/>
                <a:gd name="T17" fmla="*/ 8 h 94"/>
                <a:gd name="T18" fmla="*/ 60 w 127"/>
                <a:gd name="T19" fmla="*/ 5 h 94"/>
                <a:gd name="T20" fmla="*/ 88 w 127"/>
                <a:gd name="T21" fmla="*/ 3 h 94"/>
                <a:gd name="T22" fmla="*/ 97 w 127"/>
                <a:gd name="T23" fmla="*/ 5 h 94"/>
                <a:gd name="T24" fmla="*/ 102 w 127"/>
                <a:gd name="T25" fmla="*/ 8 h 94"/>
                <a:gd name="T26" fmla="*/ 114 w 127"/>
                <a:gd name="T27" fmla="*/ 26 h 94"/>
                <a:gd name="T28" fmla="*/ 124 w 127"/>
                <a:gd name="T29" fmla="*/ 42 h 94"/>
                <a:gd name="T30" fmla="*/ 125 w 127"/>
                <a:gd name="T31" fmla="*/ 48 h 94"/>
                <a:gd name="T32" fmla="*/ 120 w 127"/>
                <a:gd name="T33" fmla="*/ 61 h 94"/>
                <a:gd name="T34" fmla="*/ 105 w 127"/>
                <a:gd name="T35" fmla="*/ 83 h 94"/>
                <a:gd name="T36" fmla="*/ 96 w 127"/>
                <a:gd name="T37" fmla="*/ 94 h 94"/>
                <a:gd name="T38" fmla="*/ 81 w 127"/>
                <a:gd name="T39" fmla="*/ 92 h 94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7" h="94">
                  <a:moveTo>
                    <a:pt x="81" y="92"/>
                  </a:moveTo>
                  <a:cubicBezTo>
                    <a:pt x="75" y="91"/>
                    <a:pt x="69" y="87"/>
                    <a:pt x="68" y="83"/>
                  </a:cubicBezTo>
                  <a:cubicBezTo>
                    <a:pt x="67" y="79"/>
                    <a:pt x="61" y="74"/>
                    <a:pt x="54" y="73"/>
                  </a:cubicBezTo>
                  <a:cubicBezTo>
                    <a:pt x="48" y="71"/>
                    <a:pt x="41" y="67"/>
                    <a:pt x="40" y="64"/>
                  </a:cubicBezTo>
                  <a:cubicBezTo>
                    <a:pt x="39" y="61"/>
                    <a:pt x="36" y="59"/>
                    <a:pt x="33" y="59"/>
                  </a:cubicBezTo>
                  <a:cubicBezTo>
                    <a:pt x="26" y="59"/>
                    <a:pt x="2" y="33"/>
                    <a:pt x="1" y="24"/>
                  </a:cubicBezTo>
                  <a:cubicBezTo>
                    <a:pt x="0" y="19"/>
                    <a:pt x="2" y="17"/>
                    <a:pt x="7" y="18"/>
                  </a:cubicBezTo>
                  <a:cubicBezTo>
                    <a:pt x="11" y="18"/>
                    <a:pt x="18" y="16"/>
                    <a:pt x="22" y="12"/>
                  </a:cubicBezTo>
                  <a:cubicBezTo>
                    <a:pt x="26" y="9"/>
                    <a:pt x="31" y="7"/>
                    <a:pt x="33" y="8"/>
                  </a:cubicBezTo>
                  <a:cubicBezTo>
                    <a:pt x="35" y="9"/>
                    <a:pt x="47" y="8"/>
                    <a:pt x="60" y="5"/>
                  </a:cubicBezTo>
                  <a:cubicBezTo>
                    <a:pt x="76" y="0"/>
                    <a:pt x="84" y="0"/>
                    <a:pt x="88" y="3"/>
                  </a:cubicBezTo>
                  <a:cubicBezTo>
                    <a:pt x="91" y="5"/>
                    <a:pt x="95" y="6"/>
                    <a:pt x="97" y="5"/>
                  </a:cubicBezTo>
                  <a:cubicBezTo>
                    <a:pt x="100" y="3"/>
                    <a:pt x="102" y="5"/>
                    <a:pt x="102" y="8"/>
                  </a:cubicBezTo>
                  <a:cubicBezTo>
                    <a:pt x="102" y="11"/>
                    <a:pt x="107" y="19"/>
                    <a:pt x="114" y="26"/>
                  </a:cubicBezTo>
                  <a:cubicBezTo>
                    <a:pt x="121" y="33"/>
                    <a:pt x="125" y="40"/>
                    <a:pt x="124" y="42"/>
                  </a:cubicBezTo>
                  <a:cubicBezTo>
                    <a:pt x="122" y="44"/>
                    <a:pt x="123" y="47"/>
                    <a:pt x="125" y="48"/>
                  </a:cubicBezTo>
                  <a:cubicBezTo>
                    <a:pt x="127" y="50"/>
                    <a:pt x="125" y="55"/>
                    <a:pt x="120" y="61"/>
                  </a:cubicBezTo>
                  <a:cubicBezTo>
                    <a:pt x="115" y="66"/>
                    <a:pt x="108" y="76"/>
                    <a:pt x="105" y="83"/>
                  </a:cubicBezTo>
                  <a:cubicBezTo>
                    <a:pt x="103" y="89"/>
                    <a:pt x="99" y="94"/>
                    <a:pt x="96" y="94"/>
                  </a:cubicBezTo>
                  <a:cubicBezTo>
                    <a:pt x="94" y="94"/>
                    <a:pt x="87" y="93"/>
                    <a:pt x="81" y="92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6"/>
            <p:cNvSpPr/>
            <p:nvPr userDrawn="1">
              <p:custDataLst>
                <p:tags r:id="rId40"/>
              </p:custDataLst>
            </p:nvPr>
          </p:nvSpPr>
          <p:spPr bwMode="grayWhite">
            <a:xfrm>
              <a:off x="11277600" y="2214563"/>
              <a:ext cx="190500" cy="184150"/>
            </a:xfrm>
            <a:custGeom>
              <a:gdLst>
                <a:gd name="T0" fmla="*/ 33 w 70"/>
                <a:gd name="T1" fmla="*/ 56 h 66"/>
                <a:gd name="T2" fmla="*/ 14 w 70"/>
                <a:gd name="T3" fmla="*/ 47 h 66"/>
                <a:gd name="T4" fmla="*/ 12 w 70"/>
                <a:gd name="T5" fmla="*/ 18 h 66"/>
                <a:gd name="T6" fmla="*/ 27 w 70"/>
                <a:gd name="T7" fmla="*/ 3 h 66"/>
                <a:gd name="T8" fmla="*/ 47 w 70"/>
                <a:gd name="T9" fmla="*/ 13 h 66"/>
                <a:gd name="T10" fmla="*/ 61 w 70"/>
                <a:gd name="T11" fmla="*/ 20 h 66"/>
                <a:gd name="T12" fmla="*/ 64 w 70"/>
                <a:gd name="T13" fmla="*/ 28 h 66"/>
                <a:gd name="T14" fmla="*/ 57 w 70"/>
                <a:gd name="T15" fmla="*/ 30 h 66"/>
                <a:gd name="T16" fmla="*/ 47 w 70"/>
                <a:gd name="T17" fmla="*/ 52 h 66"/>
                <a:gd name="T18" fmla="*/ 45 w 70"/>
                <a:gd name="T19" fmla="*/ 66 h 66"/>
                <a:gd name="T20" fmla="*/ 33 w 70"/>
                <a:gd name="T21" fmla="*/ 56 h 66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66">
                  <a:moveTo>
                    <a:pt x="33" y="56"/>
                  </a:moveTo>
                  <a:cubicBezTo>
                    <a:pt x="28" y="51"/>
                    <a:pt x="20" y="47"/>
                    <a:pt x="14" y="47"/>
                  </a:cubicBezTo>
                  <a:cubicBezTo>
                    <a:pt x="1" y="47"/>
                    <a:pt x="0" y="39"/>
                    <a:pt x="12" y="18"/>
                  </a:cubicBezTo>
                  <a:cubicBezTo>
                    <a:pt x="20" y="3"/>
                    <a:pt x="23" y="0"/>
                    <a:pt x="27" y="3"/>
                  </a:cubicBezTo>
                  <a:cubicBezTo>
                    <a:pt x="30" y="5"/>
                    <a:pt x="39" y="10"/>
                    <a:pt x="47" y="13"/>
                  </a:cubicBezTo>
                  <a:cubicBezTo>
                    <a:pt x="56" y="15"/>
                    <a:pt x="62" y="19"/>
                    <a:pt x="61" y="20"/>
                  </a:cubicBezTo>
                  <a:cubicBezTo>
                    <a:pt x="59" y="20"/>
                    <a:pt x="61" y="24"/>
                    <a:pt x="64" y="28"/>
                  </a:cubicBezTo>
                  <a:cubicBezTo>
                    <a:pt x="70" y="35"/>
                    <a:pt x="65" y="37"/>
                    <a:pt x="57" y="30"/>
                  </a:cubicBezTo>
                  <a:cubicBezTo>
                    <a:pt x="52" y="24"/>
                    <a:pt x="48" y="31"/>
                    <a:pt x="47" y="52"/>
                  </a:cubicBezTo>
                  <a:cubicBezTo>
                    <a:pt x="47" y="60"/>
                    <a:pt x="46" y="66"/>
                    <a:pt x="45" y="66"/>
                  </a:cubicBezTo>
                  <a:cubicBezTo>
                    <a:pt x="43" y="66"/>
                    <a:pt x="38" y="62"/>
                    <a:pt x="33" y="56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7"/>
            <p:cNvSpPr/>
            <p:nvPr userDrawn="1">
              <p:custDataLst>
                <p:tags r:id="rId41"/>
              </p:custDataLst>
            </p:nvPr>
          </p:nvSpPr>
          <p:spPr bwMode="grayWhite">
            <a:xfrm>
              <a:off x="11414125" y="2300288"/>
              <a:ext cx="180975" cy="355600"/>
            </a:xfrm>
            <a:custGeom>
              <a:gdLst>
                <a:gd name="T0" fmla="*/ 43 w 66"/>
                <a:gd name="T1" fmla="*/ 124 h 128"/>
                <a:gd name="T2" fmla="*/ 32 w 66"/>
                <a:gd name="T3" fmla="*/ 115 h 128"/>
                <a:gd name="T4" fmla="*/ 21 w 66"/>
                <a:gd name="T5" fmla="*/ 104 h 128"/>
                <a:gd name="T6" fmla="*/ 16 w 66"/>
                <a:gd name="T7" fmla="*/ 96 h 128"/>
                <a:gd name="T8" fmla="*/ 9 w 66"/>
                <a:gd name="T9" fmla="*/ 68 h 128"/>
                <a:gd name="T10" fmla="*/ 2 w 66"/>
                <a:gd name="T11" fmla="*/ 35 h 128"/>
                <a:gd name="T12" fmla="*/ 2 w 66"/>
                <a:gd name="T13" fmla="*/ 13 h 128"/>
                <a:gd name="T14" fmla="*/ 6 w 66"/>
                <a:gd name="T15" fmla="*/ 3 h 128"/>
                <a:gd name="T16" fmla="*/ 17 w 66"/>
                <a:gd name="T17" fmla="*/ 7 h 128"/>
                <a:gd name="T18" fmla="*/ 35 w 66"/>
                <a:gd name="T19" fmla="*/ 27 h 128"/>
                <a:gd name="T20" fmla="*/ 54 w 66"/>
                <a:gd name="T21" fmla="*/ 60 h 128"/>
                <a:gd name="T22" fmla="*/ 62 w 66"/>
                <a:gd name="T23" fmla="*/ 80 h 128"/>
                <a:gd name="T24" fmla="*/ 57 w 66"/>
                <a:gd name="T25" fmla="*/ 107 h 128"/>
                <a:gd name="T26" fmla="*/ 49 w 66"/>
                <a:gd name="T27" fmla="*/ 127 h 128"/>
                <a:gd name="T28" fmla="*/ 43 w 66"/>
                <a:gd name="T29" fmla="*/ 124 h 128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128">
                  <a:moveTo>
                    <a:pt x="43" y="124"/>
                  </a:moveTo>
                  <a:cubicBezTo>
                    <a:pt x="43" y="122"/>
                    <a:pt x="38" y="118"/>
                    <a:pt x="32" y="115"/>
                  </a:cubicBezTo>
                  <a:cubicBezTo>
                    <a:pt x="25" y="112"/>
                    <a:pt x="21" y="107"/>
                    <a:pt x="21" y="104"/>
                  </a:cubicBezTo>
                  <a:cubicBezTo>
                    <a:pt x="21" y="102"/>
                    <a:pt x="18" y="98"/>
                    <a:pt x="16" y="96"/>
                  </a:cubicBezTo>
                  <a:cubicBezTo>
                    <a:pt x="14" y="95"/>
                    <a:pt x="10" y="82"/>
                    <a:pt x="9" y="68"/>
                  </a:cubicBezTo>
                  <a:cubicBezTo>
                    <a:pt x="7" y="53"/>
                    <a:pt x="4" y="38"/>
                    <a:pt x="2" y="35"/>
                  </a:cubicBezTo>
                  <a:cubicBezTo>
                    <a:pt x="0" y="31"/>
                    <a:pt x="0" y="22"/>
                    <a:pt x="2" y="13"/>
                  </a:cubicBezTo>
                  <a:cubicBezTo>
                    <a:pt x="4" y="4"/>
                    <a:pt x="6" y="0"/>
                    <a:pt x="6" y="3"/>
                  </a:cubicBezTo>
                  <a:cubicBezTo>
                    <a:pt x="6" y="6"/>
                    <a:pt x="11" y="7"/>
                    <a:pt x="17" y="7"/>
                  </a:cubicBezTo>
                  <a:cubicBezTo>
                    <a:pt x="26" y="6"/>
                    <a:pt x="28" y="8"/>
                    <a:pt x="35" y="27"/>
                  </a:cubicBezTo>
                  <a:cubicBezTo>
                    <a:pt x="39" y="40"/>
                    <a:pt x="47" y="54"/>
                    <a:pt x="54" y="60"/>
                  </a:cubicBezTo>
                  <a:cubicBezTo>
                    <a:pt x="65" y="70"/>
                    <a:pt x="66" y="73"/>
                    <a:pt x="62" y="80"/>
                  </a:cubicBezTo>
                  <a:cubicBezTo>
                    <a:pt x="59" y="85"/>
                    <a:pt x="57" y="97"/>
                    <a:pt x="57" y="107"/>
                  </a:cubicBezTo>
                  <a:cubicBezTo>
                    <a:pt x="56" y="121"/>
                    <a:pt x="54" y="126"/>
                    <a:pt x="49" y="127"/>
                  </a:cubicBezTo>
                  <a:cubicBezTo>
                    <a:pt x="46" y="128"/>
                    <a:pt x="43" y="126"/>
                    <a:pt x="43" y="124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8"/>
            <p:cNvSpPr/>
            <p:nvPr userDrawn="1">
              <p:custDataLst>
                <p:tags r:id="rId42"/>
              </p:custDataLst>
            </p:nvPr>
          </p:nvSpPr>
          <p:spPr bwMode="grayWhite">
            <a:xfrm>
              <a:off x="11509375" y="2287588"/>
              <a:ext cx="260350" cy="201613"/>
            </a:xfrm>
            <a:custGeom>
              <a:gdLst>
                <a:gd name="T0" fmla="*/ 20 w 95"/>
                <a:gd name="T1" fmla="*/ 61 h 73"/>
                <a:gd name="T2" fmla="*/ 4 w 95"/>
                <a:gd name="T3" fmla="*/ 27 h 73"/>
                <a:gd name="T4" fmla="*/ 33 w 95"/>
                <a:gd name="T5" fmla="*/ 13 h 73"/>
                <a:gd name="T6" fmla="*/ 76 w 95"/>
                <a:gd name="T7" fmla="*/ 7 h 73"/>
                <a:gd name="T8" fmla="*/ 92 w 95"/>
                <a:gd name="T9" fmla="*/ 17 h 73"/>
                <a:gd name="T10" fmla="*/ 94 w 95"/>
                <a:gd name="T11" fmla="*/ 25 h 73"/>
                <a:gd name="T12" fmla="*/ 78 w 95"/>
                <a:gd name="T13" fmla="*/ 39 h 73"/>
                <a:gd name="T14" fmla="*/ 58 w 95"/>
                <a:gd name="T15" fmla="*/ 56 h 73"/>
                <a:gd name="T16" fmla="*/ 34 w 95"/>
                <a:gd name="T17" fmla="*/ 73 h 73"/>
                <a:gd name="T18" fmla="*/ 20 w 95"/>
                <a:gd name="T19" fmla="*/ 61 h 73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73">
                  <a:moveTo>
                    <a:pt x="20" y="61"/>
                  </a:moveTo>
                  <a:cubicBezTo>
                    <a:pt x="10" y="51"/>
                    <a:pt x="0" y="30"/>
                    <a:pt x="4" y="27"/>
                  </a:cubicBezTo>
                  <a:cubicBezTo>
                    <a:pt x="5" y="26"/>
                    <a:pt x="18" y="20"/>
                    <a:pt x="33" y="13"/>
                  </a:cubicBezTo>
                  <a:cubicBezTo>
                    <a:pt x="61" y="0"/>
                    <a:pt x="61" y="0"/>
                    <a:pt x="76" y="7"/>
                  </a:cubicBezTo>
                  <a:cubicBezTo>
                    <a:pt x="85" y="11"/>
                    <a:pt x="92" y="15"/>
                    <a:pt x="92" y="17"/>
                  </a:cubicBezTo>
                  <a:cubicBezTo>
                    <a:pt x="92" y="18"/>
                    <a:pt x="92" y="22"/>
                    <a:pt x="94" y="25"/>
                  </a:cubicBezTo>
                  <a:cubicBezTo>
                    <a:pt x="95" y="29"/>
                    <a:pt x="89" y="34"/>
                    <a:pt x="78" y="39"/>
                  </a:cubicBezTo>
                  <a:cubicBezTo>
                    <a:pt x="68" y="44"/>
                    <a:pt x="59" y="52"/>
                    <a:pt x="58" y="56"/>
                  </a:cubicBezTo>
                  <a:cubicBezTo>
                    <a:pt x="56" y="62"/>
                    <a:pt x="40" y="73"/>
                    <a:pt x="34" y="73"/>
                  </a:cubicBezTo>
                  <a:cubicBezTo>
                    <a:pt x="33" y="73"/>
                    <a:pt x="27" y="67"/>
                    <a:pt x="20" y="61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9"/>
            <p:cNvSpPr/>
            <p:nvPr userDrawn="1">
              <p:custDataLst>
                <p:tags r:id="rId43"/>
              </p:custDataLst>
            </p:nvPr>
          </p:nvSpPr>
          <p:spPr bwMode="grayWhite">
            <a:xfrm>
              <a:off x="11641138" y="1895475"/>
              <a:ext cx="528638" cy="458788"/>
            </a:xfrm>
            <a:custGeom>
              <a:gdLst>
                <a:gd name="T0" fmla="*/ 48 w 193"/>
                <a:gd name="T1" fmla="*/ 159 h 165"/>
                <a:gd name="T2" fmla="*/ 30 w 193"/>
                <a:gd name="T3" fmla="*/ 145 h 165"/>
                <a:gd name="T4" fmla="*/ 18 w 193"/>
                <a:gd name="T5" fmla="*/ 105 h 165"/>
                <a:gd name="T6" fmla="*/ 7 w 193"/>
                <a:gd name="T7" fmla="*/ 79 h 165"/>
                <a:gd name="T8" fmla="*/ 0 w 193"/>
                <a:gd name="T9" fmla="*/ 70 h 165"/>
                <a:gd name="T10" fmla="*/ 25 w 193"/>
                <a:gd name="T11" fmla="*/ 63 h 165"/>
                <a:gd name="T12" fmla="*/ 114 w 193"/>
                <a:gd name="T13" fmla="*/ 27 h 165"/>
                <a:gd name="T14" fmla="*/ 176 w 193"/>
                <a:gd name="T15" fmla="*/ 6 h 165"/>
                <a:gd name="T16" fmla="*/ 184 w 193"/>
                <a:gd name="T17" fmla="*/ 26 h 165"/>
                <a:gd name="T18" fmla="*/ 176 w 193"/>
                <a:gd name="T19" fmla="*/ 50 h 165"/>
                <a:gd name="T20" fmla="*/ 176 w 193"/>
                <a:gd name="T21" fmla="*/ 66 h 165"/>
                <a:gd name="T22" fmla="*/ 175 w 193"/>
                <a:gd name="T23" fmla="*/ 74 h 165"/>
                <a:gd name="T24" fmla="*/ 157 w 193"/>
                <a:gd name="T25" fmla="*/ 106 h 165"/>
                <a:gd name="T26" fmla="*/ 142 w 193"/>
                <a:gd name="T27" fmla="*/ 130 h 165"/>
                <a:gd name="T28" fmla="*/ 106 w 193"/>
                <a:gd name="T29" fmla="*/ 144 h 165"/>
                <a:gd name="T30" fmla="*/ 78 w 193"/>
                <a:gd name="T31" fmla="*/ 149 h 165"/>
                <a:gd name="T32" fmla="*/ 59 w 193"/>
                <a:gd name="T33" fmla="*/ 161 h 165"/>
                <a:gd name="T34" fmla="*/ 48 w 193"/>
                <a:gd name="T35" fmla="*/ 159 h 165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3" h="165">
                  <a:moveTo>
                    <a:pt x="48" y="159"/>
                  </a:moveTo>
                  <a:cubicBezTo>
                    <a:pt x="48" y="156"/>
                    <a:pt x="39" y="149"/>
                    <a:pt x="30" y="145"/>
                  </a:cubicBezTo>
                  <a:cubicBezTo>
                    <a:pt x="9" y="135"/>
                    <a:pt x="7" y="126"/>
                    <a:pt x="18" y="105"/>
                  </a:cubicBezTo>
                  <a:cubicBezTo>
                    <a:pt x="25" y="92"/>
                    <a:pt x="21" y="84"/>
                    <a:pt x="7" y="79"/>
                  </a:cubicBezTo>
                  <a:cubicBezTo>
                    <a:pt x="3" y="78"/>
                    <a:pt x="0" y="74"/>
                    <a:pt x="0" y="70"/>
                  </a:cubicBezTo>
                  <a:cubicBezTo>
                    <a:pt x="0" y="65"/>
                    <a:pt x="4" y="63"/>
                    <a:pt x="25" y="63"/>
                  </a:cubicBezTo>
                  <a:cubicBezTo>
                    <a:pt x="57" y="62"/>
                    <a:pt x="94" y="47"/>
                    <a:pt x="114" y="27"/>
                  </a:cubicBezTo>
                  <a:cubicBezTo>
                    <a:pt x="133" y="9"/>
                    <a:pt x="159" y="0"/>
                    <a:pt x="176" y="6"/>
                  </a:cubicBezTo>
                  <a:cubicBezTo>
                    <a:pt x="187" y="10"/>
                    <a:pt x="193" y="26"/>
                    <a:pt x="184" y="26"/>
                  </a:cubicBezTo>
                  <a:cubicBezTo>
                    <a:pt x="176" y="26"/>
                    <a:pt x="171" y="41"/>
                    <a:pt x="176" y="50"/>
                  </a:cubicBezTo>
                  <a:cubicBezTo>
                    <a:pt x="179" y="55"/>
                    <a:pt x="179" y="60"/>
                    <a:pt x="176" y="66"/>
                  </a:cubicBezTo>
                  <a:cubicBezTo>
                    <a:pt x="173" y="70"/>
                    <a:pt x="173" y="74"/>
                    <a:pt x="175" y="74"/>
                  </a:cubicBezTo>
                  <a:cubicBezTo>
                    <a:pt x="183" y="74"/>
                    <a:pt x="174" y="90"/>
                    <a:pt x="157" y="106"/>
                  </a:cubicBezTo>
                  <a:cubicBezTo>
                    <a:pt x="144" y="118"/>
                    <a:pt x="140" y="124"/>
                    <a:pt x="142" y="130"/>
                  </a:cubicBezTo>
                  <a:cubicBezTo>
                    <a:pt x="145" y="141"/>
                    <a:pt x="130" y="147"/>
                    <a:pt x="106" y="144"/>
                  </a:cubicBezTo>
                  <a:cubicBezTo>
                    <a:pt x="90" y="142"/>
                    <a:pt x="85" y="142"/>
                    <a:pt x="78" y="149"/>
                  </a:cubicBezTo>
                  <a:cubicBezTo>
                    <a:pt x="73" y="153"/>
                    <a:pt x="65" y="159"/>
                    <a:pt x="59" y="161"/>
                  </a:cubicBezTo>
                  <a:cubicBezTo>
                    <a:pt x="50" y="165"/>
                    <a:pt x="48" y="164"/>
                    <a:pt x="48" y="159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0"/>
            <p:cNvSpPr/>
            <p:nvPr userDrawn="1">
              <p:custDataLst>
                <p:tags r:id="rId44"/>
              </p:custDataLst>
            </p:nvPr>
          </p:nvSpPr>
          <p:spPr bwMode="grayWhite">
            <a:xfrm>
              <a:off x="12396788" y="1430338"/>
              <a:ext cx="304800" cy="234950"/>
            </a:xfrm>
            <a:custGeom>
              <a:gdLst>
                <a:gd name="T0" fmla="*/ 42 w 111"/>
                <a:gd name="T1" fmla="*/ 73 h 85"/>
                <a:gd name="T2" fmla="*/ 39 w 111"/>
                <a:gd name="T3" fmla="*/ 60 h 85"/>
                <a:gd name="T4" fmla="*/ 18 w 111"/>
                <a:gd name="T5" fmla="*/ 52 h 85"/>
                <a:gd name="T6" fmla="*/ 5 w 111"/>
                <a:gd name="T7" fmla="*/ 46 h 85"/>
                <a:gd name="T8" fmla="*/ 12 w 111"/>
                <a:gd name="T9" fmla="*/ 35 h 85"/>
                <a:gd name="T10" fmla="*/ 20 w 111"/>
                <a:gd name="T11" fmla="*/ 26 h 85"/>
                <a:gd name="T12" fmla="*/ 26 w 111"/>
                <a:gd name="T13" fmla="*/ 18 h 85"/>
                <a:gd name="T14" fmla="*/ 35 w 111"/>
                <a:gd name="T15" fmla="*/ 8 h 85"/>
                <a:gd name="T16" fmla="*/ 50 w 111"/>
                <a:gd name="T17" fmla="*/ 6 h 85"/>
                <a:gd name="T18" fmla="*/ 52 w 111"/>
                <a:gd name="T19" fmla="*/ 10 h 85"/>
                <a:gd name="T20" fmla="*/ 66 w 111"/>
                <a:gd name="T21" fmla="*/ 18 h 85"/>
                <a:gd name="T22" fmla="*/ 77 w 111"/>
                <a:gd name="T23" fmla="*/ 26 h 85"/>
                <a:gd name="T24" fmla="*/ 86 w 111"/>
                <a:gd name="T25" fmla="*/ 16 h 85"/>
                <a:gd name="T26" fmla="*/ 109 w 111"/>
                <a:gd name="T27" fmla="*/ 11 h 85"/>
                <a:gd name="T28" fmla="*/ 94 w 111"/>
                <a:gd name="T29" fmla="*/ 23 h 85"/>
                <a:gd name="T30" fmla="*/ 84 w 111"/>
                <a:gd name="T31" fmla="*/ 35 h 85"/>
                <a:gd name="T32" fmla="*/ 73 w 111"/>
                <a:gd name="T33" fmla="*/ 48 h 85"/>
                <a:gd name="T34" fmla="*/ 67 w 111"/>
                <a:gd name="T35" fmla="*/ 57 h 85"/>
                <a:gd name="T36" fmla="*/ 42 w 111"/>
                <a:gd name="T37" fmla="*/ 73 h 85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0" h="85">
                  <a:moveTo>
                    <a:pt x="42" y="73"/>
                  </a:moveTo>
                  <a:cubicBezTo>
                    <a:pt x="41" y="70"/>
                    <a:pt x="39" y="64"/>
                    <a:pt x="39" y="60"/>
                  </a:cubicBezTo>
                  <a:cubicBezTo>
                    <a:pt x="38" y="53"/>
                    <a:pt x="34" y="52"/>
                    <a:pt x="18" y="52"/>
                  </a:cubicBezTo>
                  <a:cubicBezTo>
                    <a:pt x="1" y="52"/>
                    <a:pt x="0" y="52"/>
                    <a:pt x="5" y="46"/>
                  </a:cubicBezTo>
                  <a:cubicBezTo>
                    <a:pt x="9" y="42"/>
                    <a:pt x="12" y="37"/>
                    <a:pt x="12" y="35"/>
                  </a:cubicBezTo>
                  <a:cubicBezTo>
                    <a:pt x="12" y="33"/>
                    <a:pt x="15" y="29"/>
                    <a:pt x="20" y="26"/>
                  </a:cubicBezTo>
                  <a:cubicBezTo>
                    <a:pt x="24" y="24"/>
                    <a:pt x="27" y="20"/>
                    <a:pt x="26" y="18"/>
                  </a:cubicBezTo>
                  <a:cubicBezTo>
                    <a:pt x="24" y="16"/>
                    <a:pt x="29" y="11"/>
                    <a:pt x="35" y="8"/>
                  </a:cubicBezTo>
                  <a:cubicBezTo>
                    <a:pt x="49" y="1"/>
                    <a:pt x="53" y="0"/>
                    <a:pt x="50" y="6"/>
                  </a:cubicBezTo>
                  <a:cubicBezTo>
                    <a:pt x="48" y="8"/>
                    <a:pt x="49" y="10"/>
                    <a:pt x="52" y="10"/>
                  </a:cubicBezTo>
                  <a:cubicBezTo>
                    <a:pt x="54" y="10"/>
                    <a:pt x="61" y="13"/>
                    <a:pt x="66" y="18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96" y="4"/>
                    <a:pt x="106" y="3"/>
                    <a:pt x="109" y="11"/>
                  </a:cubicBezTo>
                  <a:cubicBezTo>
                    <a:pt x="111" y="16"/>
                    <a:pt x="103" y="22"/>
                    <a:pt x="94" y="23"/>
                  </a:cubicBezTo>
                  <a:cubicBezTo>
                    <a:pt x="91" y="23"/>
                    <a:pt x="87" y="29"/>
                    <a:pt x="84" y="35"/>
                  </a:cubicBezTo>
                  <a:cubicBezTo>
                    <a:pt x="81" y="41"/>
                    <a:pt x="76" y="47"/>
                    <a:pt x="73" y="48"/>
                  </a:cubicBezTo>
                  <a:cubicBezTo>
                    <a:pt x="70" y="49"/>
                    <a:pt x="67" y="53"/>
                    <a:pt x="67" y="57"/>
                  </a:cubicBezTo>
                  <a:cubicBezTo>
                    <a:pt x="67" y="72"/>
                    <a:pt x="46" y="85"/>
                    <a:pt x="42" y="73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1"/>
            <p:cNvSpPr>
              <a:spLocks noEditPoints="1"/>
            </p:cNvSpPr>
            <p:nvPr userDrawn="1">
              <p:custDataLst>
                <p:tags r:id="rId45"/>
              </p:custDataLst>
            </p:nvPr>
          </p:nvSpPr>
          <p:spPr bwMode="grayWhite">
            <a:xfrm>
              <a:off x="12033250" y="2101850"/>
              <a:ext cx="736600" cy="776288"/>
            </a:xfrm>
            <a:custGeom>
              <a:gdLst>
                <a:gd name="T0" fmla="*/ 245 w 269"/>
                <a:gd name="T1" fmla="*/ 272 h 280"/>
                <a:gd name="T2" fmla="*/ 221 w 269"/>
                <a:gd name="T3" fmla="*/ 257 h 280"/>
                <a:gd name="T4" fmla="*/ 201 w 269"/>
                <a:gd name="T5" fmla="*/ 247 h 280"/>
                <a:gd name="T6" fmla="*/ 195 w 269"/>
                <a:gd name="T7" fmla="*/ 244 h 280"/>
                <a:gd name="T8" fmla="*/ 189 w 269"/>
                <a:gd name="T9" fmla="*/ 249 h 280"/>
                <a:gd name="T10" fmla="*/ 183 w 269"/>
                <a:gd name="T11" fmla="*/ 257 h 280"/>
                <a:gd name="T12" fmla="*/ 177 w 269"/>
                <a:gd name="T13" fmla="*/ 265 h 280"/>
                <a:gd name="T14" fmla="*/ 171 w 269"/>
                <a:gd name="T15" fmla="*/ 273 h 280"/>
                <a:gd name="T16" fmla="*/ 129 w 269"/>
                <a:gd name="T17" fmla="*/ 267 h 280"/>
                <a:gd name="T18" fmla="*/ 124 w 269"/>
                <a:gd name="T19" fmla="*/ 263 h 280"/>
                <a:gd name="T20" fmla="*/ 107 w 269"/>
                <a:gd name="T21" fmla="*/ 258 h 280"/>
                <a:gd name="T22" fmla="*/ 92 w 269"/>
                <a:gd name="T23" fmla="*/ 257 h 280"/>
                <a:gd name="T24" fmla="*/ 82 w 269"/>
                <a:gd name="T25" fmla="*/ 257 h 280"/>
                <a:gd name="T26" fmla="*/ 77 w 269"/>
                <a:gd name="T27" fmla="*/ 246 h 280"/>
                <a:gd name="T28" fmla="*/ 67 w 269"/>
                <a:gd name="T29" fmla="*/ 237 h 280"/>
                <a:gd name="T30" fmla="*/ 54 w 269"/>
                <a:gd name="T31" fmla="*/ 223 h 280"/>
                <a:gd name="T32" fmla="*/ 44 w 269"/>
                <a:gd name="T33" fmla="*/ 203 h 280"/>
                <a:gd name="T34" fmla="*/ 36 w 269"/>
                <a:gd name="T35" fmla="*/ 172 h 280"/>
                <a:gd name="T36" fmla="*/ 41 w 269"/>
                <a:gd name="T37" fmla="*/ 164 h 280"/>
                <a:gd name="T38" fmla="*/ 35 w 269"/>
                <a:gd name="T39" fmla="*/ 156 h 280"/>
                <a:gd name="T40" fmla="*/ 23 w 269"/>
                <a:gd name="T41" fmla="*/ 144 h 280"/>
                <a:gd name="T42" fmla="*/ 11 w 269"/>
                <a:gd name="T43" fmla="*/ 133 h 280"/>
                <a:gd name="T44" fmla="*/ 35 w 269"/>
                <a:gd name="T45" fmla="*/ 100 h 280"/>
                <a:gd name="T46" fmla="*/ 50 w 269"/>
                <a:gd name="T47" fmla="*/ 93 h 280"/>
                <a:gd name="T48" fmla="*/ 80 w 269"/>
                <a:gd name="T49" fmla="*/ 86 h 280"/>
                <a:gd name="T50" fmla="*/ 105 w 269"/>
                <a:gd name="T51" fmla="*/ 84 h 280"/>
                <a:gd name="T52" fmla="*/ 116 w 269"/>
                <a:gd name="T53" fmla="*/ 77 h 280"/>
                <a:gd name="T54" fmla="*/ 126 w 269"/>
                <a:gd name="T55" fmla="*/ 63 h 280"/>
                <a:gd name="T56" fmla="*/ 143 w 269"/>
                <a:gd name="T57" fmla="*/ 54 h 280"/>
                <a:gd name="T58" fmla="*/ 197 w 269"/>
                <a:gd name="T59" fmla="*/ 46 h 280"/>
                <a:gd name="T60" fmla="*/ 245 w 269"/>
                <a:gd name="T61" fmla="*/ 28 h 280"/>
                <a:gd name="T62" fmla="*/ 253 w 269"/>
                <a:gd name="T63" fmla="*/ 24 h 280"/>
                <a:gd name="T64" fmla="*/ 261 w 269"/>
                <a:gd name="T65" fmla="*/ 20 h 280"/>
                <a:gd name="T66" fmla="*/ 269 w 269"/>
                <a:gd name="T67" fmla="*/ 150 h 280"/>
                <a:gd name="T68" fmla="*/ 269 w 269"/>
                <a:gd name="T69" fmla="*/ 280 h 280"/>
                <a:gd name="T70" fmla="*/ 259 w 269"/>
                <a:gd name="T71" fmla="*/ 280 h 280"/>
                <a:gd name="T72" fmla="*/ 245 w 269"/>
                <a:gd name="T73" fmla="*/ 272 h 280"/>
                <a:gd name="T74" fmla="*/ 14 w 269"/>
                <a:gd name="T75" fmla="*/ 92 h 280"/>
                <a:gd name="T76" fmla="*/ 9 w 269"/>
                <a:gd name="T77" fmla="*/ 69 h 280"/>
                <a:gd name="T78" fmla="*/ 0 w 269"/>
                <a:gd name="T79" fmla="*/ 50 h 280"/>
                <a:gd name="T80" fmla="*/ 18 w 269"/>
                <a:gd name="T81" fmla="*/ 32 h 280"/>
                <a:gd name="T82" fmla="*/ 37 w 269"/>
                <a:gd name="T83" fmla="*/ 8 h 280"/>
                <a:gd name="T84" fmla="*/ 55 w 269"/>
                <a:gd name="T85" fmla="*/ 20 h 280"/>
                <a:gd name="T86" fmla="*/ 77 w 269"/>
                <a:gd name="T87" fmla="*/ 34 h 280"/>
                <a:gd name="T88" fmla="*/ 75 w 269"/>
                <a:gd name="T89" fmla="*/ 56 h 280"/>
                <a:gd name="T90" fmla="*/ 57 w 269"/>
                <a:gd name="T91" fmla="*/ 69 h 280"/>
                <a:gd name="T92" fmla="*/ 34 w 269"/>
                <a:gd name="T93" fmla="*/ 89 h 280"/>
                <a:gd name="T94" fmla="*/ 19 w 269"/>
                <a:gd name="T95" fmla="*/ 94 h 280"/>
                <a:gd name="T96" fmla="*/ 14 w 269"/>
                <a:gd name="T97" fmla="*/ 92 h 280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9" h="280">
                  <a:moveTo>
                    <a:pt x="245" y="272"/>
                  </a:moveTo>
                  <a:cubicBezTo>
                    <a:pt x="243" y="268"/>
                    <a:pt x="232" y="261"/>
                    <a:pt x="221" y="257"/>
                  </a:cubicBezTo>
                  <a:cubicBezTo>
                    <a:pt x="210" y="253"/>
                    <a:pt x="201" y="248"/>
                    <a:pt x="201" y="247"/>
                  </a:cubicBezTo>
                  <a:cubicBezTo>
                    <a:pt x="201" y="245"/>
                    <a:pt x="198" y="244"/>
                    <a:pt x="195" y="244"/>
                  </a:cubicBezTo>
                  <a:cubicBezTo>
                    <a:pt x="191" y="244"/>
                    <a:pt x="189" y="246"/>
                    <a:pt x="189" y="249"/>
                  </a:cubicBezTo>
                  <a:cubicBezTo>
                    <a:pt x="189" y="252"/>
                    <a:pt x="186" y="256"/>
                    <a:pt x="183" y="257"/>
                  </a:cubicBezTo>
                  <a:cubicBezTo>
                    <a:pt x="179" y="258"/>
                    <a:pt x="177" y="262"/>
                    <a:pt x="177" y="265"/>
                  </a:cubicBezTo>
                  <a:cubicBezTo>
                    <a:pt x="177" y="268"/>
                    <a:pt x="174" y="272"/>
                    <a:pt x="171" y="273"/>
                  </a:cubicBezTo>
                  <a:cubicBezTo>
                    <a:pt x="163" y="276"/>
                    <a:pt x="129" y="271"/>
                    <a:pt x="129" y="267"/>
                  </a:cubicBezTo>
                  <a:cubicBezTo>
                    <a:pt x="129" y="265"/>
                    <a:pt x="126" y="263"/>
                    <a:pt x="124" y="263"/>
                  </a:cubicBezTo>
                  <a:cubicBezTo>
                    <a:pt x="121" y="263"/>
                    <a:pt x="114" y="261"/>
                    <a:pt x="107" y="258"/>
                  </a:cubicBezTo>
                  <a:cubicBezTo>
                    <a:pt x="98" y="253"/>
                    <a:pt x="96" y="253"/>
                    <a:pt x="92" y="257"/>
                  </a:cubicBezTo>
                  <a:cubicBezTo>
                    <a:pt x="88" y="261"/>
                    <a:pt x="86" y="261"/>
                    <a:pt x="82" y="257"/>
                  </a:cubicBezTo>
                  <a:cubicBezTo>
                    <a:pt x="79" y="254"/>
                    <a:pt x="77" y="249"/>
                    <a:pt x="77" y="246"/>
                  </a:cubicBezTo>
                  <a:cubicBezTo>
                    <a:pt x="77" y="242"/>
                    <a:pt x="72" y="239"/>
                    <a:pt x="67" y="237"/>
                  </a:cubicBezTo>
                  <a:cubicBezTo>
                    <a:pt x="60" y="236"/>
                    <a:pt x="56" y="231"/>
                    <a:pt x="54" y="223"/>
                  </a:cubicBezTo>
                  <a:cubicBezTo>
                    <a:pt x="53" y="216"/>
                    <a:pt x="48" y="207"/>
                    <a:pt x="44" y="203"/>
                  </a:cubicBezTo>
                  <a:cubicBezTo>
                    <a:pt x="30" y="189"/>
                    <a:pt x="28" y="180"/>
                    <a:pt x="36" y="172"/>
                  </a:cubicBezTo>
                  <a:cubicBezTo>
                    <a:pt x="41" y="167"/>
                    <a:pt x="43" y="164"/>
                    <a:pt x="41" y="164"/>
                  </a:cubicBezTo>
                  <a:cubicBezTo>
                    <a:pt x="39" y="164"/>
                    <a:pt x="37" y="160"/>
                    <a:pt x="35" y="156"/>
                  </a:cubicBezTo>
                  <a:cubicBezTo>
                    <a:pt x="34" y="151"/>
                    <a:pt x="29" y="146"/>
                    <a:pt x="23" y="144"/>
                  </a:cubicBezTo>
                  <a:cubicBezTo>
                    <a:pt x="18" y="142"/>
                    <a:pt x="12" y="137"/>
                    <a:pt x="11" y="133"/>
                  </a:cubicBezTo>
                  <a:cubicBezTo>
                    <a:pt x="8" y="125"/>
                    <a:pt x="26" y="100"/>
                    <a:pt x="35" y="100"/>
                  </a:cubicBezTo>
                  <a:cubicBezTo>
                    <a:pt x="39" y="100"/>
                    <a:pt x="45" y="96"/>
                    <a:pt x="50" y="93"/>
                  </a:cubicBezTo>
                  <a:cubicBezTo>
                    <a:pt x="55" y="87"/>
                    <a:pt x="63" y="86"/>
                    <a:pt x="80" y="86"/>
                  </a:cubicBezTo>
                  <a:cubicBezTo>
                    <a:pt x="92" y="86"/>
                    <a:pt x="103" y="85"/>
                    <a:pt x="105" y="84"/>
                  </a:cubicBezTo>
                  <a:cubicBezTo>
                    <a:pt x="106" y="82"/>
                    <a:pt x="111" y="79"/>
                    <a:pt x="116" y="77"/>
                  </a:cubicBezTo>
                  <a:cubicBezTo>
                    <a:pt x="123" y="74"/>
                    <a:pt x="126" y="70"/>
                    <a:pt x="126" y="63"/>
                  </a:cubicBezTo>
                  <a:cubicBezTo>
                    <a:pt x="127" y="54"/>
                    <a:pt x="128" y="54"/>
                    <a:pt x="143" y="54"/>
                  </a:cubicBezTo>
                  <a:cubicBezTo>
                    <a:pt x="166" y="56"/>
                    <a:pt x="192" y="52"/>
                    <a:pt x="197" y="46"/>
                  </a:cubicBezTo>
                  <a:cubicBezTo>
                    <a:pt x="204" y="39"/>
                    <a:pt x="235" y="28"/>
                    <a:pt x="245" y="28"/>
                  </a:cubicBezTo>
                  <a:cubicBezTo>
                    <a:pt x="249" y="28"/>
                    <a:pt x="253" y="26"/>
                    <a:pt x="253" y="24"/>
                  </a:cubicBezTo>
                  <a:cubicBezTo>
                    <a:pt x="253" y="21"/>
                    <a:pt x="256" y="20"/>
                    <a:pt x="261" y="20"/>
                  </a:cubicBezTo>
                  <a:cubicBezTo>
                    <a:pt x="268" y="20"/>
                    <a:pt x="269" y="22"/>
                    <a:pt x="269" y="150"/>
                  </a:cubicBezTo>
                  <a:cubicBezTo>
                    <a:pt x="269" y="280"/>
                    <a:pt x="269" y="280"/>
                    <a:pt x="269" y="280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3" y="280"/>
                    <a:pt x="247" y="276"/>
                    <a:pt x="245" y="272"/>
                  </a:cubicBezTo>
                  <a:close/>
                  <a:moveTo>
                    <a:pt x="14" y="92"/>
                  </a:moveTo>
                  <a:cubicBezTo>
                    <a:pt x="16" y="90"/>
                    <a:pt x="13" y="79"/>
                    <a:pt x="9" y="69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28" y="22"/>
                    <a:pt x="37" y="11"/>
                    <a:pt x="37" y="8"/>
                  </a:cubicBezTo>
                  <a:cubicBezTo>
                    <a:pt x="37" y="0"/>
                    <a:pt x="49" y="8"/>
                    <a:pt x="55" y="20"/>
                  </a:cubicBezTo>
                  <a:cubicBezTo>
                    <a:pt x="59" y="29"/>
                    <a:pt x="64" y="32"/>
                    <a:pt x="77" y="34"/>
                  </a:cubicBezTo>
                  <a:cubicBezTo>
                    <a:pt x="98" y="37"/>
                    <a:pt x="97" y="46"/>
                    <a:pt x="75" y="56"/>
                  </a:cubicBezTo>
                  <a:cubicBezTo>
                    <a:pt x="65" y="60"/>
                    <a:pt x="57" y="66"/>
                    <a:pt x="57" y="69"/>
                  </a:cubicBezTo>
                  <a:cubicBezTo>
                    <a:pt x="57" y="76"/>
                    <a:pt x="44" y="87"/>
                    <a:pt x="34" y="89"/>
                  </a:cubicBezTo>
                  <a:cubicBezTo>
                    <a:pt x="30" y="90"/>
                    <a:pt x="23" y="92"/>
                    <a:pt x="19" y="94"/>
                  </a:cubicBezTo>
                  <a:cubicBezTo>
                    <a:pt x="14" y="96"/>
                    <a:pt x="12" y="95"/>
                    <a:pt x="14" y="92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2"/>
            <p:cNvSpPr>
              <a:spLocks noEditPoints="1"/>
            </p:cNvSpPr>
            <p:nvPr userDrawn="1">
              <p:custDataLst>
                <p:tags r:id="rId46"/>
              </p:custDataLst>
            </p:nvPr>
          </p:nvSpPr>
          <p:spPr bwMode="grayWhite">
            <a:xfrm>
              <a:off x="11572875" y="2278063"/>
              <a:ext cx="769938" cy="830263"/>
            </a:xfrm>
            <a:custGeom>
              <a:gdLst>
                <a:gd name="T0" fmla="*/ 163 w 281"/>
                <a:gd name="T1" fmla="*/ 296 h 299"/>
                <a:gd name="T2" fmla="*/ 176 w 281"/>
                <a:gd name="T3" fmla="*/ 284 h 299"/>
                <a:gd name="T4" fmla="*/ 191 w 281"/>
                <a:gd name="T5" fmla="*/ 284 h 299"/>
                <a:gd name="T6" fmla="*/ 198 w 281"/>
                <a:gd name="T7" fmla="*/ 284 h 299"/>
                <a:gd name="T8" fmla="*/ 227 w 281"/>
                <a:gd name="T9" fmla="*/ 277 h 299"/>
                <a:gd name="T10" fmla="*/ 258 w 281"/>
                <a:gd name="T11" fmla="*/ 271 h 299"/>
                <a:gd name="T12" fmla="*/ 265 w 281"/>
                <a:gd name="T13" fmla="*/ 271 h 299"/>
                <a:gd name="T14" fmla="*/ 240 w 281"/>
                <a:gd name="T15" fmla="*/ 288 h 299"/>
                <a:gd name="T16" fmla="*/ 210 w 281"/>
                <a:gd name="T17" fmla="*/ 295 h 299"/>
                <a:gd name="T18" fmla="*/ 171 w 281"/>
                <a:gd name="T19" fmla="*/ 298 h 299"/>
                <a:gd name="T20" fmla="*/ 163 w 281"/>
                <a:gd name="T21" fmla="*/ 296 h 299"/>
                <a:gd name="T22" fmla="*/ 100 w 281"/>
                <a:gd name="T23" fmla="*/ 243 h 299"/>
                <a:gd name="T24" fmla="*/ 87 w 281"/>
                <a:gd name="T25" fmla="*/ 242 h 299"/>
                <a:gd name="T26" fmla="*/ 76 w 281"/>
                <a:gd name="T27" fmla="*/ 243 h 299"/>
                <a:gd name="T28" fmla="*/ 73 w 281"/>
                <a:gd name="T29" fmla="*/ 231 h 299"/>
                <a:gd name="T30" fmla="*/ 61 w 281"/>
                <a:gd name="T31" fmla="*/ 216 h 299"/>
                <a:gd name="T32" fmla="*/ 51 w 281"/>
                <a:gd name="T33" fmla="*/ 202 h 299"/>
                <a:gd name="T34" fmla="*/ 100 w 281"/>
                <a:gd name="T35" fmla="*/ 185 h 299"/>
                <a:gd name="T36" fmla="*/ 111 w 281"/>
                <a:gd name="T37" fmla="*/ 184 h 299"/>
                <a:gd name="T38" fmla="*/ 112 w 281"/>
                <a:gd name="T39" fmla="*/ 177 h 299"/>
                <a:gd name="T40" fmla="*/ 74 w 281"/>
                <a:gd name="T41" fmla="*/ 177 h 299"/>
                <a:gd name="T42" fmla="*/ 52 w 281"/>
                <a:gd name="T43" fmla="*/ 183 h 299"/>
                <a:gd name="T44" fmla="*/ 30 w 281"/>
                <a:gd name="T45" fmla="*/ 168 h 299"/>
                <a:gd name="T46" fmla="*/ 37 w 281"/>
                <a:gd name="T47" fmla="*/ 164 h 299"/>
                <a:gd name="T48" fmla="*/ 22 w 281"/>
                <a:gd name="T49" fmla="*/ 158 h 299"/>
                <a:gd name="T50" fmla="*/ 2 w 281"/>
                <a:gd name="T51" fmla="*/ 122 h 299"/>
                <a:gd name="T52" fmla="*/ 24 w 281"/>
                <a:gd name="T53" fmla="*/ 74 h 299"/>
                <a:gd name="T54" fmla="*/ 38 w 281"/>
                <a:gd name="T55" fmla="*/ 60 h 299"/>
                <a:gd name="T56" fmla="*/ 59 w 281"/>
                <a:gd name="T57" fmla="*/ 44 h 299"/>
                <a:gd name="T58" fmla="*/ 77 w 281"/>
                <a:gd name="T59" fmla="*/ 32 h 299"/>
                <a:gd name="T60" fmla="*/ 82 w 281"/>
                <a:gd name="T61" fmla="*/ 28 h 299"/>
                <a:gd name="T62" fmla="*/ 100 w 281"/>
                <a:gd name="T63" fmla="*/ 17 h 299"/>
                <a:gd name="T64" fmla="*/ 132 w 281"/>
                <a:gd name="T65" fmla="*/ 10 h 299"/>
                <a:gd name="T66" fmla="*/ 162 w 281"/>
                <a:gd name="T67" fmla="*/ 6 h 299"/>
                <a:gd name="T68" fmla="*/ 176 w 281"/>
                <a:gd name="T69" fmla="*/ 12 h 299"/>
                <a:gd name="T70" fmla="*/ 181 w 281"/>
                <a:gd name="T71" fmla="*/ 26 h 299"/>
                <a:gd name="T72" fmla="*/ 159 w 281"/>
                <a:gd name="T73" fmla="*/ 28 h 299"/>
                <a:gd name="T74" fmla="*/ 137 w 281"/>
                <a:gd name="T75" fmla="*/ 32 h 299"/>
                <a:gd name="T76" fmla="*/ 130 w 281"/>
                <a:gd name="T77" fmla="*/ 36 h 299"/>
                <a:gd name="T78" fmla="*/ 118 w 281"/>
                <a:gd name="T79" fmla="*/ 44 h 299"/>
                <a:gd name="T80" fmla="*/ 105 w 281"/>
                <a:gd name="T81" fmla="*/ 52 h 299"/>
                <a:gd name="T82" fmla="*/ 105 w 281"/>
                <a:gd name="T83" fmla="*/ 60 h 299"/>
                <a:gd name="T84" fmla="*/ 118 w 281"/>
                <a:gd name="T85" fmla="*/ 68 h 299"/>
                <a:gd name="T86" fmla="*/ 111 w 281"/>
                <a:gd name="T87" fmla="*/ 75 h 299"/>
                <a:gd name="T88" fmla="*/ 84 w 281"/>
                <a:gd name="T89" fmla="*/ 77 h 299"/>
                <a:gd name="T90" fmla="*/ 69 w 281"/>
                <a:gd name="T91" fmla="*/ 90 h 299"/>
                <a:gd name="T92" fmla="*/ 134 w 281"/>
                <a:gd name="T93" fmla="*/ 146 h 299"/>
                <a:gd name="T94" fmla="*/ 134 w 281"/>
                <a:gd name="T95" fmla="*/ 154 h 299"/>
                <a:gd name="T96" fmla="*/ 101 w 281"/>
                <a:gd name="T97" fmla="*/ 149 h 299"/>
                <a:gd name="T98" fmla="*/ 121 w 281"/>
                <a:gd name="T99" fmla="*/ 160 h 299"/>
                <a:gd name="T100" fmla="*/ 149 w 281"/>
                <a:gd name="T101" fmla="*/ 182 h 299"/>
                <a:gd name="T102" fmla="*/ 137 w 281"/>
                <a:gd name="T103" fmla="*/ 182 h 299"/>
                <a:gd name="T104" fmla="*/ 119 w 281"/>
                <a:gd name="T105" fmla="*/ 185 h 299"/>
                <a:gd name="T106" fmla="*/ 123 w 281"/>
                <a:gd name="T107" fmla="*/ 199 h 299"/>
                <a:gd name="T108" fmla="*/ 117 w 281"/>
                <a:gd name="T109" fmla="*/ 208 h 299"/>
                <a:gd name="T110" fmla="*/ 115 w 281"/>
                <a:gd name="T111" fmla="*/ 223 h 299"/>
                <a:gd name="T112" fmla="*/ 119 w 281"/>
                <a:gd name="T113" fmla="*/ 242 h 299"/>
                <a:gd name="T114" fmla="*/ 110 w 281"/>
                <a:gd name="T115" fmla="*/ 245 h 299"/>
                <a:gd name="T116" fmla="*/ 100 w 281"/>
                <a:gd name="T117" fmla="*/ 243 h 299"/>
                <a:gd name="T118" fmla="*/ 258 w 281"/>
                <a:gd name="T119" fmla="*/ 231 h 299"/>
                <a:gd name="T120" fmla="*/ 271 w 281"/>
                <a:gd name="T121" fmla="*/ 216 h 299"/>
                <a:gd name="T122" fmla="*/ 275 w 281"/>
                <a:gd name="T123" fmla="*/ 231 h 299"/>
                <a:gd name="T124" fmla="*/ 258 w 281"/>
                <a:gd name="T125" fmla="*/ 231 h 299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1" h="299">
                  <a:moveTo>
                    <a:pt x="163" y="296"/>
                  </a:moveTo>
                  <a:cubicBezTo>
                    <a:pt x="159" y="290"/>
                    <a:pt x="161" y="288"/>
                    <a:pt x="176" y="284"/>
                  </a:cubicBezTo>
                  <a:cubicBezTo>
                    <a:pt x="184" y="281"/>
                    <a:pt x="189" y="282"/>
                    <a:pt x="191" y="284"/>
                  </a:cubicBezTo>
                  <a:cubicBezTo>
                    <a:pt x="192" y="286"/>
                    <a:pt x="195" y="287"/>
                    <a:pt x="198" y="284"/>
                  </a:cubicBezTo>
                  <a:cubicBezTo>
                    <a:pt x="200" y="282"/>
                    <a:pt x="213" y="279"/>
                    <a:pt x="227" y="277"/>
                  </a:cubicBezTo>
                  <a:cubicBezTo>
                    <a:pt x="240" y="276"/>
                    <a:pt x="254" y="273"/>
                    <a:pt x="258" y="271"/>
                  </a:cubicBezTo>
                  <a:cubicBezTo>
                    <a:pt x="262" y="269"/>
                    <a:pt x="265" y="269"/>
                    <a:pt x="265" y="271"/>
                  </a:cubicBezTo>
                  <a:cubicBezTo>
                    <a:pt x="265" y="274"/>
                    <a:pt x="254" y="281"/>
                    <a:pt x="240" y="288"/>
                  </a:cubicBezTo>
                  <a:cubicBezTo>
                    <a:pt x="221" y="297"/>
                    <a:pt x="215" y="299"/>
                    <a:pt x="210" y="295"/>
                  </a:cubicBezTo>
                  <a:cubicBezTo>
                    <a:pt x="205" y="291"/>
                    <a:pt x="185" y="292"/>
                    <a:pt x="171" y="298"/>
                  </a:cubicBezTo>
                  <a:cubicBezTo>
                    <a:pt x="168" y="299"/>
                    <a:pt x="164" y="298"/>
                    <a:pt x="163" y="296"/>
                  </a:cubicBezTo>
                  <a:close/>
                  <a:moveTo>
                    <a:pt x="100" y="243"/>
                  </a:moveTo>
                  <a:cubicBezTo>
                    <a:pt x="94" y="235"/>
                    <a:pt x="94" y="235"/>
                    <a:pt x="87" y="242"/>
                  </a:cubicBezTo>
                  <a:cubicBezTo>
                    <a:pt x="81" y="248"/>
                    <a:pt x="79" y="248"/>
                    <a:pt x="76" y="243"/>
                  </a:cubicBezTo>
                  <a:cubicBezTo>
                    <a:pt x="74" y="240"/>
                    <a:pt x="73" y="235"/>
                    <a:pt x="73" y="231"/>
                  </a:cubicBezTo>
                  <a:cubicBezTo>
                    <a:pt x="73" y="228"/>
                    <a:pt x="67" y="221"/>
                    <a:pt x="61" y="216"/>
                  </a:cubicBezTo>
                  <a:cubicBezTo>
                    <a:pt x="54" y="211"/>
                    <a:pt x="50" y="205"/>
                    <a:pt x="51" y="202"/>
                  </a:cubicBezTo>
                  <a:cubicBezTo>
                    <a:pt x="53" y="195"/>
                    <a:pt x="94" y="182"/>
                    <a:pt x="100" y="185"/>
                  </a:cubicBezTo>
                  <a:cubicBezTo>
                    <a:pt x="103" y="187"/>
                    <a:pt x="107" y="186"/>
                    <a:pt x="111" y="184"/>
                  </a:cubicBezTo>
                  <a:cubicBezTo>
                    <a:pt x="116" y="182"/>
                    <a:pt x="116" y="180"/>
                    <a:pt x="112" y="177"/>
                  </a:cubicBezTo>
                  <a:cubicBezTo>
                    <a:pt x="103" y="170"/>
                    <a:pt x="87" y="170"/>
                    <a:pt x="74" y="177"/>
                  </a:cubicBezTo>
                  <a:cubicBezTo>
                    <a:pt x="67" y="180"/>
                    <a:pt x="57" y="183"/>
                    <a:pt x="52" y="183"/>
                  </a:cubicBezTo>
                  <a:cubicBezTo>
                    <a:pt x="41" y="182"/>
                    <a:pt x="20" y="168"/>
                    <a:pt x="30" y="168"/>
                  </a:cubicBezTo>
                  <a:cubicBezTo>
                    <a:pt x="34" y="168"/>
                    <a:pt x="37" y="166"/>
                    <a:pt x="37" y="164"/>
                  </a:cubicBezTo>
                  <a:cubicBezTo>
                    <a:pt x="37" y="159"/>
                    <a:pt x="36" y="159"/>
                    <a:pt x="22" y="158"/>
                  </a:cubicBezTo>
                  <a:cubicBezTo>
                    <a:pt x="4" y="156"/>
                    <a:pt x="0" y="149"/>
                    <a:pt x="2" y="122"/>
                  </a:cubicBezTo>
                  <a:cubicBezTo>
                    <a:pt x="4" y="92"/>
                    <a:pt x="9" y="82"/>
                    <a:pt x="24" y="74"/>
                  </a:cubicBezTo>
                  <a:cubicBezTo>
                    <a:pt x="31" y="70"/>
                    <a:pt x="37" y="64"/>
                    <a:pt x="38" y="60"/>
                  </a:cubicBezTo>
                  <a:cubicBezTo>
                    <a:pt x="40" y="56"/>
                    <a:pt x="49" y="49"/>
                    <a:pt x="59" y="44"/>
                  </a:cubicBezTo>
                  <a:cubicBezTo>
                    <a:pt x="68" y="40"/>
                    <a:pt x="77" y="34"/>
                    <a:pt x="77" y="32"/>
                  </a:cubicBezTo>
                  <a:cubicBezTo>
                    <a:pt x="77" y="29"/>
                    <a:pt x="79" y="28"/>
                    <a:pt x="82" y="28"/>
                  </a:cubicBezTo>
                  <a:cubicBezTo>
                    <a:pt x="85" y="28"/>
                    <a:pt x="93" y="23"/>
                    <a:pt x="100" y="17"/>
                  </a:cubicBezTo>
                  <a:cubicBezTo>
                    <a:pt x="111" y="8"/>
                    <a:pt x="114" y="7"/>
                    <a:pt x="132" y="10"/>
                  </a:cubicBezTo>
                  <a:cubicBezTo>
                    <a:pt x="147" y="12"/>
                    <a:pt x="155" y="11"/>
                    <a:pt x="162" y="6"/>
                  </a:cubicBezTo>
                  <a:cubicBezTo>
                    <a:pt x="172" y="0"/>
                    <a:pt x="172" y="0"/>
                    <a:pt x="176" y="12"/>
                  </a:cubicBezTo>
                  <a:cubicBezTo>
                    <a:pt x="179" y="19"/>
                    <a:pt x="181" y="25"/>
                    <a:pt x="181" y="26"/>
                  </a:cubicBezTo>
                  <a:cubicBezTo>
                    <a:pt x="181" y="27"/>
                    <a:pt x="171" y="28"/>
                    <a:pt x="159" y="28"/>
                  </a:cubicBezTo>
                  <a:cubicBezTo>
                    <a:pt x="146" y="28"/>
                    <a:pt x="137" y="29"/>
                    <a:pt x="137" y="32"/>
                  </a:cubicBezTo>
                  <a:cubicBezTo>
                    <a:pt x="137" y="34"/>
                    <a:pt x="134" y="36"/>
                    <a:pt x="130" y="36"/>
                  </a:cubicBezTo>
                  <a:cubicBezTo>
                    <a:pt x="127" y="36"/>
                    <a:pt x="121" y="39"/>
                    <a:pt x="118" y="44"/>
                  </a:cubicBezTo>
                  <a:cubicBezTo>
                    <a:pt x="114" y="48"/>
                    <a:pt x="108" y="52"/>
                    <a:pt x="105" y="52"/>
                  </a:cubicBezTo>
                  <a:cubicBezTo>
                    <a:pt x="101" y="52"/>
                    <a:pt x="101" y="53"/>
                    <a:pt x="105" y="60"/>
                  </a:cubicBezTo>
                  <a:cubicBezTo>
                    <a:pt x="107" y="64"/>
                    <a:pt x="113" y="68"/>
                    <a:pt x="118" y="68"/>
                  </a:cubicBezTo>
                  <a:cubicBezTo>
                    <a:pt x="124" y="68"/>
                    <a:pt x="123" y="70"/>
                    <a:pt x="111" y="75"/>
                  </a:cubicBezTo>
                  <a:cubicBezTo>
                    <a:pt x="97" y="81"/>
                    <a:pt x="93" y="82"/>
                    <a:pt x="84" y="77"/>
                  </a:cubicBezTo>
                  <a:cubicBezTo>
                    <a:pt x="71" y="71"/>
                    <a:pt x="69" y="73"/>
                    <a:pt x="69" y="90"/>
                  </a:cubicBezTo>
                  <a:cubicBezTo>
                    <a:pt x="69" y="115"/>
                    <a:pt x="96" y="139"/>
                    <a:pt x="134" y="146"/>
                  </a:cubicBezTo>
                  <a:cubicBezTo>
                    <a:pt x="151" y="150"/>
                    <a:pt x="152" y="157"/>
                    <a:pt x="134" y="154"/>
                  </a:cubicBezTo>
                  <a:cubicBezTo>
                    <a:pt x="126" y="152"/>
                    <a:pt x="110" y="150"/>
                    <a:pt x="101" y="149"/>
                  </a:cubicBezTo>
                  <a:cubicBezTo>
                    <a:pt x="81" y="148"/>
                    <a:pt x="85" y="150"/>
                    <a:pt x="121" y="160"/>
                  </a:cubicBezTo>
                  <a:cubicBezTo>
                    <a:pt x="139" y="165"/>
                    <a:pt x="149" y="173"/>
                    <a:pt x="149" y="182"/>
                  </a:cubicBezTo>
                  <a:cubicBezTo>
                    <a:pt x="149" y="186"/>
                    <a:pt x="146" y="186"/>
                    <a:pt x="137" y="182"/>
                  </a:cubicBezTo>
                  <a:cubicBezTo>
                    <a:pt x="128" y="179"/>
                    <a:pt x="124" y="179"/>
                    <a:pt x="119" y="185"/>
                  </a:cubicBezTo>
                  <a:cubicBezTo>
                    <a:pt x="113" y="190"/>
                    <a:pt x="113" y="192"/>
                    <a:pt x="123" y="199"/>
                  </a:cubicBezTo>
                  <a:cubicBezTo>
                    <a:pt x="134" y="208"/>
                    <a:pt x="129" y="214"/>
                    <a:pt x="117" y="208"/>
                  </a:cubicBezTo>
                  <a:cubicBezTo>
                    <a:pt x="101" y="199"/>
                    <a:pt x="100" y="206"/>
                    <a:pt x="115" y="223"/>
                  </a:cubicBezTo>
                  <a:cubicBezTo>
                    <a:pt x="126" y="236"/>
                    <a:pt x="128" y="246"/>
                    <a:pt x="119" y="242"/>
                  </a:cubicBezTo>
                  <a:cubicBezTo>
                    <a:pt x="115" y="241"/>
                    <a:pt x="111" y="242"/>
                    <a:pt x="110" y="245"/>
                  </a:cubicBezTo>
                  <a:cubicBezTo>
                    <a:pt x="107" y="249"/>
                    <a:pt x="105" y="249"/>
                    <a:pt x="100" y="243"/>
                  </a:cubicBezTo>
                  <a:close/>
                  <a:moveTo>
                    <a:pt x="258" y="231"/>
                  </a:moveTo>
                  <a:cubicBezTo>
                    <a:pt x="255" y="226"/>
                    <a:pt x="264" y="216"/>
                    <a:pt x="271" y="216"/>
                  </a:cubicBezTo>
                  <a:cubicBezTo>
                    <a:pt x="278" y="216"/>
                    <a:pt x="281" y="226"/>
                    <a:pt x="275" y="231"/>
                  </a:cubicBezTo>
                  <a:cubicBezTo>
                    <a:pt x="270" y="237"/>
                    <a:pt x="262" y="237"/>
                    <a:pt x="258" y="231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3"/>
            <p:cNvSpPr/>
            <p:nvPr userDrawn="1">
              <p:custDataLst>
                <p:tags r:id="rId47"/>
              </p:custDataLst>
            </p:nvPr>
          </p:nvSpPr>
          <p:spPr bwMode="grayWhite">
            <a:xfrm>
              <a:off x="8847138" y="928687"/>
              <a:ext cx="334963" cy="468313"/>
            </a:xfrm>
            <a:custGeom>
              <a:gdLst>
                <a:gd name="T0" fmla="*/ 25 w 122"/>
                <a:gd name="T1" fmla="*/ 167 h 169"/>
                <a:gd name="T2" fmla="*/ 18 w 122"/>
                <a:gd name="T3" fmla="*/ 159 h 169"/>
                <a:gd name="T4" fmla="*/ 16 w 122"/>
                <a:gd name="T5" fmla="*/ 154 h 169"/>
                <a:gd name="T6" fmla="*/ 14 w 122"/>
                <a:gd name="T7" fmla="*/ 149 h 169"/>
                <a:gd name="T8" fmla="*/ 8 w 122"/>
                <a:gd name="T9" fmla="*/ 147 h 169"/>
                <a:gd name="T10" fmla="*/ 0 w 122"/>
                <a:gd name="T11" fmla="*/ 146 h 169"/>
                <a:gd name="T12" fmla="*/ 11 w 122"/>
                <a:gd name="T13" fmla="*/ 139 h 169"/>
                <a:gd name="T14" fmla="*/ 22 w 122"/>
                <a:gd name="T15" fmla="*/ 136 h 169"/>
                <a:gd name="T16" fmla="*/ 12 w 122"/>
                <a:gd name="T17" fmla="*/ 133 h 169"/>
                <a:gd name="T18" fmla="*/ 8 w 122"/>
                <a:gd name="T19" fmla="*/ 130 h 169"/>
                <a:gd name="T20" fmla="*/ 21 w 122"/>
                <a:gd name="T21" fmla="*/ 111 h 169"/>
                <a:gd name="T22" fmla="*/ 23 w 122"/>
                <a:gd name="T23" fmla="*/ 77 h 169"/>
                <a:gd name="T24" fmla="*/ 23 w 122"/>
                <a:gd name="T25" fmla="*/ 66 h 169"/>
                <a:gd name="T26" fmla="*/ 25 w 122"/>
                <a:gd name="T27" fmla="*/ 54 h 169"/>
                <a:gd name="T28" fmla="*/ 24 w 122"/>
                <a:gd name="T29" fmla="*/ 43 h 169"/>
                <a:gd name="T30" fmla="*/ 38 w 122"/>
                <a:gd name="T31" fmla="*/ 38 h 169"/>
                <a:gd name="T32" fmla="*/ 64 w 122"/>
                <a:gd name="T33" fmla="*/ 34 h 169"/>
                <a:gd name="T34" fmla="*/ 66 w 122"/>
                <a:gd name="T35" fmla="*/ 23 h 169"/>
                <a:gd name="T36" fmla="*/ 83 w 122"/>
                <a:gd name="T37" fmla="*/ 4 h 169"/>
                <a:gd name="T38" fmla="*/ 85 w 122"/>
                <a:gd name="T39" fmla="*/ 22 h 169"/>
                <a:gd name="T40" fmla="*/ 81 w 122"/>
                <a:gd name="T41" fmla="*/ 43 h 169"/>
                <a:gd name="T42" fmla="*/ 98 w 122"/>
                <a:gd name="T43" fmla="*/ 48 h 169"/>
                <a:gd name="T44" fmla="*/ 113 w 122"/>
                <a:gd name="T45" fmla="*/ 56 h 169"/>
                <a:gd name="T46" fmla="*/ 114 w 122"/>
                <a:gd name="T47" fmla="*/ 131 h 169"/>
                <a:gd name="T48" fmla="*/ 89 w 122"/>
                <a:gd name="T49" fmla="*/ 143 h 169"/>
                <a:gd name="T50" fmla="*/ 74 w 122"/>
                <a:gd name="T51" fmla="*/ 146 h 169"/>
                <a:gd name="T52" fmla="*/ 65 w 122"/>
                <a:gd name="T53" fmla="*/ 152 h 169"/>
                <a:gd name="T54" fmla="*/ 47 w 122"/>
                <a:gd name="T55" fmla="*/ 162 h 169"/>
                <a:gd name="T56" fmla="*/ 37 w 122"/>
                <a:gd name="T57" fmla="*/ 169 h 169"/>
                <a:gd name="T58" fmla="*/ 25 w 122"/>
                <a:gd name="T59" fmla="*/ 167 h 169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2" h="169">
                  <a:moveTo>
                    <a:pt x="25" y="167"/>
                  </a:moveTo>
                  <a:cubicBezTo>
                    <a:pt x="19" y="166"/>
                    <a:pt x="17" y="163"/>
                    <a:pt x="18" y="159"/>
                  </a:cubicBezTo>
                  <a:cubicBezTo>
                    <a:pt x="19" y="156"/>
                    <a:pt x="18" y="154"/>
                    <a:pt x="16" y="154"/>
                  </a:cubicBezTo>
                  <a:cubicBezTo>
                    <a:pt x="13" y="154"/>
                    <a:pt x="12" y="152"/>
                    <a:pt x="14" y="149"/>
                  </a:cubicBezTo>
                  <a:cubicBezTo>
                    <a:pt x="16" y="146"/>
                    <a:pt x="14" y="146"/>
                    <a:pt x="8" y="147"/>
                  </a:cubicBezTo>
                  <a:cubicBezTo>
                    <a:pt x="3" y="149"/>
                    <a:pt x="0" y="148"/>
                    <a:pt x="0" y="146"/>
                  </a:cubicBezTo>
                  <a:cubicBezTo>
                    <a:pt x="0" y="144"/>
                    <a:pt x="5" y="141"/>
                    <a:pt x="11" y="139"/>
                  </a:cubicBezTo>
                  <a:cubicBezTo>
                    <a:pt x="22" y="136"/>
                    <a:pt x="22" y="136"/>
                    <a:pt x="22" y="136"/>
                  </a:cubicBezTo>
                  <a:cubicBezTo>
                    <a:pt x="12" y="133"/>
                    <a:pt x="12" y="133"/>
                    <a:pt x="12" y="133"/>
                  </a:cubicBezTo>
                  <a:cubicBezTo>
                    <a:pt x="6" y="132"/>
                    <a:pt x="4" y="130"/>
                    <a:pt x="8" y="130"/>
                  </a:cubicBezTo>
                  <a:cubicBezTo>
                    <a:pt x="12" y="130"/>
                    <a:pt x="17" y="123"/>
                    <a:pt x="21" y="111"/>
                  </a:cubicBezTo>
                  <a:cubicBezTo>
                    <a:pt x="29" y="89"/>
                    <a:pt x="29" y="79"/>
                    <a:pt x="23" y="77"/>
                  </a:cubicBezTo>
                  <a:cubicBezTo>
                    <a:pt x="20" y="76"/>
                    <a:pt x="20" y="73"/>
                    <a:pt x="23" y="66"/>
                  </a:cubicBezTo>
                  <a:cubicBezTo>
                    <a:pt x="27" y="60"/>
                    <a:pt x="27" y="56"/>
                    <a:pt x="25" y="54"/>
                  </a:cubicBezTo>
                  <a:cubicBezTo>
                    <a:pt x="22" y="53"/>
                    <a:pt x="22" y="48"/>
                    <a:pt x="24" y="43"/>
                  </a:cubicBezTo>
                  <a:cubicBezTo>
                    <a:pt x="28" y="33"/>
                    <a:pt x="34" y="31"/>
                    <a:pt x="38" y="38"/>
                  </a:cubicBezTo>
                  <a:cubicBezTo>
                    <a:pt x="42" y="44"/>
                    <a:pt x="55" y="42"/>
                    <a:pt x="64" y="34"/>
                  </a:cubicBezTo>
                  <a:cubicBezTo>
                    <a:pt x="71" y="27"/>
                    <a:pt x="72" y="26"/>
                    <a:pt x="66" y="23"/>
                  </a:cubicBezTo>
                  <a:cubicBezTo>
                    <a:pt x="57" y="18"/>
                    <a:pt x="66" y="7"/>
                    <a:pt x="83" y="4"/>
                  </a:cubicBezTo>
                  <a:cubicBezTo>
                    <a:pt x="99" y="0"/>
                    <a:pt x="100" y="7"/>
                    <a:pt x="85" y="22"/>
                  </a:cubicBezTo>
                  <a:cubicBezTo>
                    <a:pt x="75" y="33"/>
                    <a:pt x="75" y="34"/>
                    <a:pt x="81" y="43"/>
                  </a:cubicBezTo>
                  <a:cubicBezTo>
                    <a:pt x="89" y="55"/>
                    <a:pt x="95" y="56"/>
                    <a:pt x="98" y="48"/>
                  </a:cubicBezTo>
                  <a:cubicBezTo>
                    <a:pt x="102" y="38"/>
                    <a:pt x="106" y="40"/>
                    <a:pt x="113" y="56"/>
                  </a:cubicBezTo>
                  <a:cubicBezTo>
                    <a:pt x="121" y="74"/>
                    <a:pt x="122" y="114"/>
                    <a:pt x="114" y="131"/>
                  </a:cubicBezTo>
                  <a:cubicBezTo>
                    <a:pt x="108" y="143"/>
                    <a:pt x="106" y="144"/>
                    <a:pt x="89" y="143"/>
                  </a:cubicBezTo>
                  <a:cubicBezTo>
                    <a:pt x="79" y="142"/>
                    <a:pt x="72" y="144"/>
                    <a:pt x="74" y="146"/>
                  </a:cubicBezTo>
                  <a:cubicBezTo>
                    <a:pt x="75" y="148"/>
                    <a:pt x="71" y="151"/>
                    <a:pt x="65" y="152"/>
                  </a:cubicBezTo>
                  <a:cubicBezTo>
                    <a:pt x="59" y="154"/>
                    <a:pt x="51" y="158"/>
                    <a:pt x="47" y="162"/>
                  </a:cubicBezTo>
                  <a:cubicBezTo>
                    <a:pt x="43" y="166"/>
                    <a:pt x="38" y="169"/>
                    <a:pt x="37" y="169"/>
                  </a:cubicBezTo>
                  <a:cubicBezTo>
                    <a:pt x="35" y="169"/>
                    <a:pt x="30" y="168"/>
                    <a:pt x="25" y="167"/>
                  </a:cubicBezTo>
                  <a:close/>
                </a:path>
              </a:pathLst>
            </a:custGeom>
            <a:solidFill>
              <a:srgbClr val="C5C5C5"/>
            </a:solidFill>
            <a:ln w="33338" cap="flat">
              <a:solidFill>
                <a:srgbClr val="C5C5C5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7" name="Group 46"/>
          <p:cNvGrpSpPr/>
          <p:nvPr userDrawn="1">
            <p:custDataLst>
              <p:tags r:id="rId48"/>
            </p:custDataLst>
          </p:nvPr>
        </p:nvGrpSpPr>
        <p:grpSpPr>
          <a:xfrm>
            <a:off x="9268085" y="168165"/>
            <a:ext cx="1757363" cy="2408239"/>
            <a:chOff x="9064625" y="242887"/>
            <a:chExt cx="1757363" cy="2408239"/>
          </a:xfrm>
          <a:solidFill>
            <a:srgbClr val="0090A2"/>
          </a:solidFill>
        </p:grpSpPr>
        <p:sp>
          <p:nvSpPr>
            <p:cNvPr id="48" name="Freeform 44"/>
            <p:cNvSpPr>
              <a:spLocks noEditPoints="1"/>
            </p:cNvSpPr>
            <p:nvPr userDrawn="1">
              <p:custDataLst>
                <p:tags r:id="rId49"/>
              </p:custDataLst>
            </p:nvPr>
          </p:nvSpPr>
          <p:spPr bwMode="black">
            <a:xfrm>
              <a:off x="9064625" y="242887"/>
              <a:ext cx="696913" cy="1350963"/>
            </a:xfrm>
            <a:custGeom>
              <a:gdLst>
                <a:gd name="T0" fmla="*/ 49 w 255"/>
                <a:gd name="T1" fmla="*/ 482 h 487"/>
                <a:gd name="T2" fmla="*/ 72 w 255"/>
                <a:gd name="T3" fmla="*/ 466 h 487"/>
                <a:gd name="T4" fmla="*/ 110 w 255"/>
                <a:gd name="T5" fmla="*/ 442 h 487"/>
                <a:gd name="T6" fmla="*/ 118 w 255"/>
                <a:gd name="T7" fmla="*/ 428 h 487"/>
                <a:gd name="T8" fmla="*/ 79 w 255"/>
                <a:gd name="T9" fmla="*/ 415 h 487"/>
                <a:gd name="T10" fmla="*/ 71 w 255"/>
                <a:gd name="T11" fmla="*/ 402 h 487"/>
                <a:gd name="T12" fmla="*/ 89 w 255"/>
                <a:gd name="T13" fmla="*/ 365 h 487"/>
                <a:gd name="T14" fmla="*/ 85 w 255"/>
                <a:gd name="T15" fmla="*/ 348 h 487"/>
                <a:gd name="T16" fmla="*/ 124 w 255"/>
                <a:gd name="T17" fmla="*/ 340 h 487"/>
                <a:gd name="T18" fmla="*/ 126 w 255"/>
                <a:gd name="T19" fmla="*/ 303 h 487"/>
                <a:gd name="T20" fmla="*/ 118 w 255"/>
                <a:gd name="T21" fmla="*/ 272 h 487"/>
                <a:gd name="T22" fmla="*/ 80 w 255"/>
                <a:gd name="T23" fmla="*/ 258 h 487"/>
                <a:gd name="T24" fmla="*/ 88 w 255"/>
                <a:gd name="T25" fmla="*/ 226 h 487"/>
                <a:gd name="T26" fmla="*/ 73 w 255"/>
                <a:gd name="T27" fmla="*/ 218 h 487"/>
                <a:gd name="T28" fmla="*/ 65 w 255"/>
                <a:gd name="T29" fmla="*/ 209 h 487"/>
                <a:gd name="T30" fmla="*/ 74 w 255"/>
                <a:gd name="T31" fmla="*/ 131 h 487"/>
                <a:gd name="T32" fmla="*/ 112 w 255"/>
                <a:gd name="T33" fmla="*/ 101 h 487"/>
                <a:gd name="T34" fmla="*/ 118 w 255"/>
                <a:gd name="T35" fmla="*/ 122 h 487"/>
                <a:gd name="T36" fmla="*/ 110 w 255"/>
                <a:gd name="T37" fmla="*/ 140 h 487"/>
                <a:gd name="T38" fmla="*/ 111 w 255"/>
                <a:gd name="T39" fmla="*/ 148 h 487"/>
                <a:gd name="T40" fmla="*/ 153 w 255"/>
                <a:gd name="T41" fmla="*/ 173 h 487"/>
                <a:gd name="T42" fmla="*/ 136 w 255"/>
                <a:gd name="T43" fmla="*/ 203 h 487"/>
                <a:gd name="T44" fmla="*/ 127 w 255"/>
                <a:gd name="T45" fmla="*/ 218 h 487"/>
                <a:gd name="T46" fmla="*/ 155 w 255"/>
                <a:gd name="T47" fmla="*/ 230 h 487"/>
                <a:gd name="T48" fmla="*/ 175 w 255"/>
                <a:gd name="T49" fmla="*/ 277 h 487"/>
                <a:gd name="T50" fmla="*/ 209 w 255"/>
                <a:gd name="T51" fmla="*/ 332 h 487"/>
                <a:gd name="T52" fmla="*/ 223 w 255"/>
                <a:gd name="T53" fmla="*/ 367 h 487"/>
                <a:gd name="T54" fmla="*/ 237 w 255"/>
                <a:gd name="T55" fmla="*/ 415 h 487"/>
                <a:gd name="T56" fmla="*/ 245 w 255"/>
                <a:gd name="T57" fmla="*/ 435 h 487"/>
                <a:gd name="T58" fmla="*/ 197 w 255"/>
                <a:gd name="T59" fmla="*/ 460 h 487"/>
                <a:gd name="T60" fmla="*/ 128 w 255"/>
                <a:gd name="T61" fmla="*/ 464 h 487"/>
                <a:gd name="T62" fmla="*/ 90 w 255"/>
                <a:gd name="T63" fmla="*/ 479 h 487"/>
                <a:gd name="T64" fmla="*/ 48 w 255"/>
                <a:gd name="T65" fmla="*/ 485 h 487"/>
                <a:gd name="T66" fmla="*/ 18 w 255"/>
                <a:gd name="T67" fmla="*/ 292 h 487"/>
                <a:gd name="T68" fmla="*/ 11 w 255"/>
                <a:gd name="T69" fmla="*/ 269 h 487"/>
                <a:gd name="T70" fmla="*/ 27 w 255"/>
                <a:gd name="T71" fmla="*/ 250 h 487"/>
                <a:gd name="T72" fmla="*/ 56 w 255"/>
                <a:gd name="T73" fmla="*/ 270 h 487"/>
                <a:gd name="T74" fmla="*/ 55 w 255"/>
                <a:gd name="T75" fmla="*/ 296 h 487"/>
                <a:gd name="T76" fmla="*/ 81 w 255"/>
                <a:gd name="T77" fmla="*/ 304 h 487"/>
                <a:gd name="T78" fmla="*/ 89 w 255"/>
                <a:gd name="T79" fmla="*/ 301 h 487"/>
                <a:gd name="T80" fmla="*/ 81 w 255"/>
                <a:gd name="T81" fmla="*/ 304 h 487"/>
                <a:gd name="T82" fmla="*/ 50 w 255"/>
                <a:gd name="T83" fmla="*/ 144 h 487"/>
                <a:gd name="T84" fmla="*/ 47 w 255"/>
                <a:gd name="T85" fmla="*/ 155 h 487"/>
                <a:gd name="T86" fmla="*/ 49 w 255"/>
                <a:gd name="T87" fmla="*/ 109 h 487"/>
                <a:gd name="T88" fmla="*/ 39 w 255"/>
                <a:gd name="T89" fmla="*/ 126 h 487"/>
                <a:gd name="T90" fmla="*/ 147 w 255"/>
                <a:gd name="T91" fmla="*/ 70 h 487"/>
                <a:gd name="T92" fmla="*/ 140 w 255"/>
                <a:gd name="T93" fmla="*/ 85 h 487"/>
                <a:gd name="T94" fmla="*/ 129 w 255"/>
                <a:gd name="T95" fmla="*/ 87 h 487"/>
                <a:gd name="T96" fmla="*/ 172 w 255"/>
                <a:gd name="T97" fmla="*/ 29 h 487"/>
                <a:gd name="T98" fmla="*/ 191 w 255"/>
                <a:gd name="T99" fmla="*/ 8 h 487"/>
                <a:gd name="T100" fmla="*/ 177 w 255"/>
                <a:gd name="T101" fmla="*/ 37 h 487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5" h="487">
                  <a:moveTo>
                    <a:pt x="48" y="485"/>
                  </a:moveTo>
                  <a:cubicBezTo>
                    <a:pt x="44" y="482"/>
                    <a:pt x="44" y="482"/>
                    <a:pt x="49" y="482"/>
                  </a:cubicBezTo>
                  <a:cubicBezTo>
                    <a:pt x="53" y="482"/>
                    <a:pt x="58" y="479"/>
                    <a:pt x="59" y="476"/>
                  </a:cubicBezTo>
                  <a:cubicBezTo>
                    <a:pt x="61" y="473"/>
                    <a:pt x="67" y="469"/>
                    <a:pt x="72" y="466"/>
                  </a:cubicBezTo>
                  <a:cubicBezTo>
                    <a:pt x="76" y="463"/>
                    <a:pt x="81" y="459"/>
                    <a:pt x="81" y="456"/>
                  </a:cubicBezTo>
                  <a:cubicBezTo>
                    <a:pt x="81" y="448"/>
                    <a:pt x="93" y="442"/>
                    <a:pt x="110" y="442"/>
                  </a:cubicBezTo>
                  <a:cubicBezTo>
                    <a:pt x="123" y="442"/>
                    <a:pt x="135" y="433"/>
                    <a:pt x="130" y="428"/>
                  </a:cubicBezTo>
                  <a:cubicBezTo>
                    <a:pt x="128" y="427"/>
                    <a:pt x="123" y="427"/>
                    <a:pt x="118" y="428"/>
                  </a:cubicBezTo>
                  <a:cubicBezTo>
                    <a:pt x="112" y="429"/>
                    <a:pt x="105" y="427"/>
                    <a:pt x="97" y="422"/>
                  </a:cubicBezTo>
                  <a:cubicBezTo>
                    <a:pt x="90" y="417"/>
                    <a:pt x="82" y="414"/>
                    <a:pt x="79" y="415"/>
                  </a:cubicBezTo>
                  <a:cubicBezTo>
                    <a:pt x="73" y="417"/>
                    <a:pt x="65" y="411"/>
                    <a:pt x="65" y="405"/>
                  </a:cubicBezTo>
                  <a:cubicBezTo>
                    <a:pt x="65" y="403"/>
                    <a:pt x="67" y="402"/>
                    <a:pt x="71" y="402"/>
                  </a:cubicBezTo>
                  <a:cubicBezTo>
                    <a:pt x="74" y="402"/>
                    <a:pt x="82" y="396"/>
                    <a:pt x="89" y="390"/>
                  </a:cubicBezTo>
                  <a:cubicBezTo>
                    <a:pt x="102" y="377"/>
                    <a:pt x="102" y="363"/>
                    <a:pt x="89" y="365"/>
                  </a:cubicBezTo>
                  <a:cubicBezTo>
                    <a:pt x="83" y="365"/>
                    <a:pt x="81" y="364"/>
                    <a:pt x="83" y="361"/>
                  </a:cubicBezTo>
                  <a:cubicBezTo>
                    <a:pt x="85" y="358"/>
                    <a:pt x="86" y="352"/>
                    <a:pt x="85" y="348"/>
                  </a:cubicBezTo>
                  <a:cubicBezTo>
                    <a:pt x="84" y="342"/>
                    <a:pt x="85" y="341"/>
                    <a:pt x="91" y="343"/>
                  </a:cubicBezTo>
                  <a:cubicBezTo>
                    <a:pt x="102" y="348"/>
                    <a:pt x="117" y="346"/>
                    <a:pt x="124" y="340"/>
                  </a:cubicBezTo>
                  <a:cubicBezTo>
                    <a:pt x="127" y="337"/>
                    <a:pt x="130" y="327"/>
                    <a:pt x="131" y="319"/>
                  </a:cubicBezTo>
                  <a:cubicBezTo>
                    <a:pt x="132" y="305"/>
                    <a:pt x="132" y="302"/>
                    <a:pt x="126" y="303"/>
                  </a:cubicBezTo>
                  <a:cubicBezTo>
                    <a:pt x="120" y="303"/>
                    <a:pt x="118" y="300"/>
                    <a:pt x="118" y="288"/>
                  </a:cubicBezTo>
                  <a:cubicBezTo>
                    <a:pt x="118" y="272"/>
                    <a:pt x="118" y="272"/>
                    <a:pt x="118" y="272"/>
                  </a:cubicBezTo>
                  <a:cubicBezTo>
                    <a:pt x="95" y="272"/>
                    <a:pt x="95" y="272"/>
                    <a:pt x="95" y="272"/>
                  </a:cubicBezTo>
                  <a:cubicBezTo>
                    <a:pt x="71" y="273"/>
                    <a:pt x="68" y="270"/>
                    <a:pt x="80" y="258"/>
                  </a:cubicBezTo>
                  <a:cubicBezTo>
                    <a:pt x="86" y="252"/>
                    <a:pt x="88" y="247"/>
                    <a:pt x="86" y="238"/>
                  </a:cubicBezTo>
                  <a:cubicBezTo>
                    <a:pt x="84" y="230"/>
                    <a:pt x="85" y="226"/>
                    <a:pt x="88" y="226"/>
                  </a:cubicBezTo>
                  <a:cubicBezTo>
                    <a:pt x="90" y="226"/>
                    <a:pt x="91" y="223"/>
                    <a:pt x="90" y="220"/>
                  </a:cubicBezTo>
                  <a:cubicBezTo>
                    <a:pt x="88" y="215"/>
                    <a:pt x="73" y="213"/>
                    <a:pt x="73" y="218"/>
                  </a:cubicBezTo>
                  <a:cubicBezTo>
                    <a:pt x="73" y="220"/>
                    <a:pt x="71" y="222"/>
                    <a:pt x="69" y="222"/>
                  </a:cubicBezTo>
                  <a:cubicBezTo>
                    <a:pt x="67" y="222"/>
                    <a:pt x="65" y="216"/>
                    <a:pt x="65" y="209"/>
                  </a:cubicBezTo>
                  <a:cubicBezTo>
                    <a:pt x="65" y="201"/>
                    <a:pt x="65" y="192"/>
                    <a:pt x="64" y="188"/>
                  </a:cubicBezTo>
                  <a:cubicBezTo>
                    <a:pt x="64" y="162"/>
                    <a:pt x="69" y="135"/>
                    <a:pt x="74" y="131"/>
                  </a:cubicBezTo>
                  <a:cubicBezTo>
                    <a:pt x="78" y="129"/>
                    <a:pt x="81" y="124"/>
                    <a:pt x="81" y="121"/>
                  </a:cubicBezTo>
                  <a:cubicBezTo>
                    <a:pt x="81" y="109"/>
                    <a:pt x="91" y="103"/>
                    <a:pt x="112" y="101"/>
                  </a:cubicBezTo>
                  <a:cubicBezTo>
                    <a:pt x="130" y="99"/>
                    <a:pt x="133" y="100"/>
                    <a:pt x="133" y="106"/>
                  </a:cubicBezTo>
                  <a:cubicBezTo>
                    <a:pt x="133" y="110"/>
                    <a:pt x="126" y="117"/>
                    <a:pt x="118" y="122"/>
                  </a:cubicBezTo>
                  <a:cubicBezTo>
                    <a:pt x="107" y="129"/>
                    <a:pt x="105" y="131"/>
                    <a:pt x="109" y="134"/>
                  </a:cubicBezTo>
                  <a:cubicBezTo>
                    <a:pt x="113" y="137"/>
                    <a:pt x="113" y="139"/>
                    <a:pt x="110" y="140"/>
                  </a:cubicBezTo>
                  <a:cubicBezTo>
                    <a:pt x="107" y="141"/>
                    <a:pt x="105" y="145"/>
                    <a:pt x="105" y="148"/>
                  </a:cubicBezTo>
                  <a:cubicBezTo>
                    <a:pt x="105" y="153"/>
                    <a:pt x="105" y="153"/>
                    <a:pt x="111" y="148"/>
                  </a:cubicBezTo>
                  <a:cubicBezTo>
                    <a:pt x="116" y="143"/>
                    <a:pt x="122" y="142"/>
                    <a:pt x="136" y="144"/>
                  </a:cubicBezTo>
                  <a:cubicBezTo>
                    <a:pt x="166" y="148"/>
                    <a:pt x="166" y="147"/>
                    <a:pt x="153" y="173"/>
                  </a:cubicBezTo>
                  <a:cubicBezTo>
                    <a:pt x="146" y="187"/>
                    <a:pt x="138" y="198"/>
                    <a:pt x="136" y="198"/>
                  </a:cubicBezTo>
                  <a:cubicBezTo>
                    <a:pt x="133" y="198"/>
                    <a:pt x="133" y="199"/>
                    <a:pt x="136" y="203"/>
                  </a:cubicBezTo>
                  <a:cubicBezTo>
                    <a:pt x="140" y="207"/>
                    <a:pt x="139" y="209"/>
                    <a:pt x="132" y="211"/>
                  </a:cubicBezTo>
                  <a:cubicBezTo>
                    <a:pt x="127" y="212"/>
                    <a:pt x="125" y="215"/>
                    <a:pt x="127" y="218"/>
                  </a:cubicBezTo>
                  <a:cubicBezTo>
                    <a:pt x="128" y="220"/>
                    <a:pt x="132" y="221"/>
                    <a:pt x="135" y="220"/>
                  </a:cubicBezTo>
                  <a:cubicBezTo>
                    <a:pt x="138" y="219"/>
                    <a:pt x="147" y="223"/>
                    <a:pt x="155" y="230"/>
                  </a:cubicBezTo>
                  <a:cubicBezTo>
                    <a:pt x="167" y="241"/>
                    <a:pt x="169" y="244"/>
                    <a:pt x="166" y="254"/>
                  </a:cubicBezTo>
                  <a:cubicBezTo>
                    <a:pt x="164" y="263"/>
                    <a:pt x="166" y="268"/>
                    <a:pt x="175" y="277"/>
                  </a:cubicBezTo>
                  <a:cubicBezTo>
                    <a:pt x="188" y="288"/>
                    <a:pt x="206" y="314"/>
                    <a:pt x="203" y="314"/>
                  </a:cubicBezTo>
                  <a:cubicBezTo>
                    <a:pt x="202" y="314"/>
                    <a:pt x="204" y="322"/>
                    <a:pt x="209" y="332"/>
                  </a:cubicBezTo>
                  <a:cubicBezTo>
                    <a:pt x="215" y="347"/>
                    <a:pt x="216" y="353"/>
                    <a:pt x="213" y="360"/>
                  </a:cubicBezTo>
                  <a:cubicBezTo>
                    <a:pt x="208" y="372"/>
                    <a:pt x="211" y="374"/>
                    <a:pt x="223" y="367"/>
                  </a:cubicBezTo>
                  <a:cubicBezTo>
                    <a:pt x="236" y="358"/>
                    <a:pt x="255" y="367"/>
                    <a:pt x="253" y="382"/>
                  </a:cubicBezTo>
                  <a:cubicBezTo>
                    <a:pt x="252" y="398"/>
                    <a:pt x="244" y="413"/>
                    <a:pt x="237" y="415"/>
                  </a:cubicBezTo>
                  <a:cubicBezTo>
                    <a:pt x="229" y="418"/>
                    <a:pt x="228" y="430"/>
                    <a:pt x="236" y="435"/>
                  </a:cubicBezTo>
                  <a:cubicBezTo>
                    <a:pt x="238" y="436"/>
                    <a:pt x="243" y="437"/>
                    <a:pt x="245" y="435"/>
                  </a:cubicBezTo>
                  <a:cubicBezTo>
                    <a:pt x="254" y="429"/>
                    <a:pt x="246" y="443"/>
                    <a:pt x="235" y="451"/>
                  </a:cubicBezTo>
                  <a:cubicBezTo>
                    <a:pt x="227" y="457"/>
                    <a:pt x="218" y="459"/>
                    <a:pt x="197" y="460"/>
                  </a:cubicBezTo>
                  <a:cubicBezTo>
                    <a:pt x="182" y="460"/>
                    <a:pt x="168" y="461"/>
                    <a:pt x="166" y="463"/>
                  </a:cubicBezTo>
                  <a:cubicBezTo>
                    <a:pt x="160" y="466"/>
                    <a:pt x="136" y="467"/>
                    <a:pt x="128" y="464"/>
                  </a:cubicBezTo>
                  <a:cubicBezTo>
                    <a:pt x="123" y="462"/>
                    <a:pt x="117" y="464"/>
                    <a:pt x="109" y="472"/>
                  </a:cubicBezTo>
                  <a:cubicBezTo>
                    <a:pt x="99" y="482"/>
                    <a:pt x="96" y="483"/>
                    <a:pt x="90" y="479"/>
                  </a:cubicBezTo>
                  <a:cubicBezTo>
                    <a:pt x="84" y="475"/>
                    <a:pt x="80" y="475"/>
                    <a:pt x="68" y="481"/>
                  </a:cubicBezTo>
                  <a:cubicBezTo>
                    <a:pt x="59" y="486"/>
                    <a:pt x="51" y="487"/>
                    <a:pt x="48" y="485"/>
                  </a:cubicBezTo>
                  <a:close/>
                  <a:moveTo>
                    <a:pt x="33" y="296"/>
                  </a:moveTo>
                  <a:cubicBezTo>
                    <a:pt x="28" y="284"/>
                    <a:pt x="21" y="283"/>
                    <a:pt x="18" y="292"/>
                  </a:cubicBezTo>
                  <a:cubicBezTo>
                    <a:pt x="15" y="300"/>
                    <a:pt x="10" y="299"/>
                    <a:pt x="4" y="289"/>
                  </a:cubicBezTo>
                  <a:cubicBezTo>
                    <a:pt x="0" y="282"/>
                    <a:pt x="1" y="279"/>
                    <a:pt x="11" y="269"/>
                  </a:cubicBezTo>
                  <a:cubicBezTo>
                    <a:pt x="17" y="263"/>
                    <a:pt x="21" y="256"/>
                    <a:pt x="19" y="252"/>
                  </a:cubicBezTo>
                  <a:cubicBezTo>
                    <a:pt x="17" y="245"/>
                    <a:pt x="23" y="243"/>
                    <a:pt x="27" y="250"/>
                  </a:cubicBezTo>
                  <a:cubicBezTo>
                    <a:pt x="28" y="252"/>
                    <a:pt x="33" y="254"/>
                    <a:pt x="38" y="254"/>
                  </a:cubicBezTo>
                  <a:cubicBezTo>
                    <a:pt x="44" y="254"/>
                    <a:pt x="49" y="259"/>
                    <a:pt x="56" y="270"/>
                  </a:cubicBezTo>
                  <a:cubicBezTo>
                    <a:pt x="66" y="287"/>
                    <a:pt x="66" y="287"/>
                    <a:pt x="66" y="287"/>
                  </a:cubicBezTo>
                  <a:cubicBezTo>
                    <a:pt x="55" y="296"/>
                    <a:pt x="55" y="296"/>
                    <a:pt x="55" y="296"/>
                  </a:cubicBezTo>
                  <a:cubicBezTo>
                    <a:pt x="41" y="308"/>
                    <a:pt x="39" y="308"/>
                    <a:pt x="33" y="296"/>
                  </a:cubicBezTo>
                  <a:close/>
                  <a:moveTo>
                    <a:pt x="81" y="304"/>
                  </a:moveTo>
                  <a:cubicBezTo>
                    <a:pt x="81" y="303"/>
                    <a:pt x="82" y="301"/>
                    <a:pt x="85" y="300"/>
                  </a:cubicBezTo>
                  <a:cubicBezTo>
                    <a:pt x="87" y="298"/>
                    <a:pt x="89" y="299"/>
                    <a:pt x="89" y="301"/>
                  </a:cubicBezTo>
                  <a:cubicBezTo>
                    <a:pt x="89" y="304"/>
                    <a:pt x="87" y="306"/>
                    <a:pt x="85" y="306"/>
                  </a:cubicBezTo>
                  <a:cubicBezTo>
                    <a:pt x="82" y="306"/>
                    <a:pt x="81" y="305"/>
                    <a:pt x="81" y="304"/>
                  </a:cubicBezTo>
                  <a:close/>
                  <a:moveTo>
                    <a:pt x="47" y="155"/>
                  </a:moveTo>
                  <a:cubicBezTo>
                    <a:pt x="44" y="147"/>
                    <a:pt x="44" y="147"/>
                    <a:pt x="50" y="144"/>
                  </a:cubicBezTo>
                  <a:cubicBezTo>
                    <a:pt x="54" y="143"/>
                    <a:pt x="56" y="146"/>
                    <a:pt x="58" y="152"/>
                  </a:cubicBezTo>
                  <a:cubicBezTo>
                    <a:pt x="60" y="163"/>
                    <a:pt x="51" y="166"/>
                    <a:pt x="47" y="155"/>
                  </a:cubicBezTo>
                  <a:close/>
                  <a:moveTo>
                    <a:pt x="39" y="126"/>
                  </a:moveTo>
                  <a:cubicBezTo>
                    <a:pt x="35" y="120"/>
                    <a:pt x="39" y="115"/>
                    <a:pt x="49" y="109"/>
                  </a:cubicBezTo>
                  <a:cubicBezTo>
                    <a:pt x="59" y="104"/>
                    <a:pt x="59" y="110"/>
                    <a:pt x="49" y="122"/>
                  </a:cubicBezTo>
                  <a:cubicBezTo>
                    <a:pt x="44" y="128"/>
                    <a:pt x="41" y="129"/>
                    <a:pt x="39" y="126"/>
                  </a:cubicBezTo>
                  <a:close/>
                  <a:moveTo>
                    <a:pt x="129" y="87"/>
                  </a:moveTo>
                  <a:cubicBezTo>
                    <a:pt x="129" y="79"/>
                    <a:pt x="138" y="70"/>
                    <a:pt x="147" y="70"/>
                  </a:cubicBezTo>
                  <a:cubicBezTo>
                    <a:pt x="154" y="70"/>
                    <a:pt x="153" y="79"/>
                    <a:pt x="145" y="80"/>
                  </a:cubicBezTo>
                  <a:cubicBezTo>
                    <a:pt x="135" y="81"/>
                    <a:pt x="135" y="82"/>
                    <a:pt x="140" y="85"/>
                  </a:cubicBezTo>
                  <a:cubicBezTo>
                    <a:pt x="144" y="88"/>
                    <a:pt x="143" y="89"/>
                    <a:pt x="137" y="91"/>
                  </a:cubicBezTo>
                  <a:cubicBezTo>
                    <a:pt x="131" y="92"/>
                    <a:pt x="129" y="91"/>
                    <a:pt x="129" y="87"/>
                  </a:cubicBezTo>
                  <a:close/>
                  <a:moveTo>
                    <a:pt x="177" y="37"/>
                  </a:moveTo>
                  <a:cubicBezTo>
                    <a:pt x="177" y="33"/>
                    <a:pt x="175" y="30"/>
                    <a:pt x="172" y="29"/>
                  </a:cubicBezTo>
                  <a:cubicBezTo>
                    <a:pt x="166" y="27"/>
                    <a:pt x="171" y="17"/>
                    <a:pt x="183" y="8"/>
                  </a:cubicBezTo>
                  <a:cubicBezTo>
                    <a:pt x="194" y="0"/>
                    <a:pt x="194" y="0"/>
                    <a:pt x="191" y="8"/>
                  </a:cubicBezTo>
                  <a:cubicBezTo>
                    <a:pt x="189" y="12"/>
                    <a:pt x="185" y="22"/>
                    <a:pt x="182" y="30"/>
                  </a:cubicBezTo>
                  <a:cubicBezTo>
                    <a:pt x="179" y="37"/>
                    <a:pt x="177" y="41"/>
                    <a:pt x="177" y="3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5"/>
            <p:cNvSpPr>
              <a:spLocks noEditPoints="1"/>
            </p:cNvSpPr>
            <p:nvPr userDrawn="1">
              <p:custDataLst>
                <p:tags r:id="rId50"/>
              </p:custDataLst>
            </p:nvPr>
          </p:nvSpPr>
          <p:spPr bwMode="black">
            <a:xfrm>
              <a:off x="9250363" y="1490663"/>
              <a:ext cx="1260475" cy="1160463"/>
            </a:xfrm>
            <a:custGeom>
              <a:gdLst>
                <a:gd name="T0" fmla="*/ 439 w 460"/>
                <a:gd name="T1" fmla="*/ 364 h 418"/>
                <a:gd name="T2" fmla="*/ 455 w 460"/>
                <a:gd name="T3" fmla="*/ 367 h 418"/>
                <a:gd name="T4" fmla="*/ 454 w 460"/>
                <a:gd name="T5" fmla="*/ 418 h 418"/>
                <a:gd name="T6" fmla="*/ 193 w 460"/>
                <a:gd name="T7" fmla="*/ 378 h 418"/>
                <a:gd name="T8" fmla="*/ 87 w 460"/>
                <a:gd name="T9" fmla="*/ 351 h 418"/>
                <a:gd name="T10" fmla="*/ 104 w 460"/>
                <a:gd name="T11" fmla="*/ 274 h 418"/>
                <a:gd name="T12" fmla="*/ 117 w 460"/>
                <a:gd name="T13" fmla="*/ 258 h 418"/>
                <a:gd name="T14" fmla="*/ 105 w 460"/>
                <a:gd name="T15" fmla="*/ 229 h 418"/>
                <a:gd name="T16" fmla="*/ 78 w 460"/>
                <a:gd name="T17" fmla="*/ 184 h 418"/>
                <a:gd name="T18" fmla="*/ 66 w 460"/>
                <a:gd name="T19" fmla="*/ 165 h 418"/>
                <a:gd name="T20" fmla="*/ 9 w 460"/>
                <a:gd name="T21" fmla="*/ 142 h 418"/>
                <a:gd name="T22" fmla="*/ 8 w 460"/>
                <a:gd name="T23" fmla="*/ 129 h 418"/>
                <a:gd name="T24" fmla="*/ 8 w 460"/>
                <a:gd name="T25" fmla="*/ 106 h 418"/>
                <a:gd name="T26" fmla="*/ 35 w 460"/>
                <a:gd name="T27" fmla="*/ 103 h 418"/>
                <a:gd name="T28" fmla="*/ 68 w 460"/>
                <a:gd name="T29" fmla="*/ 112 h 418"/>
                <a:gd name="T30" fmla="*/ 96 w 460"/>
                <a:gd name="T31" fmla="*/ 101 h 418"/>
                <a:gd name="T32" fmla="*/ 92 w 460"/>
                <a:gd name="T33" fmla="*/ 80 h 418"/>
                <a:gd name="T34" fmla="*/ 102 w 460"/>
                <a:gd name="T35" fmla="*/ 72 h 418"/>
                <a:gd name="T36" fmla="*/ 126 w 460"/>
                <a:gd name="T37" fmla="*/ 79 h 418"/>
                <a:gd name="T38" fmla="*/ 164 w 460"/>
                <a:gd name="T39" fmla="*/ 54 h 418"/>
                <a:gd name="T40" fmla="*/ 198 w 460"/>
                <a:gd name="T41" fmla="*/ 3 h 418"/>
                <a:gd name="T42" fmla="*/ 245 w 460"/>
                <a:gd name="T43" fmla="*/ 30 h 418"/>
                <a:gd name="T44" fmla="*/ 264 w 460"/>
                <a:gd name="T45" fmla="*/ 44 h 418"/>
                <a:gd name="T46" fmla="*/ 312 w 460"/>
                <a:gd name="T47" fmla="*/ 60 h 418"/>
                <a:gd name="T48" fmla="*/ 344 w 460"/>
                <a:gd name="T49" fmla="*/ 76 h 418"/>
                <a:gd name="T50" fmla="*/ 383 w 460"/>
                <a:gd name="T51" fmla="*/ 80 h 418"/>
                <a:gd name="T52" fmla="*/ 369 w 460"/>
                <a:gd name="T53" fmla="*/ 132 h 418"/>
                <a:gd name="T54" fmla="*/ 337 w 460"/>
                <a:gd name="T55" fmla="*/ 180 h 418"/>
                <a:gd name="T56" fmla="*/ 318 w 460"/>
                <a:gd name="T57" fmla="*/ 215 h 418"/>
                <a:gd name="T58" fmla="*/ 355 w 460"/>
                <a:gd name="T59" fmla="*/ 202 h 418"/>
                <a:gd name="T60" fmla="*/ 358 w 460"/>
                <a:gd name="T61" fmla="*/ 236 h 418"/>
                <a:gd name="T62" fmla="*/ 356 w 460"/>
                <a:gd name="T63" fmla="*/ 263 h 418"/>
                <a:gd name="T64" fmla="*/ 374 w 460"/>
                <a:gd name="T65" fmla="*/ 296 h 418"/>
                <a:gd name="T66" fmla="*/ 313 w 460"/>
                <a:gd name="T67" fmla="*/ 343 h 418"/>
                <a:gd name="T68" fmla="*/ 239 w 460"/>
                <a:gd name="T69" fmla="*/ 375 h 418"/>
                <a:gd name="T70" fmla="*/ 193 w 460"/>
                <a:gd name="T71" fmla="*/ 378 h 418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60" h="418">
                  <a:moveTo>
                    <a:pt x="441" y="404"/>
                  </a:moveTo>
                  <a:cubicBezTo>
                    <a:pt x="426" y="388"/>
                    <a:pt x="425" y="378"/>
                    <a:pt x="439" y="364"/>
                  </a:cubicBezTo>
                  <a:cubicBezTo>
                    <a:pt x="450" y="354"/>
                    <a:pt x="450" y="354"/>
                    <a:pt x="450" y="354"/>
                  </a:cubicBezTo>
                  <a:cubicBezTo>
                    <a:pt x="455" y="367"/>
                    <a:pt x="455" y="367"/>
                    <a:pt x="455" y="367"/>
                  </a:cubicBezTo>
                  <a:cubicBezTo>
                    <a:pt x="459" y="376"/>
                    <a:pt x="460" y="385"/>
                    <a:pt x="457" y="399"/>
                  </a:cubicBezTo>
                  <a:cubicBezTo>
                    <a:pt x="454" y="418"/>
                    <a:pt x="454" y="418"/>
                    <a:pt x="454" y="418"/>
                  </a:cubicBezTo>
                  <a:lnTo>
                    <a:pt x="441" y="404"/>
                  </a:lnTo>
                  <a:close/>
                  <a:moveTo>
                    <a:pt x="193" y="378"/>
                  </a:moveTo>
                  <a:cubicBezTo>
                    <a:pt x="187" y="372"/>
                    <a:pt x="180" y="370"/>
                    <a:pt x="160" y="371"/>
                  </a:cubicBezTo>
                  <a:cubicBezTo>
                    <a:pt x="135" y="371"/>
                    <a:pt x="98" y="361"/>
                    <a:pt x="87" y="351"/>
                  </a:cubicBezTo>
                  <a:cubicBezTo>
                    <a:pt x="82" y="346"/>
                    <a:pt x="83" y="345"/>
                    <a:pt x="87" y="342"/>
                  </a:cubicBezTo>
                  <a:cubicBezTo>
                    <a:pt x="95" y="336"/>
                    <a:pt x="104" y="298"/>
                    <a:pt x="104" y="274"/>
                  </a:cubicBezTo>
                  <a:cubicBezTo>
                    <a:pt x="105" y="257"/>
                    <a:pt x="105" y="255"/>
                    <a:pt x="111" y="260"/>
                  </a:cubicBezTo>
                  <a:cubicBezTo>
                    <a:pt x="115" y="264"/>
                    <a:pt x="117" y="263"/>
                    <a:pt x="117" y="258"/>
                  </a:cubicBezTo>
                  <a:cubicBezTo>
                    <a:pt x="117" y="255"/>
                    <a:pt x="114" y="250"/>
                    <a:pt x="111" y="248"/>
                  </a:cubicBezTo>
                  <a:cubicBezTo>
                    <a:pt x="107" y="245"/>
                    <a:pt x="105" y="236"/>
                    <a:pt x="105" y="229"/>
                  </a:cubicBezTo>
                  <a:cubicBezTo>
                    <a:pt x="105" y="218"/>
                    <a:pt x="102" y="215"/>
                    <a:pt x="93" y="210"/>
                  </a:cubicBezTo>
                  <a:cubicBezTo>
                    <a:pt x="81" y="204"/>
                    <a:pt x="74" y="191"/>
                    <a:pt x="78" y="184"/>
                  </a:cubicBezTo>
                  <a:cubicBezTo>
                    <a:pt x="80" y="182"/>
                    <a:pt x="77" y="177"/>
                    <a:pt x="72" y="174"/>
                  </a:cubicBezTo>
                  <a:cubicBezTo>
                    <a:pt x="67" y="171"/>
                    <a:pt x="65" y="167"/>
                    <a:pt x="66" y="165"/>
                  </a:cubicBezTo>
                  <a:cubicBezTo>
                    <a:pt x="69" y="160"/>
                    <a:pt x="22" y="138"/>
                    <a:pt x="14" y="141"/>
                  </a:cubicBezTo>
                  <a:cubicBezTo>
                    <a:pt x="11" y="142"/>
                    <a:pt x="9" y="143"/>
                    <a:pt x="9" y="142"/>
                  </a:cubicBezTo>
                  <a:cubicBezTo>
                    <a:pt x="9" y="141"/>
                    <a:pt x="7" y="137"/>
                    <a:pt x="6" y="133"/>
                  </a:cubicBezTo>
                  <a:cubicBezTo>
                    <a:pt x="4" y="128"/>
                    <a:pt x="5" y="127"/>
                    <a:pt x="8" y="129"/>
                  </a:cubicBezTo>
                  <a:cubicBezTo>
                    <a:pt x="15" y="133"/>
                    <a:pt x="14" y="123"/>
                    <a:pt x="6" y="115"/>
                  </a:cubicBezTo>
                  <a:cubicBezTo>
                    <a:pt x="0" y="109"/>
                    <a:pt x="1" y="108"/>
                    <a:pt x="8" y="106"/>
                  </a:cubicBezTo>
                  <a:cubicBezTo>
                    <a:pt x="13" y="104"/>
                    <a:pt x="18" y="104"/>
                    <a:pt x="20" y="105"/>
                  </a:cubicBezTo>
                  <a:cubicBezTo>
                    <a:pt x="22" y="107"/>
                    <a:pt x="29" y="106"/>
                    <a:pt x="35" y="103"/>
                  </a:cubicBezTo>
                  <a:cubicBezTo>
                    <a:pt x="44" y="100"/>
                    <a:pt x="47" y="101"/>
                    <a:pt x="54" y="107"/>
                  </a:cubicBezTo>
                  <a:cubicBezTo>
                    <a:pt x="60" y="112"/>
                    <a:pt x="65" y="114"/>
                    <a:pt x="68" y="112"/>
                  </a:cubicBezTo>
                  <a:cubicBezTo>
                    <a:pt x="71" y="110"/>
                    <a:pt x="80" y="109"/>
                    <a:pt x="87" y="110"/>
                  </a:cubicBezTo>
                  <a:cubicBezTo>
                    <a:pt x="100" y="112"/>
                    <a:pt x="100" y="111"/>
                    <a:pt x="96" y="101"/>
                  </a:cubicBezTo>
                  <a:cubicBezTo>
                    <a:pt x="94" y="95"/>
                    <a:pt x="93" y="88"/>
                    <a:pt x="94" y="85"/>
                  </a:cubicBezTo>
                  <a:cubicBezTo>
                    <a:pt x="95" y="82"/>
                    <a:pt x="95" y="80"/>
                    <a:pt x="92" y="80"/>
                  </a:cubicBezTo>
                  <a:cubicBezTo>
                    <a:pt x="86" y="80"/>
                    <a:pt x="88" y="69"/>
                    <a:pt x="94" y="66"/>
                  </a:cubicBezTo>
                  <a:cubicBezTo>
                    <a:pt x="97" y="65"/>
                    <a:pt x="101" y="67"/>
                    <a:pt x="102" y="72"/>
                  </a:cubicBezTo>
                  <a:cubicBezTo>
                    <a:pt x="103" y="76"/>
                    <a:pt x="106" y="79"/>
                    <a:pt x="109" y="77"/>
                  </a:cubicBezTo>
                  <a:cubicBezTo>
                    <a:pt x="113" y="76"/>
                    <a:pt x="120" y="77"/>
                    <a:pt x="126" y="79"/>
                  </a:cubicBezTo>
                  <a:cubicBezTo>
                    <a:pt x="138" y="84"/>
                    <a:pt x="151" y="78"/>
                    <a:pt x="146" y="71"/>
                  </a:cubicBezTo>
                  <a:cubicBezTo>
                    <a:pt x="143" y="65"/>
                    <a:pt x="151" y="57"/>
                    <a:pt x="164" y="54"/>
                  </a:cubicBezTo>
                  <a:cubicBezTo>
                    <a:pt x="179" y="50"/>
                    <a:pt x="189" y="38"/>
                    <a:pt x="189" y="22"/>
                  </a:cubicBezTo>
                  <a:cubicBezTo>
                    <a:pt x="189" y="11"/>
                    <a:pt x="191" y="6"/>
                    <a:pt x="198" y="3"/>
                  </a:cubicBezTo>
                  <a:cubicBezTo>
                    <a:pt x="206" y="0"/>
                    <a:pt x="209" y="1"/>
                    <a:pt x="220" y="11"/>
                  </a:cubicBezTo>
                  <a:cubicBezTo>
                    <a:pt x="228" y="18"/>
                    <a:pt x="239" y="27"/>
                    <a:pt x="245" y="30"/>
                  </a:cubicBezTo>
                  <a:cubicBezTo>
                    <a:pt x="251" y="33"/>
                    <a:pt x="257" y="37"/>
                    <a:pt x="257" y="40"/>
                  </a:cubicBezTo>
                  <a:cubicBezTo>
                    <a:pt x="257" y="42"/>
                    <a:pt x="260" y="44"/>
                    <a:pt x="264" y="44"/>
                  </a:cubicBezTo>
                  <a:cubicBezTo>
                    <a:pt x="269" y="44"/>
                    <a:pt x="279" y="47"/>
                    <a:pt x="287" y="52"/>
                  </a:cubicBezTo>
                  <a:cubicBezTo>
                    <a:pt x="294" y="56"/>
                    <a:pt x="306" y="60"/>
                    <a:pt x="312" y="60"/>
                  </a:cubicBezTo>
                  <a:cubicBezTo>
                    <a:pt x="320" y="60"/>
                    <a:pt x="326" y="62"/>
                    <a:pt x="329" y="68"/>
                  </a:cubicBezTo>
                  <a:cubicBezTo>
                    <a:pt x="331" y="72"/>
                    <a:pt x="337" y="76"/>
                    <a:pt x="344" y="76"/>
                  </a:cubicBezTo>
                  <a:cubicBezTo>
                    <a:pt x="350" y="76"/>
                    <a:pt x="361" y="77"/>
                    <a:pt x="369" y="78"/>
                  </a:cubicBezTo>
                  <a:cubicBezTo>
                    <a:pt x="383" y="80"/>
                    <a:pt x="383" y="80"/>
                    <a:pt x="383" y="80"/>
                  </a:cubicBezTo>
                  <a:cubicBezTo>
                    <a:pt x="376" y="100"/>
                    <a:pt x="376" y="100"/>
                    <a:pt x="376" y="100"/>
                  </a:cubicBezTo>
                  <a:cubicBezTo>
                    <a:pt x="372" y="111"/>
                    <a:pt x="369" y="125"/>
                    <a:pt x="369" y="132"/>
                  </a:cubicBezTo>
                  <a:cubicBezTo>
                    <a:pt x="369" y="140"/>
                    <a:pt x="366" y="145"/>
                    <a:pt x="359" y="148"/>
                  </a:cubicBezTo>
                  <a:cubicBezTo>
                    <a:pt x="351" y="152"/>
                    <a:pt x="337" y="172"/>
                    <a:pt x="337" y="180"/>
                  </a:cubicBezTo>
                  <a:cubicBezTo>
                    <a:pt x="337" y="182"/>
                    <a:pt x="332" y="190"/>
                    <a:pt x="326" y="198"/>
                  </a:cubicBezTo>
                  <a:cubicBezTo>
                    <a:pt x="321" y="206"/>
                    <a:pt x="317" y="214"/>
                    <a:pt x="318" y="215"/>
                  </a:cubicBezTo>
                  <a:cubicBezTo>
                    <a:pt x="319" y="216"/>
                    <a:pt x="327" y="213"/>
                    <a:pt x="334" y="208"/>
                  </a:cubicBezTo>
                  <a:cubicBezTo>
                    <a:pt x="342" y="204"/>
                    <a:pt x="351" y="201"/>
                    <a:pt x="355" y="202"/>
                  </a:cubicBezTo>
                  <a:cubicBezTo>
                    <a:pt x="361" y="205"/>
                    <a:pt x="363" y="218"/>
                    <a:pt x="357" y="221"/>
                  </a:cubicBezTo>
                  <a:cubicBezTo>
                    <a:pt x="355" y="223"/>
                    <a:pt x="355" y="229"/>
                    <a:pt x="358" y="236"/>
                  </a:cubicBezTo>
                  <a:cubicBezTo>
                    <a:pt x="361" y="245"/>
                    <a:pt x="361" y="249"/>
                    <a:pt x="357" y="251"/>
                  </a:cubicBezTo>
                  <a:cubicBezTo>
                    <a:pt x="353" y="254"/>
                    <a:pt x="353" y="256"/>
                    <a:pt x="356" y="263"/>
                  </a:cubicBezTo>
                  <a:cubicBezTo>
                    <a:pt x="359" y="267"/>
                    <a:pt x="361" y="275"/>
                    <a:pt x="361" y="281"/>
                  </a:cubicBezTo>
                  <a:cubicBezTo>
                    <a:pt x="361" y="289"/>
                    <a:pt x="364" y="292"/>
                    <a:pt x="374" y="296"/>
                  </a:cubicBezTo>
                  <a:cubicBezTo>
                    <a:pt x="390" y="302"/>
                    <a:pt x="389" y="306"/>
                    <a:pt x="370" y="329"/>
                  </a:cubicBezTo>
                  <a:cubicBezTo>
                    <a:pt x="353" y="350"/>
                    <a:pt x="342" y="352"/>
                    <a:pt x="313" y="343"/>
                  </a:cubicBezTo>
                  <a:cubicBezTo>
                    <a:pt x="299" y="339"/>
                    <a:pt x="283" y="336"/>
                    <a:pt x="278" y="336"/>
                  </a:cubicBezTo>
                  <a:cubicBezTo>
                    <a:pt x="255" y="336"/>
                    <a:pt x="234" y="356"/>
                    <a:pt x="239" y="375"/>
                  </a:cubicBezTo>
                  <a:cubicBezTo>
                    <a:pt x="241" y="381"/>
                    <a:pt x="240" y="384"/>
                    <a:pt x="236" y="384"/>
                  </a:cubicBezTo>
                  <a:cubicBezTo>
                    <a:pt x="205" y="386"/>
                    <a:pt x="201" y="386"/>
                    <a:pt x="193" y="37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6"/>
            <p:cNvSpPr/>
            <p:nvPr userDrawn="1">
              <p:custDataLst>
                <p:tags r:id="rId51"/>
              </p:custDataLst>
            </p:nvPr>
          </p:nvSpPr>
          <p:spPr bwMode="black">
            <a:xfrm>
              <a:off x="10101263" y="995362"/>
              <a:ext cx="720725" cy="906463"/>
            </a:xfrm>
            <a:custGeom>
              <a:gdLst>
                <a:gd name="T0" fmla="*/ 120 w 263"/>
                <a:gd name="T1" fmla="*/ 321 h 327"/>
                <a:gd name="T2" fmla="*/ 92 w 263"/>
                <a:gd name="T3" fmla="*/ 319 h 327"/>
                <a:gd name="T4" fmla="*/ 66 w 263"/>
                <a:gd name="T5" fmla="*/ 322 h 327"/>
                <a:gd name="T6" fmla="*/ 68 w 263"/>
                <a:gd name="T7" fmla="*/ 279 h 327"/>
                <a:gd name="T8" fmla="*/ 76 w 263"/>
                <a:gd name="T9" fmla="*/ 257 h 327"/>
                <a:gd name="T10" fmla="*/ 49 w 263"/>
                <a:gd name="T11" fmla="*/ 254 h 327"/>
                <a:gd name="T12" fmla="*/ 16 w 263"/>
                <a:gd name="T13" fmla="*/ 242 h 327"/>
                <a:gd name="T14" fmla="*/ 14 w 263"/>
                <a:gd name="T15" fmla="*/ 229 h 327"/>
                <a:gd name="T16" fmla="*/ 10 w 263"/>
                <a:gd name="T17" fmla="*/ 222 h 327"/>
                <a:gd name="T18" fmla="*/ 6 w 263"/>
                <a:gd name="T19" fmla="*/ 204 h 327"/>
                <a:gd name="T20" fmla="*/ 4 w 263"/>
                <a:gd name="T21" fmla="*/ 186 h 327"/>
                <a:gd name="T22" fmla="*/ 1 w 263"/>
                <a:gd name="T23" fmla="*/ 161 h 327"/>
                <a:gd name="T24" fmla="*/ 14 w 263"/>
                <a:gd name="T25" fmla="*/ 127 h 327"/>
                <a:gd name="T26" fmla="*/ 21 w 263"/>
                <a:gd name="T27" fmla="*/ 109 h 327"/>
                <a:gd name="T28" fmla="*/ 21 w 263"/>
                <a:gd name="T29" fmla="*/ 88 h 327"/>
                <a:gd name="T30" fmla="*/ 21 w 263"/>
                <a:gd name="T31" fmla="*/ 68 h 327"/>
                <a:gd name="T32" fmla="*/ 30 w 263"/>
                <a:gd name="T33" fmla="*/ 52 h 327"/>
                <a:gd name="T34" fmla="*/ 44 w 263"/>
                <a:gd name="T35" fmla="*/ 59 h 327"/>
                <a:gd name="T36" fmla="*/ 50 w 263"/>
                <a:gd name="T37" fmla="*/ 63 h 327"/>
                <a:gd name="T38" fmla="*/ 58 w 263"/>
                <a:gd name="T39" fmla="*/ 65 h 327"/>
                <a:gd name="T40" fmla="*/ 59 w 263"/>
                <a:gd name="T41" fmla="*/ 56 h 327"/>
                <a:gd name="T42" fmla="*/ 67 w 263"/>
                <a:gd name="T43" fmla="*/ 41 h 327"/>
                <a:gd name="T44" fmla="*/ 73 w 263"/>
                <a:gd name="T45" fmla="*/ 35 h 327"/>
                <a:gd name="T46" fmla="*/ 69 w 263"/>
                <a:gd name="T47" fmla="*/ 24 h 327"/>
                <a:gd name="T48" fmla="*/ 63 w 263"/>
                <a:gd name="T49" fmla="*/ 5 h 327"/>
                <a:gd name="T50" fmla="*/ 69 w 263"/>
                <a:gd name="T51" fmla="*/ 2 h 327"/>
                <a:gd name="T52" fmla="*/ 88 w 263"/>
                <a:gd name="T53" fmla="*/ 7 h 327"/>
                <a:gd name="T54" fmla="*/ 119 w 263"/>
                <a:gd name="T55" fmla="*/ 13 h 327"/>
                <a:gd name="T56" fmla="*/ 138 w 263"/>
                <a:gd name="T57" fmla="*/ 14 h 327"/>
                <a:gd name="T58" fmla="*/ 174 w 263"/>
                <a:gd name="T59" fmla="*/ 16 h 327"/>
                <a:gd name="T60" fmla="*/ 204 w 263"/>
                <a:gd name="T61" fmla="*/ 22 h 327"/>
                <a:gd name="T62" fmla="*/ 216 w 263"/>
                <a:gd name="T63" fmla="*/ 47 h 327"/>
                <a:gd name="T64" fmla="*/ 217 w 263"/>
                <a:gd name="T65" fmla="*/ 62 h 327"/>
                <a:gd name="T66" fmla="*/ 235 w 263"/>
                <a:gd name="T67" fmla="*/ 90 h 327"/>
                <a:gd name="T68" fmla="*/ 254 w 263"/>
                <a:gd name="T69" fmla="*/ 120 h 327"/>
                <a:gd name="T70" fmla="*/ 254 w 263"/>
                <a:gd name="T71" fmla="*/ 139 h 327"/>
                <a:gd name="T72" fmla="*/ 232 w 263"/>
                <a:gd name="T73" fmla="*/ 149 h 327"/>
                <a:gd name="T74" fmla="*/ 197 w 263"/>
                <a:gd name="T75" fmla="*/ 173 h 327"/>
                <a:gd name="T76" fmla="*/ 184 w 263"/>
                <a:gd name="T77" fmla="*/ 190 h 327"/>
                <a:gd name="T78" fmla="*/ 192 w 263"/>
                <a:gd name="T79" fmla="*/ 198 h 327"/>
                <a:gd name="T80" fmla="*/ 238 w 263"/>
                <a:gd name="T81" fmla="*/ 238 h 327"/>
                <a:gd name="T82" fmla="*/ 250 w 263"/>
                <a:gd name="T83" fmla="*/ 240 h 327"/>
                <a:gd name="T84" fmla="*/ 232 w 263"/>
                <a:gd name="T85" fmla="*/ 256 h 327"/>
                <a:gd name="T86" fmla="*/ 227 w 263"/>
                <a:gd name="T87" fmla="*/ 296 h 327"/>
                <a:gd name="T88" fmla="*/ 216 w 263"/>
                <a:gd name="T89" fmla="*/ 299 h 327"/>
                <a:gd name="T90" fmla="*/ 198 w 263"/>
                <a:gd name="T91" fmla="*/ 304 h 327"/>
                <a:gd name="T92" fmla="*/ 166 w 263"/>
                <a:gd name="T93" fmla="*/ 314 h 327"/>
                <a:gd name="T94" fmla="*/ 134 w 263"/>
                <a:gd name="T95" fmla="*/ 324 h 327"/>
                <a:gd name="T96" fmla="*/ 120 w 263"/>
                <a:gd name="T97" fmla="*/ 321 h 327"/>
              </a:gdLst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3" h="327">
                  <a:moveTo>
                    <a:pt x="120" y="321"/>
                  </a:moveTo>
                  <a:cubicBezTo>
                    <a:pt x="112" y="314"/>
                    <a:pt x="109" y="314"/>
                    <a:pt x="92" y="319"/>
                  </a:cubicBezTo>
                  <a:cubicBezTo>
                    <a:pt x="81" y="321"/>
                    <a:pt x="69" y="323"/>
                    <a:pt x="66" y="322"/>
                  </a:cubicBezTo>
                  <a:cubicBezTo>
                    <a:pt x="58" y="318"/>
                    <a:pt x="59" y="304"/>
                    <a:pt x="68" y="279"/>
                  </a:cubicBezTo>
                  <a:cubicBezTo>
                    <a:pt x="73" y="268"/>
                    <a:pt x="76" y="258"/>
                    <a:pt x="76" y="257"/>
                  </a:cubicBezTo>
                  <a:cubicBezTo>
                    <a:pt x="76" y="257"/>
                    <a:pt x="64" y="255"/>
                    <a:pt x="49" y="254"/>
                  </a:cubicBezTo>
                  <a:cubicBezTo>
                    <a:pt x="26" y="252"/>
                    <a:pt x="20" y="250"/>
                    <a:pt x="16" y="242"/>
                  </a:cubicBezTo>
                  <a:cubicBezTo>
                    <a:pt x="13" y="237"/>
                    <a:pt x="13" y="231"/>
                    <a:pt x="14" y="229"/>
                  </a:cubicBezTo>
                  <a:cubicBezTo>
                    <a:pt x="16" y="226"/>
                    <a:pt x="14" y="223"/>
                    <a:pt x="10" y="222"/>
                  </a:cubicBezTo>
                  <a:cubicBezTo>
                    <a:pt x="5" y="220"/>
                    <a:pt x="4" y="216"/>
                    <a:pt x="6" y="204"/>
                  </a:cubicBezTo>
                  <a:cubicBezTo>
                    <a:pt x="7" y="195"/>
                    <a:pt x="7" y="188"/>
                    <a:pt x="4" y="186"/>
                  </a:cubicBezTo>
                  <a:cubicBezTo>
                    <a:pt x="2" y="185"/>
                    <a:pt x="0" y="173"/>
                    <a:pt x="1" y="161"/>
                  </a:cubicBezTo>
                  <a:cubicBezTo>
                    <a:pt x="1" y="141"/>
                    <a:pt x="3" y="137"/>
                    <a:pt x="14" y="127"/>
                  </a:cubicBezTo>
                  <a:cubicBezTo>
                    <a:pt x="25" y="118"/>
                    <a:pt x="26" y="116"/>
                    <a:pt x="21" y="109"/>
                  </a:cubicBezTo>
                  <a:cubicBezTo>
                    <a:pt x="18" y="103"/>
                    <a:pt x="18" y="98"/>
                    <a:pt x="21" y="88"/>
                  </a:cubicBezTo>
                  <a:cubicBezTo>
                    <a:pt x="25" y="79"/>
                    <a:pt x="25" y="74"/>
                    <a:pt x="21" y="68"/>
                  </a:cubicBezTo>
                  <a:cubicBezTo>
                    <a:pt x="13" y="56"/>
                    <a:pt x="15" y="52"/>
                    <a:pt x="30" y="52"/>
                  </a:cubicBezTo>
                  <a:cubicBezTo>
                    <a:pt x="40" y="52"/>
                    <a:pt x="44" y="54"/>
                    <a:pt x="44" y="59"/>
                  </a:cubicBezTo>
                  <a:cubicBezTo>
                    <a:pt x="44" y="63"/>
                    <a:pt x="46" y="64"/>
                    <a:pt x="50" y="63"/>
                  </a:cubicBezTo>
                  <a:cubicBezTo>
                    <a:pt x="53" y="62"/>
                    <a:pt x="57" y="63"/>
                    <a:pt x="58" y="65"/>
                  </a:cubicBezTo>
                  <a:cubicBezTo>
                    <a:pt x="59" y="68"/>
                    <a:pt x="59" y="64"/>
                    <a:pt x="59" y="56"/>
                  </a:cubicBezTo>
                  <a:cubicBezTo>
                    <a:pt x="58" y="44"/>
                    <a:pt x="60" y="42"/>
                    <a:pt x="67" y="41"/>
                  </a:cubicBezTo>
                  <a:cubicBezTo>
                    <a:pt x="73" y="40"/>
                    <a:pt x="75" y="38"/>
                    <a:pt x="73" y="35"/>
                  </a:cubicBezTo>
                  <a:cubicBezTo>
                    <a:pt x="72" y="32"/>
                    <a:pt x="70" y="27"/>
                    <a:pt x="69" y="24"/>
                  </a:cubicBezTo>
                  <a:cubicBezTo>
                    <a:pt x="67" y="12"/>
                    <a:pt x="66" y="10"/>
                    <a:pt x="63" y="5"/>
                  </a:cubicBezTo>
                  <a:cubicBezTo>
                    <a:pt x="60" y="0"/>
                    <a:pt x="61" y="0"/>
                    <a:pt x="69" y="2"/>
                  </a:cubicBezTo>
                  <a:cubicBezTo>
                    <a:pt x="74" y="4"/>
                    <a:pt x="83" y="6"/>
                    <a:pt x="88" y="7"/>
                  </a:cubicBezTo>
                  <a:cubicBezTo>
                    <a:pt x="111" y="10"/>
                    <a:pt x="116" y="11"/>
                    <a:pt x="119" y="13"/>
                  </a:cubicBezTo>
                  <a:cubicBezTo>
                    <a:pt x="120" y="15"/>
                    <a:pt x="129" y="15"/>
                    <a:pt x="138" y="14"/>
                  </a:cubicBezTo>
                  <a:cubicBezTo>
                    <a:pt x="147" y="13"/>
                    <a:pt x="163" y="14"/>
                    <a:pt x="174" y="16"/>
                  </a:cubicBezTo>
                  <a:cubicBezTo>
                    <a:pt x="185" y="19"/>
                    <a:pt x="198" y="21"/>
                    <a:pt x="204" y="22"/>
                  </a:cubicBezTo>
                  <a:cubicBezTo>
                    <a:pt x="217" y="23"/>
                    <a:pt x="222" y="34"/>
                    <a:pt x="216" y="47"/>
                  </a:cubicBezTo>
                  <a:cubicBezTo>
                    <a:pt x="213" y="56"/>
                    <a:pt x="213" y="59"/>
                    <a:pt x="217" y="62"/>
                  </a:cubicBezTo>
                  <a:cubicBezTo>
                    <a:pt x="221" y="64"/>
                    <a:pt x="229" y="77"/>
                    <a:pt x="235" y="90"/>
                  </a:cubicBezTo>
                  <a:cubicBezTo>
                    <a:pt x="242" y="104"/>
                    <a:pt x="250" y="117"/>
                    <a:pt x="254" y="120"/>
                  </a:cubicBezTo>
                  <a:cubicBezTo>
                    <a:pt x="263" y="127"/>
                    <a:pt x="262" y="142"/>
                    <a:pt x="254" y="139"/>
                  </a:cubicBezTo>
                  <a:cubicBezTo>
                    <a:pt x="250" y="137"/>
                    <a:pt x="242" y="141"/>
                    <a:pt x="232" y="149"/>
                  </a:cubicBezTo>
                  <a:cubicBezTo>
                    <a:pt x="224" y="157"/>
                    <a:pt x="208" y="167"/>
                    <a:pt x="197" y="173"/>
                  </a:cubicBezTo>
                  <a:cubicBezTo>
                    <a:pt x="175" y="183"/>
                    <a:pt x="172" y="186"/>
                    <a:pt x="184" y="190"/>
                  </a:cubicBezTo>
                  <a:cubicBezTo>
                    <a:pt x="189" y="192"/>
                    <a:pt x="192" y="195"/>
                    <a:pt x="192" y="198"/>
                  </a:cubicBezTo>
                  <a:cubicBezTo>
                    <a:pt x="192" y="207"/>
                    <a:pt x="224" y="235"/>
                    <a:pt x="238" y="238"/>
                  </a:cubicBezTo>
                  <a:cubicBezTo>
                    <a:pt x="250" y="240"/>
                    <a:pt x="250" y="240"/>
                    <a:pt x="250" y="240"/>
                  </a:cubicBezTo>
                  <a:cubicBezTo>
                    <a:pt x="232" y="256"/>
                    <a:pt x="232" y="256"/>
                    <a:pt x="232" y="256"/>
                  </a:cubicBezTo>
                  <a:cubicBezTo>
                    <a:pt x="213" y="272"/>
                    <a:pt x="213" y="271"/>
                    <a:pt x="227" y="296"/>
                  </a:cubicBezTo>
                  <a:cubicBezTo>
                    <a:pt x="228" y="297"/>
                    <a:pt x="223" y="299"/>
                    <a:pt x="216" y="299"/>
                  </a:cubicBezTo>
                  <a:cubicBezTo>
                    <a:pt x="209" y="300"/>
                    <a:pt x="201" y="302"/>
                    <a:pt x="198" y="304"/>
                  </a:cubicBezTo>
                  <a:cubicBezTo>
                    <a:pt x="196" y="306"/>
                    <a:pt x="182" y="310"/>
                    <a:pt x="166" y="314"/>
                  </a:cubicBezTo>
                  <a:cubicBezTo>
                    <a:pt x="151" y="317"/>
                    <a:pt x="137" y="322"/>
                    <a:pt x="134" y="324"/>
                  </a:cubicBezTo>
                  <a:cubicBezTo>
                    <a:pt x="131" y="327"/>
                    <a:pt x="126" y="326"/>
                    <a:pt x="120" y="321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1" name="Freeform 5"/>
          <p:cNvSpPr/>
          <p:nvPr userDrawn="1">
            <p:custDataLst>
              <p:tags r:id="rId52"/>
            </p:custDataLst>
          </p:nvPr>
        </p:nvSpPr>
        <p:spPr bwMode="black">
          <a:xfrm>
            <a:off x="1572581" y="5348179"/>
            <a:ext cx="53975" cy="87313"/>
          </a:xfrm>
          <a:custGeom>
            <a:gdLst>
              <a:gd name="T0" fmla="*/ 37 w 37"/>
              <a:gd name="T1" fmla="*/ 38 h 61"/>
              <a:gd name="T2" fmla="*/ 11 w 37"/>
              <a:gd name="T3" fmla="*/ 45 h 61"/>
              <a:gd name="T4" fmla="*/ 37 w 37"/>
              <a:gd name="T5" fmla="*/ 38 h 61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7" h="61">
                <a:moveTo>
                  <a:pt x="37" y="38"/>
                </a:moveTo>
                <a:cubicBezTo>
                  <a:pt x="29" y="0"/>
                  <a:pt x="0" y="42"/>
                  <a:pt x="11" y="45"/>
                </a:cubicBezTo>
                <a:cubicBezTo>
                  <a:pt x="31" y="51"/>
                  <a:pt x="24" y="61"/>
                  <a:pt x="37" y="38"/>
                </a:cubicBezTo>
                <a:close/>
              </a:path>
            </a:pathLst>
          </a:custGeom>
          <a:solidFill>
            <a:srgbClr val="0044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6"/>
          <p:cNvSpPr/>
          <p:nvPr userDrawn="1">
            <p:custDataLst>
              <p:tags r:id="rId53"/>
            </p:custDataLst>
          </p:nvPr>
        </p:nvSpPr>
        <p:spPr bwMode="auto">
          <a:xfrm>
            <a:off x="4291969" y="5878404"/>
            <a:ext cx="69850" cy="65088"/>
          </a:xfrm>
          <a:custGeom>
            <a:gdLst>
              <a:gd name="T0" fmla="*/ 27 w 48"/>
              <a:gd name="T1" fmla="*/ 0 h 45"/>
              <a:gd name="T2" fmla="*/ 17 w 48"/>
              <a:gd name="T3" fmla="*/ 45 h 45"/>
              <a:gd name="T4" fmla="*/ 48 w 48"/>
              <a:gd name="T5" fmla="*/ 0 h 45"/>
              <a:gd name="T6" fmla="*/ 27 w 48"/>
              <a:gd name="T7" fmla="*/ 0 h 45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" h="45">
                <a:moveTo>
                  <a:pt x="27" y="0"/>
                </a:moveTo>
                <a:cubicBezTo>
                  <a:pt x="6" y="9"/>
                  <a:pt x="0" y="28"/>
                  <a:pt x="17" y="45"/>
                </a:cubicBezTo>
                <a:cubicBezTo>
                  <a:pt x="29" y="32"/>
                  <a:pt x="40" y="17"/>
                  <a:pt x="48" y="0"/>
                </a:cubicBezTo>
                <a:cubicBezTo>
                  <a:pt x="41" y="0"/>
                  <a:pt x="34" y="0"/>
                  <a:pt x="27" y="0"/>
                </a:cubicBezTo>
                <a:close/>
              </a:path>
            </a:pathLst>
          </a:custGeom>
          <a:solidFill>
            <a:srgbClr val="0044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7"/>
          <p:cNvSpPr>
            <a:spLocks noEditPoints="1"/>
          </p:cNvSpPr>
          <p:nvPr userDrawn="1">
            <p:custDataLst>
              <p:tags r:id="rId54"/>
            </p:custDataLst>
          </p:nvPr>
        </p:nvSpPr>
        <p:spPr bwMode="black">
          <a:xfrm>
            <a:off x="580393" y="3414603"/>
            <a:ext cx="3808414" cy="3360739"/>
          </a:xfrm>
          <a:custGeom>
            <a:gdLst>
              <a:gd name="T0" fmla="*/ 558 w 2649"/>
              <a:gd name="T1" fmla="*/ 958 h 2340"/>
              <a:gd name="T2" fmla="*/ 616 w 2649"/>
              <a:gd name="T3" fmla="*/ 1013 h 2340"/>
              <a:gd name="T4" fmla="*/ 803 w 2649"/>
              <a:gd name="T5" fmla="*/ 1307 h 2340"/>
              <a:gd name="T6" fmla="*/ 812 w 2649"/>
              <a:gd name="T7" fmla="*/ 1517 h 2340"/>
              <a:gd name="T8" fmla="*/ 841 w 2649"/>
              <a:gd name="T9" fmla="*/ 1693 h 2340"/>
              <a:gd name="T10" fmla="*/ 981 w 2649"/>
              <a:gd name="T11" fmla="*/ 1820 h 2340"/>
              <a:gd name="T12" fmla="*/ 1498 w 2649"/>
              <a:gd name="T13" fmla="*/ 2120 h 2340"/>
              <a:gd name="T14" fmla="*/ 1782 w 2649"/>
              <a:gd name="T15" fmla="*/ 2110 h 2340"/>
              <a:gd name="T16" fmla="*/ 1905 w 2649"/>
              <a:gd name="T17" fmla="*/ 2197 h 2340"/>
              <a:gd name="T18" fmla="*/ 2082 w 2649"/>
              <a:gd name="T19" fmla="*/ 2199 h 2340"/>
              <a:gd name="T20" fmla="*/ 2250 w 2649"/>
              <a:gd name="T21" fmla="*/ 2147 h 2340"/>
              <a:gd name="T22" fmla="*/ 2186 w 2649"/>
              <a:gd name="T23" fmla="*/ 2000 h 2340"/>
              <a:gd name="T24" fmla="*/ 2394 w 2649"/>
              <a:gd name="T25" fmla="*/ 2010 h 2340"/>
              <a:gd name="T26" fmla="*/ 2481 w 2649"/>
              <a:gd name="T27" fmla="*/ 1909 h 2340"/>
              <a:gd name="T28" fmla="*/ 2526 w 2649"/>
              <a:gd name="T29" fmla="*/ 1858 h 2340"/>
              <a:gd name="T30" fmla="*/ 2593 w 2649"/>
              <a:gd name="T31" fmla="*/ 1724 h 2340"/>
              <a:gd name="T32" fmla="*/ 2545 w 2649"/>
              <a:gd name="T33" fmla="*/ 1624 h 2340"/>
              <a:gd name="T34" fmla="*/ 2402 w 2649"/>
              <a:gd name="T35" fmla="*/ 1617 h 2340"/>
              <a:gd name="T36" fmla="*/ 2230 w 2649"/>
              <a:gd name="T37" fmla="*/ 1790 h 2340"/>
              <a:gd name="T38" fmla="*/ 2065 w 2649"/>
              <a:gd name="T39" fmla="*/ 1884 h 2340"/>
              <a:gd name="T40" fmla="*/ 1770 w 2649"/>
              <a:gd name="T41" fmla="*/ 1846 h 2340"/>
              <a:gd name="T42" fmla="*/ 1581 w 2649"/>
              <a:gd name="T43" fmla="*/ 1480 h 2340"/>
              <a:gd name="T44" fmla="*/ 1632 w 2649"/>
              <a:gd name="T45" fmla="*/ 1142 h 2340"/>
              <a:gd name="T46" fmla="*/ 1675 w 2649"/>
              <a:gd name="T47" fmla="*/ 1065 h 2340"/>
              <a:gd name="T48" fmla="*/ 1441 w 2649"/>
              <a:gd name="T49" fmla="*/ 874 h 2340"/>
              <a:gd name="T50" fmla="*/ 1413 w 2649"/>
              <a:gd name="T51" fmla="*/ 762 h 2340"/>
              <a:gd name="T52" fmla="*/ 1179 w 2649"/>
              <a:gd name="T53" fmla="*/ 651 h 2340"/>
              <a:gd name="T54" fmla="*/ 1008 w 2649"/>
              <a:gd name="T55" fmla="*/ 458 h 2340"/>
              <a:gd name="T56" fmla="*/ 744 w 2649"/>
              <a:gd name="T57" fmla="*/ 358 h 2340"/>
              <a:gd name="T58" fmla="*/ 238 w 2649"/>
              <a:gd name="T59" fmla="*/ 72 h 2340"/>
              <a:gd name="T60" fmla="*/ 47 w 2649"/>
              <a:gd name="T61" fmla="*/ 214 h 2340"/>
              <a:gd name="T62" fmla="*/ 147 w 2649"/>
              <a:gd name="T63" fmla="*/ 589 h 2340"/>
              <a:gd name="T64" fmla="*/ 53 w 2649"/>
              <a:gd name="T65" fmla="*/ 554 h 2340"/>
              <a:gd name="T66" fmla="*/ 271 w 2649"/>
              <a:gd name="T67" fmla="*/ 899 h 2340"/>
              <a:gd name="T68" fmla="*/ 380 w 2649"/>
              <a:gd name="T69" fmla="*/ 1137 h 2340"/>
              <a:gd name="T70" fmla="*/ 476 w 2649"/>
              <a:gd name="T71" fmla="*/ 1145 h 2340"/>
              <a:gd name="T72" fmla="*/ 372 w 2649"/>
              <a:gd name="T73" fmla="*/ 839 h 2340"/>
              <a:gd name="T74" fmla="*/ 282 w 2649"/>
              <a:gd name="T75" fmla="*/ 570 h 2340"/>
              <a:gd name="T76" fmla="*/ 276 w 2649"/>
              <a:gd name="T77" fmla="*/ 500 h 2340"/>
              <a:gd name="T78" fmla="*/ 208 w 2649"/>
              <a:gd name="T79" fmla="*/ 180 h 2340"/>
              <a:gd name="T80" fmla="*/ 227 w 2649"/>
              <a:gd name="T81" fmla="*/ 197 h 2340"/>
              <a:gd name="T82" fmla="*/ 333 w 2649"/>
              <a:gd name="T83" fmla="*/ 426 h 2340"/>
              <a:gd name="T84" fmla="*/ 423 w 2649"/>
              <a:gd name="T85" fmla="*/ 633 h 2340"/>
              <a:gd name="T86" fmla="*/ 517 w 2649"/>
              <a:gd name="T87" fmla="*/ 791 h 2340"/>
              <a:gd name="T88" fmla="*/ 528 w 2649"/>
              <a:gd name="T89" fmla="*/ 888 h 2340"/>
              <a:gd name="T90" fmla="*/ 2526 w 2649"/>
              <a:gd name="T91" fmla="*/ 1820 h 2340"/>
              <a:gd name="T92" fmla="*/ 536 w 2649"/>
              <a:gd name="T93" fmla="*/ 892 h 234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649" h="2340">
                <a:moveTo>
                  <a:pt x="533" y="893"/>
                </a:moveTo>
                <a:cubicBezTo>
                  <a:pt x="541" y="908"/>
                  <a:pt x="543" y="938"/>
                  <a:pt x="558" y="958"/>
                </a:cubicBezTo>
                <a:cubicBezTo>
                  <a:pt x="565" y="958"/>
                  <a:pt x="571" y="958"/>
                  <a:pt x="578" y="958"/>
                </a:cubicBezTo>
                <a:cubicBezTo>
                  <a:pt x="588" y="978"/>
                  <a:pt x="601" y="996"/>
                  <a:pt x="616" y="1013"/>
                </a:cubicBezTo>
                <a:cubicBezTo>
                  <a:pt x="639" y="1054"/>
                  <a:pt x="638" y="1052"/>
                  <a:pt x="670" y="1083"/>
                </a:cubicBezTo>
                <a:cubicBezTo>
                  <a:pt x="651" y="1089"/>
                  <a:pt x="796" y="1287"/>
                  <a:pt x="803" y="1307"/>
                </a:cubicBezTo>
                <a:cubicBezTo>
                  <a:pt x="813" y="1336"/>
                  <a:pt x="819" y="1401"/>
                  <a:pt x="819" y="1432"/>
                </a:cubicBezTo>
                <a:cubicBezTo>
                  <a:pt x="819" y="1453"/>
                  <a:pt x="793" y="1512"/>
                  <a:pt x="812" y="1517"/>
                </a:cubicBezTo>
                <a:cubicBezTo>
                  <a:pt x="774" y="1552"/>
                  <a:pt x="759" y="1542"/>
                  <a:pt x="781" y="1602"/>
                </a:cubicBezTo>
                <a:cubicBezTo>
                  <a:pt x="791" y="1632"/>
                  <a:pt x="839" y="1691"/>
                  <a:pt x="841" y="1693"/>
                </a:cubicBezTo>
                <a:cubicBezTo>
                  <a:pt x="865" y="1712"/>
                  <a:pt x="894" y="1721"/>
                  <a:pt x="916" y="1744"/>
                </a:cubicBezTo>
                <a:cubicBezTo>
                  <a:pt x="939" y="1769"/>
                  <a:pt x="953" y="1799"/>
                  <a:pt x="981" y="1820"/>
                </a:cubicBezTo>
                <a:cubicBezTo>
                  <a:pt x="1028" y="1857"/>
                  <a:pt x="1084" y="1867"/>
                  <a:pt x="1130" y="1905"/>
                </a:cubicBezTo>
                <a:cubicBezTo>
                  <a:pt x="1238" y="1996"/>
                  <a:pt x="1371" y="2058"/>
                  <a:pt x="1498" y="2120"/>
                </a:cubicBezTo>
                <a:cubicBezTo>
                  <a:pt x="1559" y="2150"/>
                  <a:pt x="1607" y="2174"/>
                  <a:pt x="1675" y="2161"/>
                </a:cubicBezTo>
                <a:cubicBezTo>
                  <a:pt x="1698" y="2156"/>
                  <a:pt x="1763" y="2109"/>
                  <a:pt x="1782" y="2110"/>
                </a:cubicBezTo>
                <a:cubicBezTo>
                  <a:pt x="1782" y="2144"/>
                  <a:pt x="1810" y="2126"/>
                  <a:pt x="1846" y="2141"/>
                </a:cubicBezTo>
                <a:cubicBezTo>
                  <a:pt x="1869" y="2152"/>
                  <a:pt x="1888" y="2179"/>
                  <a:pt x="1905" y="2197"/>
                </a:cubicBezTo>
                <a:cubicBezTo>
                  <a:pt x="1951" y="2244"/>
                  <a:pt x="1983" y="2301"/>
                  <a:pt x="2034" y="2340"/>
                </a:cubicBezTo>
                <a:cubicBezTo>
                  <a:pt x="2059" y="2296"/>
                  <a:pt x="2041" y="2236"/>
                  <a:pt x="2082" y="2199"/>
                </a:cubicBezTo>
                <a:cubicBezTo>
                  <a:pt x="2122" y="2162"/>
                  <a:pt x="2184" y="2187"/>
                  <a:pt x="2232" y="2192"/>
                </a:cubicBezTo>
                <a:cubicBezTo>
                  <a:pt x="2230" y="2173"/>
                  <a:pt x="2236" y="2159"/>
                  <a:pt x="2250" y="2147"/>
                </a:cubicBezTo>
                <a:cubicBezTo>
                  <a:pt x="2210" y="2138"/>
                  <a:pt x="2180" y="2086"/>
                  <a:pt x="2154" y="2058"/>
                </a:cubicBezTo>
                <a:cubicBezTo>
                  <a:pt x="2189" y="2067"/>
                  <a:pt x="2186" y="2020"/>
                  <a:pt x="2186" y="2000"/>
                </a:cubicBezTo>
                <a:cubicBezTo>
                  <a:pt x="2236" y="2027"/>
                  <a:pt x="2328" y="2020"/>
                  <a:pt x="2380" y="2001"/>
                </a:cubicBezTo>
                <a:cubicBezTo>
                  <a:pt x="2384" y="2005"/>
                  <a:pt x="2389" y="2008"/>
                  <a:pt x="2394" y="2010"/>
                </a:cubicBezTo>
                <a:cubicBezTo>
                  <a:pt x="2407" y="1998"/>
                  <a:pt x="2418" y="1984"/>
                  <a:pt x="2427" y="1970"/>
                </a:cubicBezTo>
                <a:cubicBezTo>
                  <a:pt x="2445" y="1951"/>
                  <a:pt x="2458" y="1921"/>
                  <a:pt x="2481" y="1909"/>
                </a:cubicBezTo>
                <a:cubicBezTo>
                  <a:pt x="2456" y="1971"/>
                  <a:pt x="2519" y="1972"/>
                  <a:pt x="2531" y="1909"/>
                </a:cubicBezTo>
                <a:cubicBezTo>
                  <a:pt x="2536" y="1887"/>
                  <a:pt x="2526" y="1870"/>
                  <a:pt x="2526" y="1858"/>
                </a:cubicBezTo>
                <a:cubicBezTo>
                  <a:pt x="2526" y="1840"/>
                  <a:pt x="2578" y="1828"/>
                  <a:pt x="2531" y="1817"/>
                </a:cubicBezTo>
                <a:cubicBezTo>
                  <a:pt x="2553" y="1802"/>
                  <a:pt x="2578" y="1746"/>
                  <a:pt x="2593" y="1724"/>
                </a:cubicBezTo>
                <a:cubicBezTo>
                  <a:pt x="2615" y="1692"/>
                  <a:pt x="2649" y="1632"/>
                  <a:pt x="2592" y="1611"/>
                </a:cubicBezTo>
                <a:cubicBezTo>
                  <a:pt x="2586" y="1608"/>
                  <a:pt x="2559" y="1624"/>
                  <a:pt x="2545" y="1624"/>
                </a:cubicBezTo>
                <a:cubicBezTo>
                  <a:pt x="2523" y="1625"/>
                  <a:pt x="2494" y="1604"/>
                  <a:pt x="2470" y="1603"/>
                </a:cubicBezTo>
                <a:cubicBezTo>
                  <a:pt x="2448" y="1603"/>
                  <a:pt x="2424" y="1613"/>
                  <a:pt x="2402" y="1617"/>
                </a:cubicBezTo>
                <a:cubicBezTo>
                  <a:pt x="2361" y="1624"/>
                  <a:pt x="2305" y="1620"/>
                  <a:pt x="2273" y="1653"/>
                </a:cubicBezTo>
                <a:cubicBezTo>
                  <a:pt x="2237" y="1690"/>
                  <a:pt x="2250" y="1746"/>
                  <a:pt x="2230" y="1790"/>
                </a:cubicBezTo>
                <a:cubicBezTo>
                  <a:pt x="2217" y="1817"/>
                  <a:pt x="2167" y="1870"/>
                  <a:pt x="2151" y="1883"/>
                </a:cubicBezTo>
                <a:cubicBezTo>
                  <a:pt x="2108" y="1916"/>
                  <a:pt x="2125" y="1887"/>
                  <a:pt x="2065" y="1884"/>
                </a:cubicBezTo>
                <a:cubicBezTo>
                  <a:pt x="2004" y="1881"/>
                  <a:pt x="1908" y="1933"/>
                  <a:pt x="1850" y="1911"/>
                </a:cubicBezTo>
                <a:cubicBezTo>
                  <a:pt x="1822" y="1900"/>
                  <a:pt x="1798" y="1863"/>
                  <a:pt x="1770" y="1846"/>
                </a:cubicBezTo>
                <a:cubicBezTo>
                  <a:pt x="1724" y="1818"/>
                  <a:pt x="1704" y="1812"/>
                  <a:pt x="1679" y="1759"/>
                </a:cubicBezTo>
                <a:cubicBezTo>
                  <a:pt x="1639" y="1671"/>
                  <a:pt x="1610" y="1571"/>
                  <a:pt x="1581" y="1480"/>
                </a:cubicBezTo>
                <a:cubicBezTo>
                  <a:pt x="1549" y="1383"/>
                  <a:pt x="1604" y="1251"/>
                  <a:pt x="1611" y="1146"/>
                </a:cubicBezTo>
                <a:cubicBezTo>
                  <a:pt x="1626" y="1188"/>
                  <a:pt x="1633" y="1186"/>
                  <a:pt x="1632" y="1142"/>
                </a:cubicBezTo>
                <a:cubicBezTo>
                  <a:pt x="1642" y="1147"/>
                  <a:pt x="1650" y="1145"/>
                  <a:pt x="1655" y="1134"/>
                </a:cubicBezTo>
                <a:cubicBezTo>
                  <a:pt x="1665" y="1112"/>
                  <a:pt x="1675" y="1089"/>
                  <a:pt x="1675" y="1065"/>
                </a:cubicBezTo>
                <a:cubicBezTo>
                  <a:pt x="1637" y="1104"/>
                  <a:pt x="1532" y="1031"/>
                  <a:pt x="1508" y="1001"/>
                </a:cubicBezTo>
                <a:cubicBezTo>
                  <a:pt x="1490" y="978"/>
                  <a:pt x="1482" y="845"/>
                  <a:pt x="1441" y="874"/>
                </a:cubicBezTo>
                <a:cubicBezTo>
                  <a:pt x="1436" y="860"/>
                  <a:pt x="1456" y="849"/>
                  <a:pt x="1449" y="834"/>
                </a:cubicBezTo>
                <a:cubicBezTo>
                  <a:pt x="1438" y="808"/>
                  <a:pt x="1424" y="789"/>
                  <a:pt x="1413" y="762"/>
                </a:cubicBezTo>
                <a:cubicBezTo>
                  <a:pt x="1391" y="708"/>
                  <a:pt x="1382" y="647"/>
                  <a:pt x="1324" y="617"/>
                </a:cubicBezTo>
                <a:cubicBezTo>
                  <a:pt x="1255" y="580"/>
                  <a:pt x="1230" y="620"/>
                  <a:pt x="1179" y="651"/>
                </a:cubicBezTo>
                <a:cubicBezTo>
                  <a:pt x="1132" y="678"/>
                  <a:pt x="1103" y="665"/>
                  <a:pt x="1069" y="610"/>
                </a:cubicBezTo>
                <a:cubicBezTo>
                  <a:pt x="1039" y="561"/>
                  <a:pt x="1042" y="507"/>
                  <a:pt x="1008" y="458"/>
                </a:cubicBezTo>
                <a:cubicBezTo>
                  <a:pt x="982" y="421"/>
                  <a:pt x="955" y="367"/>
                  <a:pt x="918" y="342"/>
                </a:cubicBezTo>
                <a:cubicBezTo>
                  <a:pt x="862" y="305"/>
                  <a:pt x="754" y="277"/>
                  <a:pt x="744" y="358"/>
                </a:cubicBezTo>
                <a:cubicBezTo>
                  <a:pt x="626" y="311"/>
                  <a:pt x="520" y="312"/>
                  <a:pt x="414" y="232"/>
                </a:cubicBezTo>
                <a:cubicBezTo>
                  <a:pt x="390" y="214"/>
                  <a:pt x="209" y="108"/>
                  <a:pt x="238" y="72"/>
                </a:cubicBezTo>
                <a:cubicBezTo>
                  <a:pt x="194" y="62"/>
                  <a:pt x="77" y="0"/>
                  <a:pt x="36" y="31"/>
                </a:cubicBezTo>
                <a:cubicBezTo>
                  <a:pt x="0" y="59"/>
                  <a:pt x="41" y="173"/>
                  <a:pt x="47" y="214"/>
                </a:cubicBezTo>
                <a:cubicBezTo>
                  <a:pt x="63" y="308"/>
                  <a:pt x="78" y="366"/>
                  <a:pt x="128" y="447"/>
                </a:cubicBezTo>
                <a:cubicBezTo>
                  <a:pt x="154" y="489"/>
                  <a:pt x="187" y="553"/>
                  <a:pt x="147" y="589"/>
                </a:cubicBezTo>
                <a:cubicBezTo>
                  <a:pt x="141" y="582"/>
                  <a:pt x="139" y="574"/>
                  <a:pt x="140" y="565"/>
                </a:cubicBezTo>
                <a:cubicBezTo>
                  <a:pt x="115" y="589"/>
                  <a:pt x="77" y="562"/>
                  <a:pt x="53" y="554"/>
                </a:cubicBezTo>
                <a:cubicBezTo>
                  <a:pt x="63" y="586"/>
                  <a:pt x="173" y="766"/>
                  <a:pt x="214" y="718"/>
                </a:cubicBezTo>
                <a:cubicBezTo>
                  <a:pt x="232" y="793"/>
                  <a:pt x="278" y="814"/>
                  <a:pt x="271" y="899"/>
                </a:cubicBezTo>
                <a:cubicBezTo>
                  <a:pt x="267" y="947"/>
                  <a:pt x="263" y="957"/>
                  <a:pt x="291" y="1001"/>
                </a:cubicBezTo>
                <a:cubicBezTo>
                  <a:pt x="321" y="1049"/>
                  <a:pt x="355" y="1087"/>
                  <a:pt x="380" y="1137"/>
                </a:cubicBezTo>
                <a:cubicBezTo>
                  <a:pt x="392" y="1163"/>
                  <a:pt x="395" y="1196"/>
                  <a:pt x="427" y="1202"/>
                </a:cubicBezTo>
                <a:cubicBezTo>
                  <a:pt x="465" y="1209"/>
                  <a:pt x="473" y="1173"/>
                  <a:pt x="476" y="1145"/>
                </a:cubicBezTo>
                <a:cubicBezTo>
                  <a:pt x="481" y="1091"/>
                  <a:pt x="402" y="1029"/>
                  <a:pt x="405" y="1054"/>
                </a:cubicBezTo>
                <a:cubicBezTo>
                  <a:pt x="374" y="998"/>
                  <a:pt x="379" y="901"/>
                  <a:pt x="372" y="839"/>
                </a:cubicBezTo>
                <a:cubicBezTo>
                  <a:pt x="365" y="777"/>
                  <a:pt x="335" y="749"/>
                  <a:pt x="312" y="694"/>
                </a:cubicBezTo>
                <a:cubicBezTo>
                  <a:pt x="296" y="654"/>
                  <a:pt x="292" y="612"/>
                  <a:pt x="282" y="570"/>
                </a:cubicBezTo>
                <a:cubicBezTo>
                  <a:pt x="272" y="525"/>
                  <a:pt x="245" y="498"/>
                  <a:pt x="245" y="464"/>
                </a:cubicBezTo>
                <a:cubicBezTo>
                  <a:pt x="253" y="478"/>
                  <a:pt x="263" y="490"/>
                  <a:pt x="276" y="500"/>
                </a:cubicBezTo>
                <a:cubicBezTo>
                  <a:pt x="295" y="463"/>
                  <a:pt x="237" y="419"/>
                  <a:pt x="238" y="442"/>
                </a:cubicBezTo>
                <a:cubicBezTo>
                  <a:pt x="179" y="367"/>
                  <a:pt x="159" y="265"/>
                  <a:pt x="208" y="180"/>
                </a:cubicBezTo>
                <a:cubicBezTo>
                  <a:pt x="210" y="183"/>
                  <a:pt x="191" y="207"/>
                  <a:pt x="203" y="206"/>
                </a:cubicBezTo>
                <a:cubicBezTo>
                  <a:pt x="211" y="206"/>
                  <a:pt x="243" y="228"/>
                  <a:pt x="227" y="197"/>
                </a:cubicBezTo>
                <a:cubicBezTo>
                  <a:pt x="252" y="204"/>
                  <a:pt x="268" y="243"/>
                  <a:pt x="296" y="251"/>
                </a:cubicBezTo>
                <a:cubicBezTo>
                  <a:pt x="294" y="250"/>
                  <a:pt x="327" y="393"/>
                  <a:pt x="333" y="426"/>
                </a:cubicBezTo>
                <a:cubicBezTo>
                  <a:pt x="333" y="426"/>
                  <a:pt x="324" y="590"/>
                  <a:pt x="355" y="528"/>
                </a:cubicBezTo>
                <a:cubicBezTo>
                  <a:pt x="375" y="566"/>
                  <a:pt x="399" y="599"/>
                  <a:pt x="423" y="633"/>
                </a:cubicBezTo>
                <a:cubicBezTo>
                  <a:pt x="453" y="675"/>
                  <a:pt x="436" y="667"/>
                  <a:pt x="453" y="716"/>
                </a:cubicBezTo>
                <a:cubicBezTo>
                  <a:pt x="464" y="745"/>
                  <a:pt x="496" y="769"/>
                  <a:pt x="517" y="791"/>
                </a:cubicBezTo>
                <a:cubicBezTo>
                  <a:pt x="521" y="796"/>
                  <a:pt x="568" y="847"/>
                  <a:pt x="568" y="845"/>
                </a:cubicBezTo>
                <a:cubicBezTo>
                  <a:pt x="559" y="857"/>
                  <a:pt x="544" y="875"/>
                  <a:pt x="528" y="888"/>
                </a:cubicBezTo>
                <a:moveTo>
                  <a:pt x="2526" y="1820"/>
                </a:moveTo>
                <a:cubicBezTo>
                  <a:pt x="2526" y="1820"/>
                  <a:pt x="2526" y="1820"/>
                  <a:pt x="2526" y="1820"/>
                </a:cubicBezTo>
                <a:moveTo>
                  <a:pt x="536" y="892"/>
                </a:moveTo>
                <a:cubicBezTo>
                  <a:pt x="536" y="892"/>
                  <a:pt x="536" y="892"/>
                  <a:pt x="536" y="892"/>
                </a:cubicBezTo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54" name="Freeform 8"/>
          <p:cNvSpPr/>
          <p:nvPr userDrawn="1">
            <p:custDataLst>
              <p:tags r:id="rId55"/>
            </p:custDataLst>
          </p:nvPr>
        </p:nvSpPr>
        <p:spPr bwMode="black">
          <a:xfrm>
            <a:off x="613730" y="4119454"/>
            <a:ext cx="80963" cy="85725"/>
          </a:xfrm>
          <a:custGeom>
            <a:gdLst>
              <a:gd name="T0" fmla="*/ 44 w 56"/>
              <a:gd name="T1" fmla="*/ 60 h 60"/>
              <a:gd name="T2" fmla="*/ 55 w 56"/>
              <a:gd name="T3" fmla="*/ 0 h 60"/>
              <a:gd name="T4" fmla="*/ 44 w 56"/>
              <a:gd name="T5" fmla="*/ 60 h 6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6" h="60">
                <a:moveTo>
                  <a:pt x="44" y="60"/>
                </a:moveTo>
                <a:cubicBezTo>
                  <a:pt x="54" y="42"/>
                  <a:pt x="56" y="21"/>
                  <a:pt x="55" y="0"/>
                </a:cubicBezTo>
                <a:cubicBezTo>
                  <a:pt x="42" y="21"/>
                  <a:pt x="0" y="51"/>
                  <a:pt x="44" y="60"/>
                </a:cubicBezTo>
                <a:close/>
              </a:path>
            </a:pathLst>
          </a:custGeom>
          <a:solidFill>
            <a:srgbClr val="0044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9"/>
          <p:cNvSpPr/>
          <p:nvPr userDrawn="1">
            <p:custDataLst>
              <p:tags r:id="rId56"/>
            </p:custDataLst>
          </p:nvPr>
        </p:nvSpPr>
        <p:spPr bwMode="grayWhite">
          <a:xfrm>
            <a:off x="1350330" y="-711311"/>
            <a:ext cx="1066800" cy="1905001"/>
          </a:xfrm>
          <a:custGeom>
            <a:gdLst>
              <a:gd name="T0" fmla="*/ 407 w 742"/>
              <a:gd name="T1" fmla="*/ 1287 h 1326"/>
              <a:gd name="T2" fmla="*/ 203 w 742"/>
              <a:gd name="T3" fmla="*/ 1210 h 1326"/>
              <a:gd name="T4" fmla="*/ 193 w 742"/>
              <a:gd name="T5" fmla="*/ 1187 h 1326"/>
              <a:gd name="T6" fmla="*/ 201 w 742"/>
              <a:gd name="T7" fmla="*/ 1142 h 1326"/>
              <a:gd name="T8" fmla="*/ 198 w 742"/>
              <a:gd name="T9" fmla="*/ 1060 h 1326"/>
              <a:gd name="T10" fmla="*/ 172 w 742"/>
              <a:gd name="T11" fmla="*/ 1008 h 1326"/>
              <a:gd name="T12" fmla="*/ 145 w 742"/>
              <a:gd name="T13" fmla="*/ 946 h 1326"/>
              <a:gd name="T14" fmla="*/ 125 w 742"/>
              <a:gd name="T15" fmla="*/ 903 h 1326"/>
              <a:gd name="T16" fmla="*/ 111 w 742"/>
              <a:gd name="T17" fmla="*/ 871 h 1326"/>
              <a:gd name="T18" fmla="*/ 97 w 742"/>
              <a:gd name="T19" fmla="*/ 843 h 1326"/>
              <a:gd name="T20" fmla="*/ 85 w 742"/>
              <a:gd name="T21" fmla="*/ 826 h 1326"/>
              <a:gd name="T22" fmla="*/ 77 w 742"/>
              <a:gd name="T23" fmla="*/ 810 h 1326"/>
              <a:gd name="T24" fmla="*/ 65 w 742"/>
              <a:gd name="T25" fmla="*/ 772 h 1326"/>
              <a:gd name="T26" fmla="*/ 51 w 742"/>
              <a:gd name="T27" fmla="*/ 731 h 1326"/>
              <a:gd name="T28" fmla="*/ 38 w 742"/>
              <a:gd name="T29" fmla="*/ 706 h 1326"/>
              <a:gd name="T30" fmla="*/ 19 w 742"/>
              <a:gd name="T31" fmla="*/ 686 h 1326"/>
              <a:gd name="T32" fmla="*/ 9 w 742"/>
              <a:gd name="T33" fmla="*/ 657 h 1326"/>
              <a:gd name="T34" fmla="*/ 13 w 742"/>
              <a:gd name="T35" fmla="*/ 632 h 1326"/>
              <a:gd name="T36" fmla="*/ 218 w 742"/>
              <a:gd name="T37" fmla="*/ 44 h 1326"/>
              <a:gd name="T38" fmla="*/ 234 w 742"/>
              <a:gd name="T39" fmla="*/ 0 h 1326"/>
              <a:gd name="T40" fmla="*/ 323 w 742"/>
              <a:gd name="T41" fmla="*/ 29 h 1326"/>
              <a:gd name="T42" fmla="*/ 487 w 742"/>
              <a:gd name="T43" fmla="*/ 81 h 1326"/>
              <a:gd name="T44" fmla="*/ 651 w 742"/>
              <a:gd name="T45" fmla="*/ 129 h 1326"/>
              <a:gd name="T46" fmla="*/ 740 w 742"/>
              <a:gd name="T47" fmla="*/ 156 h 1326"/>
              <a:gd name="T48" fmla="*/ 724 w 742"/>
              <a:gd name="T49" fmla="*/ 220 h 1326"/>
              <a:gd name="T50" fmla="*/ 709 w 742"/>
              <a:gd name="T51" fmla="*/ 225 h 1326"/>
              <a:gd name="T52" fmla="*/ 657 w 742"/>
              <a:gd name="T53" fmla="*/ 277 h 1326"/>
              <a:gd name="T54" fmla="*/ 671 w 742"/>
              <a:gd name="T55" fmla="*/ 288 h 1326"/>
              <a:gd name="T56" fmla="*/ 697 w 742"/>
              <a:gd name="T57" fmla="*/ 287 h 1326"/>
              <a:gd name="T58" fmla="*/ 711 w 742"/>
              <a:gd name="T59" fmla="*/ 270 h 1326"/>
              <a:gd name="T60" fmla="*/ 716 w 742"/>
              <a:gd name="T61" fmla="*/ 264 h 1326"/>
              <a:gd name="T62" fmla="*/ 702 w 742"/>
              <a:gd name="T63" fmla="*/ 331 h 1326"/>
              <a:gd name="T64" fmla="*/ 629 w 742"/>
              <a:gd name="T65" fmla="*/ 635 h 1326"/>
              <a:gd name="T66" fmla="*/ 595 w 742"/>
              <a:gd name="T67" fmla="*/ 777 h 1326"/>
              <a:gd name="T68" fmla="*/ 532 w 742"/>
              <a:gd name="T69" fmla="*/ 1041 h 1326"/>
              <a:gd name="T70" fmla="*/ 466 w 742"/>
              <a:gd name="T71" fmla="*/ 1302 h 1326"/>
              <a:gd name="T72" fmla="*/ 407 w 742"/>
              <a:gd name="T73" fmla="*/ 1287 h 1326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42" h="1326">
                <a:moveTo>
                  <a:pt x="407" y="1287"/>
                </a:moveTo>
                <a:cubicBezTo>
                  <a:pt x="193" y="1230"/>
                  <a:pt x="216" y="1239"/>
                  <a:pt x="203" y="1210"/>
                </a:cubicBezTo>
                <a:cubicBezTo>
                  <a:pt x="193" y="1187"/>
                  <a:pt x="193" y="1187"/>
                  <a:pt x="193" y="1187"/>
                </a:cubicBezTo>
                <a:cubicBezTo>
                  <a:pt x="201" y="1142"/>
                  <a:pt x="201" y="1142"/>
                  <a:pt x="201" y="1142"/>
                </a:cubicBezTo>
                <a:cubicBezTo>
                  <a:pt x="211" y="1096"/>
                  <a:pt x="210" y="1084"/>
                  <a:pt x="198" y="1060"/>
                </a:cubicBezTo>
                <a:cubicBezTo>
                  <a:pt x="194" y="1051"/>
                  <a:pt x="182" y="1028"/>
                  <a:pt x="172" y="1008"/>
                </a:cubicBezTo>
                <a:cubicBezTo>
                  <a:pt x="162" y="988"/>
                  <a:pt x="150" y="960"/>
                  <a:pt x="145" y="946"/>
                </a:cubicBezTo>
                <a:cubicBezTo>
                  <a:pt x="140" y="932"/>
                  <a:pt x="131" y="913"/>
                  <a:pt x="125" y="903"/>
                </a:cubicBezTo>
                <a:cubicBezTo>
                  <a:pt x="118" y="893"/>
                  <a:pt x="112" y="879"/>
                  <a:pt x="111" y="871"/>
                </a:cubicBezTo>
                <a:cubicBezTo>
                  <a:pt x="109" y="863"/>
                  <a:pt x="103" y="851"/>
                  <a:pt x="97" y="843"/>
                </a:cubicBezTo>
                <a:cubicBezTo>
                  <a:pt x="90" y="836"/>
                  <a:pt x="85" y="828"/>
                  <a:pt x="85" y="826"/>
                </a:cubicBezTo>
                <a:cubicBezTo>
                  <a:pt x="85" y="824"/>
                  <a:pt x="81" y="817"/>
                  <a:pt x="77" y="810"/>
                </a:cubicBezTo>
                <a:cubicBezTo>
                  <a:pt x="72" y="803"/>
                  <a:pt x="67" y="787"/>
                  <a:pt x="65" y="772"/>
                </a:cubicBezTo>
                <a:cubicBezTo>
                  <a:pt x="62" y="755"/>
                  <a:pt x="57" y="739"/>
                  <a:pt x="51" y="731"/>
                </a:cubicBezTo>
                <a:cubicBezTo>
                  <a:pt x="46" y="723"/>
                  <a:pt x="40" y="712"/>
                  <a:pt x="38" y="706"/>
                </a:cubicBezTo>
                <a:cubicBezTo>
                  <a:pt x="35" y="700"/>
                  <a:pt x="27" y="691"/>
                  <a:pt x="19" y="686"/>
                </a:cubicBezTo>
                <a:cubicBezTo>
                  <a:pt x="5" y="677"/>
                  <a:pt x="0" y="662"/>
                  <a:pt x="9" y="657"/>
                </a:cubicBezTo>
                <a:cubicBezTo>
                  <a:pt x="11" y="655"/>
                  <a:pt x="13" y="644"/>
                  <a:pt x="13" y="632"/>
                </a:cubicBezTo>
                <a:cubicBezTo>
                  <a:pt x="13" y="610"/>
                  <a:pt x="39" y="535"/>
                  <a:pt x="218" y="44"/>
                </a:cubicBezTo>
                <a:cubicBezTo>
                  <a:pt x="234" y="0"/>
                  <a:pt x="234" y="0"/>
                  <a:pt x="234" y="0"/>
                </a:cubicBezTo>
                <a:cubicBezTo>
                  <a:pt x="323" y="29"/>
                  <a:pt x="323" y="29"/>
                  <a:pt x="323" y="29"/>
                </a:cubicBezTo>
                <a:cubicBezTo>
                  <a:pt x="371" y="45"/>
                  <a:pt x="445" y="69"/>
                  <a:pt x="487" y="81"/>
                </a:cubicBezTo>
                <a:cubicBezTo>
                  <a:pt x="529" y="93"/>
                  <a:pt x="603" y="115"/>
                  <a:pt x="651" y="129"/>
                </a:cubicBezTo>
                <a:cubicBezTo>
                  <a:pt x="699" y="143"/>
                  <a:pt x="739" y="155"/>
                  <a:pt x="740" y="156"/>
                </a:cubicBezTo>
                <a:cubicBezTo>
                  <a:pt x="742" y="158"/>
                  <a:pt x="728" y="217"/>
                  <a:pt x="724" y="220"/>
                </a:cubicBezTo>
                <a:cubicBezTo>
                  <a:pt x="721" y="221"/>
                  <a:pt x="715" y="224"/>
                  <a:pt x="709" y="225"/>
                </a:cubicBezTo>
                <a:cubicBezTo>
                  <a:pt x="699" y="228"/>
                  <a:pt x="657" y="269"/>
                  <a:pt x="657" y="277"/>
                </a:cubicBezTo>
                <a:cubicBezTo>
                  <a:pt x="657" y="279"/>
                  <a:pt x="664" y="284"/>
                  <a:pt x="671" y="288"/>
                </a:cubicBezTo>
                <a:cubicBezTo>
                  <a:pt x="685" y="294"/>
                  <a:pt x="686" y="294"/>
                  <a:pt x="697" y="287"/>
                </a:cubicBezTo>
                <a:cubicBezTo>
                  <a:pt x="703" y="282"/>
                  <a:pt x="710" y="275"/>
                  <a:pt x="711" y="270"/>
                </a:cubicBezTo>
                <a:cubicBezTo>
                  <a:pt x="713" y="266"/>
                  <a:pt x="715" y="263"/>
                  <a:pt x="716" y="264"/>
                </a:cubicBezTo>
                <a:cubicBezTo>
                  <a:pt x="717" y="265"/>
                  <a:pt x="710" y="295"/>
                  <a:pt x="702" y="331"/>
                </a:cubicBezTo>
                <a:cubicBezTo>
                  <a:pt x="681" y="416"/>
                  <a:pt x="659" y="508"/>
                  <a:pt x="629" y="635"/>
                </a:cubicBezTo>
                <a:cubicBezTo>
                  <a:pt x="616" y="691"/>
                  <a:pt x="600" y="755"/>
                  <a:pt x="595" y="777"/>
                </a:cubicBezTo>
                <a:cubicBezTo>
                  <a:pt x="568" y="887"/>
                  <a:pt x="545" y="987"/>
                  <a:pt x="532" y="1041"/>
                </a:cubicBezTo>
                <a:cubicBezTo>
                  <a:pt x="464" y="1326"/>
                  <a:pt x="470" y="1303"/>
                  <a:pt x="466" y="1302"/>
                </a:cubicBezTo>
                <a:cubicBezTo>
                  <a:pt x="464" y="1302"/>
                  <a:pt x="438" y="1295"/>
                  <a:pt x="407" y="1287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10"/>
          <p:cNvSpPr/>
          <p:nvPr userDrawn="1">
            <p:custDataLst>
              <p:tags r:id="rId57"/>
            </p:custDataLst>
          </p:nvPr>
        </p:nvSpPr>
        <p:spPr bwMode="grayWhite">
          <a:xfrm>
            <a:off x="442280" y="304690"/>
            <a:ext cx="349250" cy="550863"/>
          </a:xfrm>
          <a:custGeom>
            <a:gdLst>
              <a:gd name="T0" fmla="*/ 189 w 243"/>
              <a:gd name="T1" fmla="*/ 371 h 383"/>
              <a:gd name="T2" fmla="*/ 125 w 243"/>
              <a:gd name="T3" fmla="*/ 287 h 383"/>
              <a:gd name="T4" fmla="*/ 113 w 243"/>
              <a:gd name="T5" fmla="*/ 270 h 383"/>
              <a:gd name="T6" fmla="*/ 87 w 243"/>
              <a:gd name="T7" fmla="*/ 226 h 383"/>
              <a:gd name="T8" fmla="*/ 76 w 243"/>
              <a:gd name="T9" fmla="*/ 200 h 383"/>
              <a:gd name="T10" fmla="*/ 60 w 243"/>
              <a:gd name="T11" fmla="*/ 168 h 383"/>
              <a:gd name="T12" fmla="*/ 36 w 243"/>
              <a:gd name="T13" fmla="*/ 122 h 383"/>
              <a:gd name="T14" fmla="*/ 15 w 243"/>
              <a:gd name="T15" fmla="*/ 70 h 383"/>
              <a:gd name="T16" fmla="*/ 5 w 243"/>
              <a:gd name="T17" fmla="*/ 32 h 383"/>
              <a:gd name="T18" fmla="*/ 11 w 243"/>
              <a:gd name="T19" fmla="*/ 10 h 383"/>
              <a:gd name="T20" fmla="*/ 31 w 243"/>
              <a:gd name="T21" fmla="*/ 0 h 383"/>
              <a:gd name="T22" fmla="*/ 101 w 243"/>
              <a:gd name="T23" fmla="*/ 67 h 383"/>
              <a:gd name="T24" fmla="*/ 127 w 243"/>
              <a:gd name="T25" fmla="*/ 97 h 383"/>
              <a:gd name="T26" fmla="*/ 145 w 243"/>
              <a:gd name="T27" fmla="*/ 120 h 383"/>
              <a:gd name="T28" fmla="*/ 161 w 243"/>
              <a:gd name="T29" fmla="*/ 140 h 383"/>
              <a:gd name="T30" fmla="*/ 180 w 243"/>
              <a:gd name="T31" fmla="*/ 203 h 383"/>
              <a:gd name="T32" fmla="*/ 202 w 243"/>
              <a:gd name="T33" fmla="*/ 255 h 383"/>
              <a:gd name="T34" fmla="*/ 231 w 243"/>
              <a:gd name="T35" fmla="*/ 321 h 383"/>
              <a:gd name="T36" fmla="*/ 239 w 243"/>
              <a:gd name="T37" fmla="*/ 360 h 383"/>
              <a:gd name="T38" fmla="*/ 242 w 243"/>
              <a:gd name="T39" fmla="*/ 377 h 383"/>
              <a:gd name="T40" fmla="*/ 189 w 243"/>
              <a:gd name="T41" fmla="*/ 371 h 383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43" h="383">
                <a:moveTo>
                  <a:pt x="189" y="371"/>
                </a:moveTo>
                <a:cubicBezTo>
                  <a:pt x="164" y="354"/>
                  <a:pt x="125" y="304"/>
                  <a:pt x="125" y="287"/>
                </a:cubicBezTo>
                <a:cubicBezTo>
                  <a:pt x="125" y="277"/>
                  <a:pt x="123" y="274"/>
                  <a:pt x="113" y="270"/>
                </a:cubicBezTo>
                <a:cubicBezTo>
                  <a:pt x="102" y="266"/>
                  <a:pt x="92" y="250"/>
                  <a:pt x="87" y="226"/>
                </a:cubicBezTo>
                <a:cubicBezTo>
                  <a:pt x="86" y="219"/>
                  <a:pt x="81" y="207"/>
                  <a:pt x="76" y="200"/>
                </a:cubicBezTo>
                <a:cubicBezTo>
                  <a:pt x="71" y="192"/>
                  <a:pt x="63" y="177"/>
                  <a:pt x="60" y="168"/>
                </a:cubicBezTo>
                <a:cubicBezTo>
                  <a:pt x="56" y="158"/>
                  <a:pt x="45" y="137"/>
                  <a:pt x="36" y="122"/>
                </a:cubicBezTo>
                <a:cubicBezTo>
                  <a:pt x="27" y="106"/>
                  <a:pt x="18" y="86"/>
                  <a:pt x="15" y="70"/>
                </a:cubicBezTo>
                <a:cubicBezTo>
                  <a:pt x="12" y="57"/>
                  <a:pt x="8" y="40"/>
                  <a:pt x="5" y="32"/>
                </a:cubicBezTo>
                <a:cubicBezTo>
                  <a:pt x="0" y="20"/>
                  <a:pt x="0" y="19"/>
                  <a:pt x="11" y="10"/>
                </a:cubicBezTo>
                <a:cubicBezTo>
                  <a:pt x="18" y="4"/>
                  <a:pt x="27" y="0"/>
                  <a:pt x="31" y="0"/>
                </a:cubicBezTo>
                <a:cubicBezTo>
                  <a:pt x="39" y="0"/>
                  <a:pt x="63" y="22"/>
                  <a:pt x="101" y="67"/>
                </a:cubicBezTo>
                <a:cubicBezTo>
                  <a:pt x="113" y="81"/>
                  <a:pt x="125" y="95"/>
                  <a:pt x="127" y="97"/>
                </a:cubicBezTo>
                <a:cubicBezTo>
                  <a:pt x="129" y="100"/>
                  <a:pt x="137" y="110"/>
                  <a:pt x="145" y="120"/>
                </a:cubicBezTo>
                <a:cubicBezTo>
                  <a:pt x="153" y="129"/>
                  <a:pt x="160" y="138"/>
                  <a:pt x="161" y="140"/>
                </a:cubicBezTo>
                <a:cubicBezTo>
                  <a:pt x="167" y="144"/>
                  <a:pt x="177" y="180"/>
                  <a:pt x="180" y="203"/>
                </a:cubicBezTo>
                <a:cubicBezTo>
                  <a:pt x="182" y="226"/>
                  <a:pt x="185" y="232"/>
                  <a:pt x="202" y="255"/>
                </a:cubicBezTo>
                <a:cubicBezTo>
                  <a:pt x="225" y="285"/>
                  <a:pt x="227" y="290"/>
                  <a:pt x="231" y="321"/>
                </a:cubicBezTo>
                <a:cubicBezTo>
                  <a:pt x="233" y="334"/>
                  <a:pt x="236" y="351"/>
                  <a:pt x="239" y="360"/>
                </a:cubicBezTo>
                <a:cubicBezTo>
                  <a:pt x="242" y="368"/>
                  <a:pt x="243" y="376"/>
                  <a:pt x="242" y="377"/>
                </a:cubicBezTo>
                <a:cubicBezTo>
                  <a:pt x="236" y="383"/>
                  <a:pt x="202" y="379"/>
                  <a:pt x="189" y="371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11"/>
          <p:cNvSpPr/>
          <p:nvPr userDrawn="1">
            <p:custDataLst>
              <p:tags r:id="rId58"/>
            </p:custDataLst>
          </p:nvPr>
        </p:nvSpPr>
        <p:spPr bwMode="grayWhite">
          <a:xfrm>
            <a:off x="366080" y="-1406636"/>
            <a:ext cx="1300163" cy="2462213"/>
          </a:xfrm>
          <a:custGeom>
            <a:gdLst>
              <a:gd name="T0" fmla="*/ 726 w 905"/>
              <a:gd name="T1" fmla="*/ 1666 h 1714"/>
              <a:gd name="T2" fmla="*/ 332 w 905"/>
              <a:gd name="T3" fmla="*/ 1518 h 1714"/>
              <a:gd name="T4" fmla="*/ 306 w 905"/>
              <a:gd name="T5" fmla="*/ 1468 h 1714"/>
              <a:gd name="T6" fmla="*/ 271 w 905"/>
              <a:gd name="T7" fmla="*/ 1423 h 1714"/>
              <a:gd name="T8" fmla="*/ 204 w 905"/>
              <a:gd name="T9" fmla="*/ 1303 h 1714"/>
              <a:gd name="T10" fmla="*/ 181 w 905"/>
              <a:gd name="T11" fmla="*/ 1243 h 1714"/>
              <a:gd name="T12" fmla="*/ 153 w 905"/>
              <a:gd name="T13" fmla="*/ 1225 h 1714"/>
              <a:gd name="T14" fmla="*/ 132 w 905"/>
              <a:gd name="T15" fmla="*/ 1197 h 1714"/>
              <a:gd name="T16" fmla="*/ 143 w 905"/>
              <a:gd name="T17" fmla="*/ 1089 h 1714"/>
              <a:gd name="T18" fmla="*/ 146 w 905"/>
              <a:gd name="T19" fmla="*/ 1038 h 1714"/>
              <a:gd name="T20" fmla="*/ 116 w 905"/>
              <a:gd name="T21" fmla="*/ 962 h 1714"/>
              <a:gd name="T22" fmla="*/ 121 w 905"/>
              <a:gd name="T23" fmla="*/ 901 h 1714"/>
              <a:gd name="T24" fmla="*/ 123 w 905"/>
              <a:gd name="T25" fmla="*/ 771 h 1714"/>
              <a:gd name="T26" fmla="*/ 206 w 905"/>
              <a:gd name="T27" fmla="*/ 706 h 1714"/>
              <a:gd name="T28" fmla="*/ 242 w 905"/>
              <a:gd name="T29" fmla="*/ 616 h 1714"/>
              <a:gd name="T30" fmla="*/ 186 w 905"/>
              <a:gd name="T31" fmla="*/ 498 h 1714"/>
              <a:gd name="T32" fmla="*/ 199 w 905"/>
              <a:gd name="T33" fmla="*/ 367 h 1714"/>
              <a:gd name="T34" fmla="*/ 188 w 905"/>
              <a:gd name="T35" fmla="*/ 260 h 1714"/>
              <a:gd name="T36" fmla="*/ 170 w 905"/>
              <a:gd name="T37" fmla="*/ 171 h 1714"/>
              <a:gd name="T38" fmla="*/ 139 w 905"/>
              <a:gd name="T39" fmla="*/ 96 h 1714"/>
              <a:gd name="T40" fmla="*/ 68 w 905"/>
              <a:gd name="T41" fmla="*/ 119 h 1714"/>
              <a:gd name="T42" fmla="*/ 12 w 905"/>
              <a:gd name="T43" fmla="*/ 143 h 1714"/>
              <a:gd name="T44" fmla="*/ 8 w 905"/>
              <a:gd name="T45" fmla="*/ 50 h 1714"/>
              <a:gd name="T46" fmla="*/ 100 w 905"/>
              <a:gd name="T47" fmla="*/ 58 h 1714"/>
              <a:gd name="T48" fmla="*/ 496 w 905"/>
              <a:gd name="T49" fmla="*/ 295 h 1714"/>
              <a:gd name="T50" fmla="*/ 814 w 905"/>
              <a:gd name="T51" fmla="*/ 443 h 1714"/>
              <a:gd name="T52" fmla="*/ 902 w 905"/>
              <a:gd name="T53" fmla="*/ 491 h 1714"/>
              <a:gd name="T54" fmla="*/ 798 w 905"/>
              <a:gd name="T55" fmla="*/ 779 h 1714"/>
              <a:gd name="T56" fmla="*/ 680 w 905"/>
              <a:gd name="T57" fmla="*/ 1137 h 1714"/>
              <a:gd name="T58" fmla="*/ 737 w 905"/>
              <a:gd name="T59" fmla="*/ 1261 h 1714"/>
              <a:gd name="T60" fmla="*/ 762 w 905"/>
              <a:gd name="T61" fmla="*/ 1324 h 1714"/>
              <a:gd name="T62" fmla="*/ 786 w 905"/>
              <a:gd name="T63" fmla="*/ 1368 h 1714"/>
              <a:gd name="T64" fmla="*/ 820 w 905"/>
              <a:gd name="T65" fmla="*/ 1441 h 1714"/>
              <a:gd name="T66" fmla="*/ 880 w 905"/>
              <a:gd name="T67" fmla="*/ 1580 h 1714"/>
              <a:gd name="T68" fmla="*/ 877 w 905"/>
              <a:gd name="T69" fmla="*/ 1702 h 171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05" h="1714">
                <a:moveTo>
                  <a:pt x="876" y="1712"/>
                </a:moveTo>
                <a:cubicBezTo>
                  <a:pt x="872" y="1711"/>
                  <a:pt x="790" y="1686"/>
                  <a:pt x="726" y="1666"/>
                </a:cubicBezTo>
                <a:cubicBezTo>
                  <a:pt x="704" y="1659"/>
                  <a:pt x="470" y="1571"/>
                  <a:pt x="374" y="1534"/>
                </a:cubicBezTo>
                <a:cubicBezTo>
                  <a:pt x="358" y="1527"/>
                  <a:pt x="339" y="1520"/>
                  <a:pt x="332" y="1518"/>
                </a:cubicBezTo>
                <a:cubicBezTo>
                  <a:pt x="317" y="1512"/>
                  <a:pt x="314" y="1508"/>
                  <a:pt x="314" y="1490"/>
                </a:cubicBezTo>
                <a:cubicBezTo>
                  <a:pt x="314" y="1479"/>
                  <a:pt x="312" y="1472"/>
                  <a:pt x="306" y="1468"/>
                </a:cubicBezTo>
                <a:cubicBezTo>
                  <a:pt x="282" y="1448"/>
                  <a:pt x="274" y="1439"/>
                  <a:pt x="274" y="1431"/>
                </a:cubicBezTo>
                <a:cubicBezTo>
                  <a:pt x="274" y="1426"/>
                  <a:pt x="273" y="1423"/>
                  <a:pt x="271" y="1423"/>
                </a:cubicBezTo>
                <a:cubicBezTo>
                  <a:pt x="261" y="1423"/>
                  <a:pt x="247" y="1401"/>
                  <a:pt x="245" y="1383"/>
                </a:cubicBezTo>
                <a:cubicBezTo>
                  <a:pt x="241" y="1353"/>
                  <a:pt x="227" y="1327"/>
                  <a:pt x="204" y="1303"/>
                </a:cubicBezTo>
                <a:cubicBezTo>
                  <a:pt x="182" y="1282"/>
                  <a:pt x="182" y="1281"/>
                  <a:pt x="185" y="1262"/>
                </a:cubicBezTo>
                <a:cubicBezTo>
                  <a:pt x="187" y="1246"/>
                  <a:pt x="186" y="1243"/>
                  <a:pt x="181" y="1243"/>
                </a:cubicBezTo>
                <a:cubicBezTo>
                  <a:pt x="178" y="1243"/>
                  <a:pt x="174" y="1241"/>
                  <a:pt x="173" y="1239"/>
                </a:cubicBezTo>
                <a:cubicBezTo>
                  <a:pt x="173" y="1238"/>
                  <a:pt x="164" y="1231"/>
                  <a:pt x="153" y="1225"/>
                </a:cubicBezTo>
                <a:cubicBezTo>
                  <a:pt x="143" y="1219"/>
                  <a:pt x="134" y="1212"/>
                  <a:pt x="134" y="1209"/>
                </a:cubicBezTo>
                <a:cubicBezTo>
                  <a:pt x="134" y="1207"/>
                  <a:pt x="133" y="1201"/>
                  <a:pt x="132" y="1197"/>
                </a:cubicBezTo>
                <a:cubicBezTo>
                  <a:pt x="130" y="1186"/>
                  <a:pt x="129" y="1179"/>
                  <a:pt x="130" y="1136"/>
                </a:cubicBezTo>
                <a:cubicBezTo>
                  <a:pt x="131" y="1100"/>
                  <a:pt x="131" y="1099"/>
                  <a:pt x="143" y="1089"/>
                </a:cubicBezTo>
                <a:cubicBezTo>
                  <a:pt x="154" y="1079"/>
                  <a:pt x="155" y="1077"/>
                  <a:pt x="151" y="1066"/>
                </a:cubicBezTo>
                <a:cubicBezTo>
                  <a:pt x="148" y="1059"/>
                  <a:pt x="146" y="1046"/>
                  <a:pt x="146" y="1038"/>
                </a:cubicBezTo>
                <a:cubicBezTo>
                  <a:pt x="146" y="1026"/>
                  <a:pt x="142" y="1016"/>
                  <a:pt x="130" y="999"/>
                </a:cubicBezTo>
                <a:cubicBezTo>
                  <a:pt x="116" y="979"/>
                  <a:pt x="114" y="974"/>
                  <a:pt x="116" y="962"/>
                </a:cubicBezTo>
                <a:cubicBezTo>
                  <a:pt x="117" y="955"/>
                  <a:pt x="122" y="945"/>
                  <a:pt x="127" y="942"/>
                </a:cubicBezTo>
                <a:cubicBezTo>
                  <a:pt x="136" y="934"/>
                  <a:pt x="135" y="928"/>
                  <a:pt x="121" y="901"/>
                </a:cubicBezTo>
                <a:cubicBezTo>
                  <a:pt x="114" y="887"/>
                  <a:pt x="113" y="877"/>
                  <a:pt x="113" y="833"/>
                </a:cubicBezTo>
                <a:cubicBezTo>
                  <a:pt x="113" y="783"/>
                  <a:pt x="113" y="781"/>
                  <a:pt x="123" y="771"/>
                </a:cubicBezTo>
                <a:cubicBezTo>
                  <a:pt x="129" y="765"/>
                  <a:pt x="143" y="757"/>
                  <a:pt x="155" y="753"/>
                </a:cubicBezTo>
                <a:cubicBezTo>
                  <a:pt x="183" y="742"/>
                  <a:pt x="206" y="721"/>
                  <a:pt x="206" y="706"/>
                </a:cubicBezTo>
                <a:cubicBezTo>
                  <a:pt x="206" y="690"/>
                  <a:pt x="215" y="671"/>
                  <a:pt x="230" y="655"/>
                </a:cubicBezTo>
                <a:cubicBezTo>
                  <a:pt x="241" y="643"/>
                  <a:pt x="242" y="638"/>
                  <a:pt x="242" y="616"/>
                </a:cubicBezTo>
                <a:cubicBezTo>
                  <a:pt x="242" y="594"/>
                  <a:pt x="241" y="591"/>
                  <a:pt x="230" y="581"/>
                </a:cubicBezTo>
                <a:cubicBezTo>
                  <a:pt x="216" y="569"/>
                  <a:pt x="193" y="524"/>
                  <a:pt x="186" y="498"/>
                </a:cubicBezTo>
                <a:cubicBezTo>
                  <a:pt x="182" y="482"/>
                  <a:pt x="183" y="474"/>
                  <a:pt x="192" y="435"/>
                </a:cubicBezTo>
                <a:cubicBezTo>
                  <a:pt x="202" y="395"/>
                  <a:pt x="203" y="387"/>
                  <a:pt x="199" y="367"/>
                </a:cubicBezTo>
                <a:cubicBezTo>
                  <a:pt x="196" y="355"/>
                  <a:pt x="193" y="327"/>
                  <a:pt x="192" y="307"/>
                </a:cubicBezTo>
                <a:cubicBezTo>
                  <a:pt x="191" y="286"/>
                  <a:pt x="189" y="265"/>
                  <a:pt x="188" y="260"/>
                </a:cubicBezTo>
                <a:cubicBezTo>
                  <a:pt x="187" y="256"/>
                  <a:pt x="185" y="245"/>
                  <a:pt x="184" y="236"/>
                </a:cubicBezTo>
                <a:cubicBezTo>
                  <a:pt x="183" y="228"/>
                  <a:pt x="176" y="198"/>
                  <a:pt x="170" y="171"/>
                </a:cubicBezTo>
                <a:cubicBezTo>
                  <a:pt x="163" y="143"/>
                  <a:pt x="157" y="117"/>
                  <a:pt x="156" y="112"/>
                </a:cubicBezTo>
                <a:cubicBezTo>
                  <a:pt x="155" y="106"/>
                  <a:pt x="148" y="100"/>
                  <a:pt x="139" y="96"/>
                </a:cubicBezTo>
                <a:cubicBezTo>
                  <a:pt x="111" y="85"/>
                  <a:pt x="108" y="85"/>
                  <a:pt x="100" y="98"/>
                </a:cubicBezTo>
                <a:cubicBezTo>
                  <a:pt x="95" y="107"/>
                  <a:pt x="86" y="112"/>
                  <a:pt x="68" y="119"/>
                </a:cubicBezTo>
                <a:cubicBezTo>
                  <a:pt x="55" y="124"/>
                  <a:pt x="37" y="131"/>
                  <a:pt x="28" y="135"/>
                </a:cubicBezTo>
                <a:cubicBezTo>
                  <a:pt x="20" y="139"/>
                  <a:pt x="12" y="143"/>
                  <a:pt x="12" y="143"/>
                </a:cubicBezTo>
                <a:cubicBezTo>
                  <a:pt x="11" y="143"/>
                  <a:pt x="12" y="137"/>
                  <a:pt x="14" y="130"/>
                </a:cubicBezTo>
                <a:cubicBezTo>
                  <a:pt x="20" y="110"/>
                  <a:pt x="16" y="61"/>
                  <a:pt x="8" y="50"/>
                </a:cubicBezTo>
                <a:cubicBezTo>
                  <a:pt x="0" y="37"/>
                  <a:pt x="1" y="0"/>
                  <a:pt x="10" y="2"/>
                </a:cubicBezTo>
                <a:cubicBezTo>
                  <a:pt x="13" y="2"/>
                  <a:pt x="53" y="28"/>
                  <a:pt x="100" y="58"/>
                </a:cubicBezTo>
                <a:cubicBezTo>
                  <a:pt x="226" y="141"/>
                  <a:pt x="365" y="225"/>
                  <a:pt x="432" y="260"/>
                </a:cubicBezTo>
                <a:cubicBezTo>
                  <a:pt x="465" y="278"/>
                  <a:pt x="494" y="293"/>
                  <a:pt x="496" y="295"/>
                </a:cubicBezTo>
                <a:cubicBezTo>
                  <a:pt x="507" y="302"/>
                  <a:pt x="630" y="365"/>
                  <a:pt x="676" y="386"/>
                </a:cubicBezTo>
                <a:cubicBezTo>
                  <a:pt x="705" y="399"/>
                  <a:pt x="767" y="424"/>
                  <a:pt x="814" y="443"/>
                </a:cubicBezTo>
                <a:cubicBezTo>
                  <a:pt x="861" y="461"/>
                  <a:pt x="902" y="477"/>
                  <a:pt x="903" y="479"/>
                </a:cubicBezTo>
                <a:cubicBezTo>
                  <a:pt x="905" y="480"/>
                  <a:pt x="905" y="486"/>
                  <a:pt x="902" y="491"/>
                </a:cubicBezTo>
                <a:cubicBezTo>
                  <a:pt x="900" y="496"/>
                  <a:pt x="879" y="554"/>
                  <a:pt x="856" y="619"/>
                </a:cubicBezTo>
                <a:cubicBezTo>
                  <a:pt x="833" y="683"/>
                  <a:pt x="807" y="755"/>
                  <a:pt x="798" y="779"/>
                </a:cubicBezTo>
                <a:cubicBezTo>
                  <a:pt x="706" y="1031"/>
                  <a:pt x="686" y="1088"/>
                  <a:pt x="686" y="1108"/>
                </a:cubicBezTo>
                <a:cubicBezTo>
                  <a:pt x="686" y="1120"/>
                  <a:pt x="684" y="1132"/>
                  <a:pt x="680" y="1137"/>
                </a:cubicBezTo>
                <a:cubicBezTo>
                  <a:pt x="671" y="1150"/>
                  <a:pt x="676" y="1167"/>
                  <a:pt x="691" y="1177"/>
                </a:cubicBezTo>
                <a:cubicBezTo>
                  <a:pt x="710" y="1189"/>
                  <a:pt x="734" y="1233"/>
                  <a:pt x="737" y="1261"/>
                </a:cubicBezTo>
                <a:cubicBezTo>
                  <a:pt x="739" y="1277"/>
                  <a:pt x="743" y="1290"/>
                  <a:pt x="751" y="1302"/>
                </a:cubicBezTo>
                <a:cubicBezTo>
                  <a:pt x="757" y="1312"/>
                  <a:pt x="762" y="1322"/>
                  <a:pt x="762" y="1324"/>
                </a:cubicBezTo>
                <a:cubicBezTo>
                  <a:pt x="762" y="1326"/>
                  <a:pt x="766" y="1333"/>
                  <a:pt x="772" y="1338"/>
                </a:cubicBezTo>
                <a:cubicBezTo>
                  <a:pt x="777" y="1344"/>
                  <a:pt x="783" y="1357"/>
                  <a:pt x="786" y="1368"/>
                </a:cubicBezTo>
                <a:cubicBezTo>
                  <a:pt x="789" y="1378"/>
                  <a:pt x="793" y="1388"/>
                  <a:pt x="795" y="1389"/>
                </a:cubicBezTo>
                <a:cubicBezTo>
                  <a:pt x="800" y="1392"/>
                  <a:pt x="816" y="1426"/>
                  <a:pt x="820" y="1441"/>
                </a:cubicBezTo>
                <a:cubicBezTo>
                  <a:pt x="821" y="1447"/>
                  <a:pt x="835" y="1479"/>
                  <a:pt x="851" y="1510"/>
                </a:cubicBezTo>
                <a:cubicBezTo>
                  <a:pt x="868" y="1544"/>
                  <a:pt x="880" y="1573"/>
                  <a:pt x="880" y="1580"/>
                </a:cubicBezTo>
                <a:cubicBezTo>
                  <a:pt x="880" y="1587"/>
                  <a:pt x="877" y="1609"/>
                  <a:pt x="873" y="1630"/>
                </a:cubicBezTo>
                <a:cubicBezTo>
                  <a:pt x="865" y="1669"/>
                  <a:pt x="867" y="1685"/>
                  <a:pt x="877" y="1702"/>
                </a:cubicBezTo>
                <a:cubicBezTo>
                  <a:pt x="883" y="1711"/>
                  <a:pt x="883" y="1714"/>
                  <a:pt x="876" y="1712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12"/>
          <p:cNvSpPr/>
          <p:nvPr userDrawn="1">
            <p:custDataLst>
              <p:tags r:id="rId59"/>
            </p:custDataLst>
          </p:nvPr>
        </p:nvSpPr>
        <p:spPr bwMode="grayWhite">
          <a:xfrm>
            <a:off x="275593" y="-365235"/>
            <a:ext cx="133350" cy="376238"/>
          </a:xfrm>
          <a:custGeom>
            <a:gdLst>
              <a:gd name="T0" fmla="*/ 22 w 93"/>
              <a:gd name="T1" fmla="*/ 232 h 261"/>
              <a:gd name="T2" fmla="*/ 3 w 93"/>
              <a:gd name="T3" fmla="*/ 86 h 261"/>
              <a:gd name="T4" fmla="*/ 10 w 93"/>
              <a:gd name="T5" fmla="*/ 23 h 261"/>
              <a:gd name="T6" fmla="*/ 15 w 93"/>
              <a:gd name="T7" fmla="*/ 10 h 261"/>
              <a:gd name="T8" fmla="*/ 48 w 93"/>
              <a:gd name="T9" fmla="*/ 11 h 261"/>
              <a:gd name="T10" fmla="*/ 93 w 93"/>
              <a:gd name="T11" fmla="*/ 55 h 261"/>
              <a:gd name="T12" fmla="*/ 57 w 93"/>
              <a:gd name="T13" fmla="*/ 98 h 261"/>
              <a:gd name="T14" fmla="*/ 31 w 93"/>
              <a:gd name="T15" fmla="*/ 204 h 261"/>
              <a:gd name="T16" fmla="*/ 41 w 93"/>
              <a:gd name="T17" fmla="*/ 247 h 261"/>
              <a:gd name="T18" fmla="*/ 22 w 93"/>
              <a:gd name="T19" fmla="*/ 232 h 261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3" h="261">
                <a:moveTo>
                  <a:pt x="22" y="232"/>
                </a:moveTo>
                <a:cubicBezTo>
                  <a:pt x="6" y="195"/>
                  <a:pt x="0" y="150"/>
                  <a:pt x="3" y="86"/>
                </a:cubicBezTo>
                <a:cubicBezTo>
                  <a:pt x="4" y="49"/>
                  <a:pt x="7" y="27"/>
                  <a:pt x="10" y="23"/>
                </a:cubicBezTo>
                <a:cubicBezTo>
                  <a:pt x="13" y="19"/>
                  <a:pt x="15" y="14"/>
                  <a:pt x="15" y="10"/>
                </a:cubicBezTo>
                <a:cubicBezTo>
                  <a:pt x="15" y="0"/>
                  <a:pt x="32" y="0"/>
                  <a:pt x="48" y="11"/>
                </a:cubicBezTo>
                <a:cubicBezTo>
                  <a:pt x="68" y="24"/>
                  <a:pt x="93" y="49"/>
                  <a:pt x="93" y="55"/>
                </a:cubicBezTo>
                <a:cubicBezTo>
                  <a:pt x="93" y="58"/>
                  <a:pt x="77" y="77"/>
                  <a:pt x="57" y="98"/>
                </a:cubicBezTo>
                <a:cubicBezTo>
                  <a:pt x="15" y="141"/>
                  <a:pt x="15" y="144"/>
                  <a:pt x="31" y="204"/>
                </a:cubicBezTo>
                <a:cubicBezTo>
                  <a:pt x="37" y="223"/>
                  <a:pt x="41" y="243"/>
                  <a:pt x="41" y="247"/>
                </a:cubicBezTo>
                <a:cubicBezTo>
                  <a:pt x="41" y="261"/>
                  <a:pt x="31" y="253"/>
                  <a:pt x="22" y="232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Freeform 13"/>
          <p:cNvSpPr>
            <a:spLocks noEditPoints="1"/>
          </p:cNvSpPr>
          <p:nvPr userDrawn="1">
            <p:custDataLst>
              <p:tags r:id="rId60"/>
            </p:custDataLst>
          </p:nvPr>
        </p:nvSpPr>
        <p:spPr bwMode="grayWhite">
          <a:xfrm>
            <a:off x="2896556" y="-368410"/>
            <a:ext cx="1158875" cy="1736726"/>
          </a:xfrm>
          <a:custGeom>
            <a:gdLst>
              <a:gd name="T0" fmla="*/ 104 w 806"/>
              <a:gd name="T1" fmla="*/ 25 h 1209"/>
              <a:gd name="T2" fmla="*/ 96 w 806"/>
              <a:gd name="T3" fmla="*/ 85 h 1209"/>
              <a:gd name="T4" fmla="*/ 84 w 806"/>
              <a:gd name="T5" fmla="*/ 170 h 1209"/>
              <a:gd name="T6" fmla="*/ 80 w 806"/>
              <a:gd name="T7" fmla="*/ 259 h 1209"/>
              <a:gd name="T8" fmla="*/ 56 w 806"/>
              <a:gd name="T9" fmla="*/ 339 h 1209"/>
              <a:gd name="T10" fmla="*/ 48 w 806"/>
              <a:gd name="T11" fmla="*/ 459 h 1209"/>
              <a:gd name="T12" fmla="*/ 36 w 806"/>
              <a:gd name="T13" fmla="*/ 627 h 1209"/>
              <a:gd name="T14" fmla="*/ 28 w 806"/>
              <a:gd name="T15" fmla="*/ 739 h 1209"/>
              <a:gd name="T16" fmla="*/ 20 w 806"/>
              <a:gd name="T17" fmla="*/ 853 h 1209"/>
              <a:gd name="T18" fmla="*/ 12 w 806"/>
              <a:gd name="T19" fmla="*/ 969 h 1209"/>
              <a:gd name="T20" fmla="*/ 0 w 806"/>
              <a:gd name="T21" fmla="*/ 1149 h 1209"/>
              <a:gd name="T22" fmla="*/ 24 w 806"/>
              <a:gd name="T23" fmla="*/ 1177 h 1209"/>
              <a:gd name="T24" fmla="*/ 142 w 806"/>
              <a:gd name="T25" fmla="*/ 1190 h 1209"/>
              <a:gd name="T26" fmla="*/ 274 w 806"/>
              <a:gd name="T27" fmla="*/ 1204 h 1209"/>
              <a:gd name="T28" fmla="*/ 393 w 806"/>
              <a:gd name="T29" fmla="*/ 1209 h 1209"/>
              <a:gd name="T30" fmla="*/ 400 w 806"/>
              <a:gd name="T31" fmla="*/ 1123 h 1209"/>
              <a:gd name="T32" fmla="*/ 408 w 806"/>
              <a:gd name="T33" fmla="*/ 959 h 1209"/>
              <a:gd name="T34" fmla="*/ 487 w 806"/>
              <a:gd name="T35" fmla="*/ 744 h 1209"/>
              <a:gd name="T36" fmla="*/ 580 w 806"/>
              <a:gd name="T37" fmla="*/ 642 h 1209"/>
              <a:gd name="T38" fmla="*/ 711 w 806"/>
              <a:gd name="T39" fmla="*/ 492 h 1209"/>
              <a:gd name="T40" fmla="*/ 786 w 806"/>
              <a:gd name="T41" fmla="*/ 409 h 1209"/>
              <a:gd name="T42" fmla="*/ 767 w 806"/>
              <a:gd name="T43" fmla="*/ 366 h 1209"/>
              <a:gd name="T44" fmla="*/ 698 w 806"/>
              <a:gd name="T45" fmla="*/ 346 h 1209"/>
              <a:gd name="T46" fmla="*/ 613 w 806"/>
              <a:gd name="T47" fmla="*/ 358 h 1209"/>
              <a:gd name="T48" fmla="*/ 601 w 806"/>
              <a:gd name="T49" fmla="*/ 281 h 1209"/>
              <a:gd name="T50" fmla="*/ 533 w 806"/>
              <a:gd name="T51" fmla="*/ 167 h 1209"/>
              <a:gd name="T52" fmla="*/ 494 w 806"/>
              <a:gd name="T53" fmla="*/ 68 h 1209"/>
              <a:gd name="T54" fmla="*/ 475 w 806"/>
              <a:gd name="T55" fmla="*/ 40 h 1209"/>
              <a:gd name="T56" fmla="*/ 418 w 806"/>
              <a:gd name="T57" fmla="*/ 35 h 1209"/>
              <a:gd name="T58" fmla="*/ 348 w 806"/>
              <a:gd name="T59" fmla="*/ 27 h 1209"/>
              <a:gd name="T60" fmla="*/ 280 w 806"/>
              <a:gd name="T61" fmla="*/ 19 h 1209"/>
              <a:gd name="T62" fmla="*/ 168 w 806"/>
              <a:gd name="T63" fmla="*/ 7 h 1209"/>
              <a:gd name="T64" fmla="*/ 107 w 806"/>
              <a:gd name="T65" fmla="*/ 0 h 1209"/>
              <a:gd name="T66" fmla="*/ 255 w 806"/>
              <a:gd name="T67" fmla="*/ 710 h 1209"/>
              <a:gd name="T68" fmla="*/ 289 w 806"/>
              <a:gd name="T69" fmla="*/ 788 h 1209"/>
              <a:gd name="T70" fmla="*/ 306 w 806"/>
              <a:gd name="T71" fmla="*/ 858 h 1209"/>
              <a:gd name="T72" fmla="*/ 339 w 806"/>
              <a:gd name="T73" fmla="*/ 1001 h 1209"/>
              <a:gd name="T74" fmla="*/ 313 w 806"/>
              <a:gd name="T75" fmla="*/ 1051 h 1209"/>
              <a:gd name="T76" fmla="*/ 292 w 806"/>
              <a:gd name="T77" fmla="*/ 1007 h 1209"/>
              <a:gd name="T78" fmla="*/ 307 w 806"/>
              <a:gd name="T79" fmla="*/ 970 h 1209"/>
              <a:gd name="T80" fmla="*/ 293 w 806"/>
              <a:gd name="T81" fmla="*/ 949 h 1209"/>
              <a:gd name="T82" fmla="*/ 283 w 806"/>
              <a:gd name="T83" fmla="*/ 934 h 1209"/>
              <a:gd name="T84" fmla="*/ 231 w 806"/>
              <a:gd name="T85" fmla="*/ 883 h 1209"/>
              <a:gd name="T86" fmla="*/ 201 w 806"/>
              <a:gd name="T87" fmla="*/ 824 h 1209"/>
              <a:gd name="T88" fmla="*/ 175 w 806"/>
              <a:gd name="T89" fmla="*/ 776 h 1209"/>
              <a:gd name="T90" fmla="*/ 136 w 806"/>
              <a:gd name="T91" fmla="*/ 827 h 1209"/>
              <a:gd name="T92" fmla="*/ 192 w 806"/>
              <a:gd name="T93" fmla="*/ 951 h 1209"/>
              <a:gd name="T94" fmla="*/ 208 w 806"/>
              <a:gd name="T95" fmla="*/ 1024 h 1209"/>
              <a:gd name="T96" fmla="*/ 188 w 806"/>
              <a:gd name="T97" fmla="*/ 1072 h 1209"/>
              <a:gd name="T98" fmla="*/ 128 w 806"/>
              <a:gd name="T99" fmla="*/ 923 h 1209"/>
              <a:gd name="T100" fmla="*/ 98 w 806"/>
              <a:gd name="T101" fmla="*/ 877 h 1209"/>
              <a:gd name="T102" fmla="*/ 109 w 806"/>
              <a:gd name="T103" fmla="*/ 832 h 1209"/>
              <a:gd name="T104" fmla="*/ 70 w 806"/>
              <a:gd name="T105" fmla="*/ 763 h 1209"/>
              <a:gd name="T106" fmla="*/ 90 w 806"/>
              <a:gd name="T107" fmla="*/ 727 h 1209"/>
              <a:gd name="T108" fmla="*/ 112 w 806"/>
              <a:gd name="T109" fmla="*/ 700 h 1209"/>
              <a:gd name="T110" fmla="*/ 151 w 806"/>
              <a:gd name="T111" fmla="*/ 744 h 1209"/>
              <a:gd name="T112" fmla="*/ 166 w 806"/>
              <a:gd name="T113" fmla="*/ 738 h 1209"/>
              <a:gd name="T114" fmla="*/ 221 w 806"/>
              <a:gd name="T115" fmla="*/ 687 h 120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05" h="1209">
                <a:moveTo>
                  <a:pt x="107" y="0"/>
                </a:moveTo>
                <a:cubicBezTo>
                  <a:pt x="104" y="25"/>
                  <a:pt x="104" y="25"/>
                  <a:pt x="104" y="25"/>
                </a:cubicBezTo>
                <a:cubicBezTo>
                  <a:pt x="103" y="39"/>
                  <a:pt x="101" y="53"/>
                  <a:pt x="100" y="57"/>
                </a:cubicBezTo>
                <a:cubicBezTo>
                  <a:pt x="100" y="60"/>
                  <a:pt x="98" y="72"/>
                  <a:pt x="96" y="85"/>
                </a:cubicBezTo>
                <a:cubicBezTo>
                  <a:pt x="95" y="97"/>
                  <a:pt x="93" y="109"/>
                  <a:pt x="92" y="113"/>
                </a:cubicBezTo>
                <a:cubicBezTo>
                  <a:pt x="92" y="116"/>
                  <a:pt x="88" y="142"/>
                  <a:pt x="84" y="170"/>
                </a:cubicBezTo>
                <a:cubicBezTo>
                  <a:pt x="78" y="219"/>
                  <a:pt x="78" y="223"/>
                  <a:pt x="84" y="233"/>
                </a:cubicBezTo>
                <a:cubicBezTo>
                  <a:pt x="91" y="245"/>
                  <a:pt x="91" y="245"/>
                  <a:pt x="80" y="259"/>
                </a:cubicBezTo>
                <a:cubicBezTo>
                  <a:pt x="73" y="267"/>
                  <a:pt x="66" y="276"/>
                  <a:pt x="64" y="280"/>
                </a:cubicBezTo>
                <a:cubicBezTo>
                  <a:pt x="61" y="284"/>
                  <a:pt x="58" y="310"/>
                  <a:pt x="56" y="339"/>
                </a:cubicBezTo>
                <a:cubicBezTo>
                  <a:pt x="55" y="367"/>
                  <a:pt x="53" y="398"/>
                  <a:pt x="52" y="407"/>
                </a:cubicBezTo>
                <a:cubicBezTo>
                  <a:pt x="52" y="415"/>
                  <a:pt x="50" y="439"/>
                  <a:pt x="48" y="459"/>
                </a:cubicBezTo>
                <a:cubicBezTo>
                  <a:pt x="47" y="478"/>
                  <a:pt x="45" y="505"/>
                  <a:pt x="44" y="519"/>
                </a:cubicBezTo>
                <a:cubicBezTo>
                  <a:pt x="40" y="573"/>
                  <a:pt x="38" y="596"/>
                  <a:pt x="36" y="627"/>
                </a:cubicBezTo>
                <a:cubicBezTo>
                  <a:pt x="35" y="644"/>
                  <a:pt x="33" y="668"/>
                  <a:pt x="32" y="679"/>
                </a:cubicBezTo>
                <a:cubicBezTo>
                  <a:pt x="31" y="690"/>
                  <a:pt x="29" y="717"/>
                  <a:pt x="28" y="739"/>
                </a:cubicBezTo>
                <a:cubicBezTo>
                  <a:pt x="27" y="761"/>
                  <a:pt x="25" y="786"/>
                  <a:pt x="24" y="795"/>
                </a:cubicBezTo>
                <a:cubicBezTo>
                  <a:pt x="23" y="803"/>
                  <a:pt x="22" y="829"/>
                  <a:pt x="20" y="853"/>
                </a:cubicBezTo>
                <a:cubicBezTo>
                  <a:pt x="19" y="876"/>
                  <a:pt x="17" y="901"/>
                  <a:pt x="16" y="909"/>
                </a:cubicBezTo>
                <a:cubicBezTo>
                  <a:pt x="15" y="916"/>
                  <a:pt x="14" y="943"/>
                  <a:pt x="12" y="969"/>
                </a:cubicBezTo>
                <a:cubicBezTo>
                  <a:pt x="10" y="994"/>
                  <a:pt x="9" y="1017"/>
                  <a:pt x="8" y="1021"/>
                </a:cubicBezTo>
                <a:cubicBezTo>
                  <a:pt x="6" y="1031"/>
                  <a:pt x="1" y="1122"/>
                  <a:pt x="0" y="1149"/>
                </a:cubicBezTo>
                <a:cubicBezTo>
                  <a:pt x="0" y="1175"/>
                  <a:pt x="0" y="1175"/>
                  <a:pt x="0" y="1175"/>
                </a:cubicBezTo>
                <a:cubicBezTo>
                  <a:pt x="24" y="1177"/>
                  <a:pt x="24" y="1177"/>
                  <a:pt x="24" y="1177"/>
                </a:cubicBezTo>
                <a:cubicBezTo>
                  <a:pt x="63" y="1181"/>
                  <a:pt x="99" y="1185"/>
                  <a:pt x="110" y="1187"/>
                </a:cubicBezTo>
                <a:cubicBezTo>
                  <a:pt x="116" y="1187"/>
                  <a:pt x="130" y="1189"/>
                  <a:pt x="142" y="1190"/>
                </a:cubicBezTo>
                <a:cubicBezTo>
                  <a:pt x="165" y="1193"/>
                  <a:pt x="179" y="1195"/>
                  <a:pt x="214" y="1199"/>
                </a:cubicBezTo>
                <a:cubicBezTo>
                  <a:pt x="226" y="1200"/>
                  <a:pt x="253" y="1203"/>
                  <a:pt x="274" y="1204"/>
                </a:cubicBezTo>
                <a:cubicBezTo>
                  <a:pt x="295" y="1205"/>
                  <a:pt x="330" y="1207"/>
                  <a:pt x="353" y="1208"/>
                </a:cubicBezTo>
                <a:cubicBezTo>
                  <a:pt x="393" y="1209"/>
                  <a:pt x="393" y="1209"/>
                  <a:pt x="393" y="1209"/>
                </a:cubicBezTo>
                <a:cubicBezTo>
                  <a:pt x="396" y="1190"/>
                  <a:pt x="396" y="1190"/>
                  <a:pt x="396" y="1190"/>
                </a:cubicBezTo>
                <a:cubicBezTo>
                  <a:pt x="397" y="1179"/>
                  <a:pt x="399" y="1149"/>
                  <a:pt x="400" y="1123"/>
                </a:cubicBezTo>
                <a:cubicBezTo>
                  <a:pt x="401" y="1096"/>
                  <a:pt x="403" y="1062"/>
                  <a:pt x="404" y="1047"/>
                </a:cubicBezTo>
                <a:cubicBezTo>
                  <a:pt x="405" y="1031"/>
                  <a:pt x="407" y="992"/>
                  <a:pt x="408" y="959"/>
                </a:cubicBezTo>
                <a:cubicBezTo>
                  <a:pt x="413" y="844"/>
                  <a:pt x="414" y="832"/>
                  <a:pt x="423" y="816"/>
                </a:cubicBezTo>
                <a:cubicBezTo>
                  <a:pt x="428" y="808"/>
                  <a:pt x="457" y="776"/>
                  <a:pt x="487" y="744"/>
                </a:cubicBezTo>
                <a:cubicBezTo>
                  <a:pt x="516" y="712"/>
                  <a:pt x="549" y="678"/>
                  <a:pt x="559" y="667"/>
                </a:cubicBezTo>
                <a:cubicBezTo>
                  <a:pt x="568" y="656"/>
                  <a:pt x="578" y="645"/>
                  <a:pt x="580" y="642"/>
                </a:cubicBezTo>
                <a:cubicBezTo>
                  <a:pt x="619" y="599"/>
                  <a:pt x="637" y="578"/>
                  <a:pt x="658" y="553"/>
                </a:cubicBezTo>
                <a:cubicBezTo>
                  <a:pt x="672" y="536"/>
                  <a:pt x="695" y="509"/>
                  <a:pt x="711" y="492"/>
                </a:cubicBezTo>
                <a:cubicBezTo>
                  <a:pt x="726" y="475"/>
                  <a:pt x="744" y="455"/>
                  <a:pt x="752" y="446"/>
                </a:cubicBezTo>
                <a:cubicBezTo>
                  <a:pt x="759" y="438"/>
                  <a:pt x="775" y="421"/>
                  <a:pt x="786" y="409"/>
                </a:cubicBezTo>
                <a:cubicBezTo>
                  <a:pt x="797" y="396"/>
                  <a:pt x="806" y="385"/>
                  <a:pt x="806" y="382"/>
                </a:cubicBezTo>
                <a:cubicBezTo>
                  <a:pt x="806" y="378"/>
                  <a:pt x="785" y="369"/>
                  <a:pt x="767" y="366"/>
                </a:cubicBezTo>
                <a:cubicBezTo>
                  <a:pt x="739" y="362"/>
                  <a:pt x="732" y="359"/>
                  <a:pt x="727" y="352"/>
                </a:cubicBezTo>
                <a:cubicBezTo>
                  <a:pt x="723" y="347"/>
                  <a:pt x="717" y="345"/>
                  <a:pt x="698" y="346"/>
                </a:cubicBezTo>
                <a:cubicBezTo>
                  <a:pt x="685" y="346"/>
                  <a:pt x="673" y="349"/>
                  <a:pt x="671" y="351"/>
                </a:cubicBezTo>
                <a:cubicBezTo>
                  <a:pt x="668" y="356"/>
                  <a:pt x="622" y="362"/>
                  <a:pt x="613" y="358"/>
                </a:cubicBezTo>
                <a:cubicBezTo>
                  <a:pt x="608" y="357"/>
                  <a:pt x="608" y="353"/>
                  <a:pt x="610" y="348"/>
                </a:cubicBezTo>
                <a:cubicBezTo>
                  <a:pt x="613" y="339"/>
                  <a:pt x="612" y="334"/>
                  <a:pt x="601" y="281"/>
                </a:cubicBezTo>
                <a:cubicBezTo>
                  <a:pt x="593" y="242"/>
                  <a:pt x="591" y="231"/>
                  <a:pt x="588" y="209"/>
                </a:cubicBezTo>
                <a:cubicBezTo>
                  <a:pt x="585" y="183"/>
                  <a:pt x="574" y="176"/>
                  <a:pt x="533" y="167"/>
                </a:cubicBezTo>
                <a:cubicBezTo>
                  <a:pt x="506" y="161"/>
                  <a:pt x="497" y="158"/>
                  <a:pt x="493" y="151"/>
                </a:cubicBezTo>
                <a:cubicBezTo>
                  <a:pt x="488" y="142"/>
                  <a:pt x="488" y="110"/>
                  <a:pt x="494" y="68"/>
                </a:cubicBezTo>
                <a:cubicBezTo>
                  <a:pt x="497" y="41"/>
                  <a:pt x="497" y="41"/>
                  <a:pt x="497" y="41"/>
                </a:cubicBezTo>
                <a:cubicBezTo>
                  <a:pt x="475" y="40"/>
                  <a:pt x="475" y="40"/>
                  <a:pt x="475" y="40"/>
                </a:cubicBezTo>
                <a:cubicBezTo>
                  <a:pt x="464" y="40"/>
                  <a:pt x="453" y="39"/>
                  <a:pt x="451" y="39"/>
                </a:cubicBezTo>
                <a:cubicBezTo>
                  <a:pt x="449" y="38"/>
                  <a:pt x="435" y="37"/>
                  <a:pt x="418" y="35"/>
                </a:cubicBezTo>
                <a:cubicBezTo>
                  <a:pt x="402" y="33"/>
                  <a:pt x="385" y="31"/>
                  <a:pt x="382" y="31"/>
                </a:cubicBezTo>
                <a:cubicBezTo>
                  <a:pt x="379" y="30"/>
                  <a:pt x="364" y="28"/>
                  <a:pt x="348" y="27"/>
                </a:cubicBezTo>
                <a:cubicBezTo>
                  <a:pt x="333" y="25"/>
                  <a:pt x="317" y="23"/>
                  <a:pt x="312" y="22"/>
                </a:cubicBezTo>
                <a:cubicBezTo>
                  <a:pt x="308" y="22"/>
                  <a:pt x="293" y="20"/>
                  <a:pt x="280" y="19"/>
                </a:cubicBezTo>
                <a:cubicBezTo>
                  <a:pt x="267" y="17"/>
                  <a:pt x="242" y="15"/>
                  <a:pt x="224" y="13"/>
                </a:cubicBezTo>
                <a:cubicBezTo>
                  <a:pt x="207" y="11"/>
                  <a:pt x="181" y="8"/>
                  <a:pt x="168" y="7"/>
                </a:cubicBezTo>
                <a:cubicBezTo>
                  <a:pt x="155" y="6"/>
                  <a:pt x="136" y="3"/>
                  <a:pt x="126" y="2"/>
                </a:cubicBezTo>
                <a:lnTo>
                  <a:pt x="107" y="0"/>
                </a:lnTo>
                <a:close/>
                <a:moveTo>
                  <a:pt x="221" y="687"/>
                </a:moveTo>
                <a:cubicBezTo>
                  <a:pt x="237" y="688"/>
                  <a:pt x="247" y="695"/>
                  <a:pt x="255" y="710"/>
                </a:cubicBezTo>
                <a:cubicBezTo>
                  <a:pt x="259" y="719"/>
                  <a:pt x="265" y="727"/>
                  <a:pt x="266" y="729"/>
                </a:cubicBezTo>
                <a:cubicBezTo>
                  <a:pt x="274" y="734"/>
                  <a:pt x="292" y="782"/>
                  <a:pt x="289" y="788"/>
                </a:cubicBezTo>
                <a:cubicBezTo>
                  <a:pt x="286" y="791"/>
                  <a:pt x="294" y="813"/>
                  <a:pt x="301" y="828"/>
                </a:cubicBezTo>
                <a:cubicBezTo>
                  <a:pt x="304" y="832"/>
                  <a:pt x="306" y="846"/>
                  <a:pt x="306" y="858"/>
                </a:cubicBezTo>
                <a:cubicBezTo>
                  <a:pt x="305" y="880"/>
                  <a:pt x="318" y="929"/>
                  <a:pt x="331" y="950"/>
                </a:cubicBezTo>
                <a:cubicBezTo>
                  <a:pt x="336" y="959"/>
                  <a:pt x="338" y="973"/>
                  <a:pt x="339" y="1001"/>
                </a:cubicBezTo>
                <a:cubicBezTo>
                  <a:pt x="340" y="1038"/>
                  <a:pt x="340" y="1039"/>
                  <a:pt x="330" y="1040"/>
                </a:cubicBezTo>
                <a:cubicBezTo>
                  <a:pt x="325" y="1041"/>
                  <a:pt x="317" y="1046"/>
                  <a:pt x="313" y="1051"/>
                </a:cubicBezTo>
                <a:cubicBezTo>
                  <a:pt x="304" y="1062"/>
                  <a:pt x="297" y="1063"/>
                  <a:pt x="289" y="1055"/>
                </a:cubicBezTo>
                <a:cubicBezTo>
                  <a:pt x="282" y="1048"/>
                  <a:pt x="284" y="1019"/>
                  <a:pt x="292" y="1007"/>
                </a:cubicBezTo>
                <a:cubicBezTo>
                  <a:pt x="295" y="1002"/>
                  <a:pt x="299" y="993"/>
                  <a:pt x="300" y="987"/>
                </a:cubicBezTo>
                <a:cubicBezTo>
                  <a:pt x="301" y="981"/>
                  <a:pt x="304" y="973"/>
                  <a:pt x="307" y="970"/>
                </a:cubicBezTo>
                <a:cubicBezTo>
                  <a:pt x="315" y="960"/>
                  <a:pt x="314" y="951"/>
                  <a:pt x="306" y="945"/>
                </a:cubicBezTo>
                <a:cubicBezTo>
                  <a:pt x="299" y="941"/>
                  <a:pt x="297" y="942"/>
                  <a:pt x="293" y="949"/>
                </a:cubicBezTo>
                <a:cubicBezTo>
                  <a:pt x="288" y="957"/>
                  <a:pt x="278" y="959"/>
                  <a:pt x="278" y="952"/>
                </a:cubicBezTo>
                <a:cubicBezTo>
                  <a:pt x="278" y="949"/>
                  <a:pt x="280" y="941"/>
                  <a:pt x="283" y="934"/>
                </a:cubicBezTo>
                <a:cubicBezTo>
                  <a:pt x="294" y="905"/>
                  <a:pt x="276" y="879"/>
                  <a:pt x="251" y="888"/>
                </a:cubicBezTo>
                <a:cubicBezTo>
                  <a:pt x="241" y="891"/>
                  <a:pt x="238" y="891"/>
                  <a:pt x="231" y="883"/>
                </a:cubicBezTo>
                <a:cubicBezTo>
                  <a:pt x="227" y="878"/>
                  <a:pt x="220" y="866"/>
                  <a:pt x="217" y="856"/>
                </a:cubicBezTo>
                <a:cubicBezTo>
                  <a:pt x="214" y="845"/>
                  <a:pt x="206" y="831"/>
                  <a:pt x="201" y="824"/>
                </a:cubicBezTo>
                <a:cubicBezTo>
                  <a:pt x="194" y="814"/>
                  <a:pt x="192" y="807"/>
                  <a:pt x="193" y="799"/>
                </a:cubicBezTo>
                <a:cubicBezTo>
                  <a:pt x="194" y="788"/>
                  <a:pt x="193" y="786"/>
                  <a:pt x="175" y="776"/>
                </a:cubicBezTo>
                <a:cubicBezTo>
                  <a:pt x="149" y="763"/>
                  <a:pt x="138" y="767"/>
                  <a:pt x="138" y="790"/>
                </a:cubicBezTo>
                <a:cubicBezTo>
                  <a:pt x="137" y="799"/>
                  <a:pt x="136" y="816"/>
                  <a:pt x="136" y="827"/>
                </a:cubicBezTo>
                <a:cubicBezTo>
                  <a:pt x="132" y="882"/>
                  <a:pt x="132" y="882"/>
                  <a:pt x="149" y="895"/>
                </a:cubicBezTo>
                <a:cubicBezTo>
                  <a:pt x="184" y="922"/>
                  <a:pt x="186" y="926"/>
                  <a:pt x="192" y="951"/>
                </a:cubicBezTo>
                <a:cubicBezTo>
                  <a:pt x="195" y="964"/>
                  <a:pt x="197" y="981"/>
                  <a:pt x="197" y="989"/>
                </a:cubicBezTo>
                <a:cubicBezTo>
                  <a:pt x="197" y="997"/>
                  <a:pt x="202" y="1013"/>
                  <a:pt x="208" y="1024"/>
                </a:cubicBezTo>
                <a:cubicBezTo>
                  <a:pt x="221" y="1050"/>
                  <a:pt x="222" y="1071"/>
                  <a:pt x="209" y="1074"/>
                </a:cubicBezTo>
                <a:cubicBezTo>
                  <a:pt x="196" y="1078"/>
                  <a:pt x="191" y="1077"/>
                  <a:pt x="188" y="1072"/>
                </a:cubicBezTo>
                <a:cubicBezTo>
                  <a:pt x="185" y="1068"/>
                  <a:pt x="174" y="1017"/>
                  <a:pt x="166" y="973"/>
                </a:cubicBezTo>
                <a:cubicBezTo>
                  <a:pt x="162" y="948"/>
                  <a:pt x="156" y="941"/>
                  <a:pt x="128" y="923"/>
                </a:cubicBezTo>
                <a:cubicBezTo>
                  <a:pt x="106" y="908"/>
                  <a:pt x="95" y="897"/>
                  <a:pt x="96" y="890"/>
                </a:cubicBezTo>
                <a:cubicBezTo>
                  <a:pt x="97" y="887"/>
                  <a:pt x="97" y="881"/>
                  <a:pt x="98" y="877"/>
                </a:cubicBezTo>
                <a:cubicBezTo>
                  <a:pt x="98" y="873"/>
                  <a:pt x="101" y="867"/>
                  <a:pt x="104" y="864"/>
                </a:cubicBezTo>
                <a:cubicBezTo>
                  <a:pt x="107" y="860"/>
                  <a:pt x="109" y="849"/>
                  <a:pt x="109" y="832"/>
                </a:cubicBezTo>
                <a:cubicBezTo>
                  <a:pt x="109" y="805"/>
                  <a:pt x="109" y="805"/>
                  <a:pt x="94" y="797"/>
                </a:cubicBezTo>
                <a:cubicBezTo>
                  <a:pt x="76" y="787"/>
                  <a:pt x="70" y="778"/>
                  <a:pt x="70" y="763"/>
                </a:cubicBezTo>
                <a:cubicBezTo>
                  <a:pt x="70" y="755"/>
                  <a:pt x="72" y="753"/>
                  <a:pt x="80" y="753"/>
                </a:cubicBezTo>
                <a:cubicBezTo>
                  <a:pt x="95" y="753"/>
                  <a:pt x="100" y="740"/>
                  <a:pt x="90" y="727"/>
                </a:cubicBezTo>
                <a:cubicBezTo>
                  <a:pt x="86" y="722"/>
                  <a:pt x="82" y="715"/>
                  <a:pt x="82" y="713"/>
                </a:cubicBezTo>
                <a:cubicBezTo>
                  <a:pt x="82" y="708"/>
                  <a:pt x="101" y="699"/>
                  <a:pt x="112" y="700"/>
                </a:cubicBezTo>
                <a:cubicBezTo>
                  <a:pt x="121" y="700"/>
                  <a:pt x="142" y="720"/>
                  <a:pt x="142" y="729"/>
                </a:cubicBezTo>
                <a:cubicBezTo>
                  <a:pt x="142" y="732"/>
                  <a:pt x="146" y="739"/>
                  <a:pt x="151" y="744"/>
                </a:cubicBezTo>
                <a:cubicBezTo>
                  <a:pt x="161" y="752"/>
                  <a:pt x="161" y="752"/>
                  <a:pt x="161" y="752"/>
                </a:cubicBezTo>
                <a:cubicBezTo>
                  <a:pt x="166" y="738"/>
                  <a:pt x="166" y="738"/>
                  <a:pt x="166" y="738"/>
                </a:cubicBezTo>
                <a:cubicBezTo>
                  <a:pt x="175" y="713"/>
                  <a:pt x="191" y="693"/>
                  <a:pt x="204" y="690"/>
                </a:cubicBezTo>
                <a:cubicBezTo>
                  <a:pt x="211" y="688"/>
                  <a:pt x="216" y="687"/>
                  <a:pt x="221" y="687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14"/>
          <p:cNvSpPr/>
          <p:nvPr userDrawn="1">
            <p:custDataLst>
              <p:tags r:id="rId61"/>
            </p:custDataLst>
          </p:nvPr>
        </p:nvSpPr>
        <p:spPr bwMode="grayWhite">
          <a:xfrm>
            <a:off x="6139820" y="1160353"/>
            <a:ext cx="517525" cy="493713"/>
          </a:xfrm>
          <a:custGeom>
            <a:gdLst>
              <a:gd name="T0" fmla="*/ 156 w 360"/>
              <a:gd name="T1" fmla="*/ 337 h 343"/>
              <a:gd name="T2" fmla="*/ 130 w 360"/>
              <a:gd name="T3" fmla="*/ 307 h 343"/>
              <a:gd name="T4" fmla="*/ 116 w 360"/>
              <a:gd name="T5" fmla="*/ 293 h 343"/>
              <a:gd name="T6" fmla="*/ 74 w 360"/>
              <a:gd name="T7" fmla="*/ 184 h 343"/>
              <a:gd name="T8" fmla="*/ 65 w 360"/>
              <a:gd name="T9" fmla="*/ 157 h 343"/>
              <a:gd name="T10" fmla="*/ 15 w 360"/>
              <a:gd name="T11" fmla="*/ 132 h 343"/>
              <a:gd name="T12" fmla="*/ 3 w 360"/>
              <a:gd name="T13" fmla="*/ 132 h 343"/>
              <a:gd name="T14" fmla="*/ 1 w 360"/>
              <a:gd name="T15" fmla="*/ 107 h 343"/>
              <a:gd name="T16" fmla="*/ 1 w 360"/>
              <a:gd name="T17" fmla="*/ 79 h 343"/>
              <a:gd name="T18" fmla="*/ 27 w 360"/>
              <a:gd name="T19" fmla="*/ 75 h 343"/>
              <a:gd name="T20" fmla="*/ 90 w 360"/>
              <a:gd name="T21" fmla="*/ 55 h 343"/>
              <a:gd name="T22" fmla="*/ 132 w 360"/>
              <a:gd name="T23" fmla="*/ 35 h 343"/>
              <a:gd name="T24" fmla="*/ 177 w 360"/>
              <a:gd name="T25" fmla="*/ 33 h 343"/>
              <a:gd name="T26" fmla="*/ 199 w 360"/>
              <a:gd name="T27" fmla="*/ 31 h 343"/>
              <a:gd name="T28" fmla="*/ 262 w 360"/>
              <a:gd name="T29" fmla="*/ 13 h 343"/>
              <a:gd name="T30" fmla="*/ 256 w 360"/>
              <a:gd name="T31" fmla="*/ 28 h 343"/>
              <a:gd name="T32" fmla="*/ 258 w 360"/>
              <a:gd name="T33" fmla="*/ 88 h 343"/>
              <a:gd name="T34" fmla="*/ 268 w 360"/>
              <a:gd name="T35" fmla="*/ 111 h 343"/>
              <a:gd name="T36" fmla="*/ 289 w 360"/>
              <a:gd name="T37" fmla="*/ 142 h 343"/>
              <a:gd name="T38" fmla="*/ 332 w 360"/>
              <a:gd name="T39" fmla="*/ 160 h 343"/>
              <a:gd name="T40" fmla="*/ 359 w 360"/>
              <a:gd name="T41" fmla="*/ 162 h 343"/>
              <a:gd name="T42" fmla="*/ 341 w 360"/>
              <a:gd name="T43" fmla="*/ 185 h 343"/>
              <a:gd name="T44" fmla="*/ 311 w 360"/>
              <a:gd name="T45" fmla="*/ 227 h 343"/>
              <a:gd name="T46" fmla="*/ 232 w 360"/>
              <a:gd name="T47" fmla="*/ 308 h 343"/>
              <a:gd name="T48" fmla="*/ 215 w 360"/>
              <a:gd name="T49" fmla="*/ 319 h 343"/>
              <a:gd name="T50" fmla="*/ 156 w 360"/>
              <a:gd name="T51" fmla="*/ 337 h 343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60" h="343">
                <a:moveTo>
                  <a:pt x="156" y="337"/>
                </a:moveTo>
                <a:cubicBezTo>
                  <a:pt x="147" y="334"/>
                  <a:pt x="136" y="322"/>
                  <a:pt x="130" y="307"/>
                </a:cubicBezTo>
                <a:cubicBezTo>
                  <a:pt x="127" y="300"/>
                  <a:pt x="121" y="294"/>
                  <a:pt x="116" y="293"/>
                </a:cubicBezTo>
                <a:cubicBezTo>
                  <a:pt x="100" y="289"/>
                  <a:pt x="74" y="222"/>
                  <a:pt x="74" y="184"/>
                </a:cubicBezTo>
                <a:cubicBezTo>
                  <a:pt x="74" y="170"/>
                  <a:pt x="72" y="163"/>
                  <a:pt x="65" y="157"/>
                </a:cubicBezTo>
                <a:cubicBezTo>
                  <a:pt x="49" y="142"/>
                  <a:pt x="29" y="132"/>
                  <a:pt x="15" y="132"/>
                </a:cubicBezTo>
                <a:cubicBezTo>
                  <a:pt x="3" y="132"/>
                  <a:pt x="3" y="132"/>
                  <a:pt x="3" y="132"/>
                </a:cubicBezTo>
                <a:cubicBezTo>
                  <a:pt x="1" y="107"/>
                  <a:pt x="1" y="107"/>
                  <a:pt x="1" y="107"/>
                </a:cubicBezTo>
                <a:cubicBezTo>
                  <a:pt x="0" y="93"/>
                  <a:pt x="0" y="80"/>
                  <a:pt x="1" y="79"/>
                </a:cubicBezTo>
                <a:cubicBezTo>
                  <a:pt x="2" y="77"/>
                  <a:pt x="14" y="75"/>
                  <a:pt x="27" y="75"/>
                </a:cubicBezTo>
                <a:cubicBezTo>
                  <a:pt x="57" y="75"/>
                  <a:pt x="73" y="69"/>
                  <a:pt x="90" y="55"/>
                </a:cubicBezTo>
                <a:cubicBezTo>
                  <a:pt x="97" y="48"/>
                  <a:pt x="114" y="40"/>
                  <a:pt x="132" y="35"/>
                </a:cubicBezTo>
                <a:cubicBezTo>
                  <a:pt x="159" y="28"/>
                  <a:pt x="163" y="28"/>
                  <a:pt x="177" y="33"/>
                </a:cubicBezTo>
                <a:cubicBezTo>
                  <a:pt x="191" y="39"/>
                  <a:pt x="192" y="39"/>
                  <a:pt x="199" y="31"/>
                </a:cubicBezTo>
                <a:cubicBezTo>
                  <a:pt x="216" y="14"/>
                  <a:pt x="262" y="0"/>
                  <a:pt x="262" y="13"/>
                </a:cubicBezTo>
                <a:cubicBezTo>
                  <a:pt x="262" y="15"/>
                  <a:pt x="259" y="22"/>
                  <a:pt x="256" y="28"/>
                </a:cubicBezTo>
                <a:cubicBezTo>
                  <a:pt x="248" y="42"/>
                  <a:pt x="248" y="76"/>
                  <a:pt x="258" y="88"/>
                </a:cubicBezTo>
                <a:cubicBezTo>
                  <a:pt x="262" y="93"/>
                  <a:pt x="266" y="103"/>
                  <a:pt x="268" y="111"/>
                </a:cubicBezTo>
                <a:cubicBezTo>
                  <a:pt x="270" y="119"/>
                  <a:pt x="278" y="131"/>
                  <a:pt x="289" y="142"/>
                </a:cubicBezTo>
                <a:cubicBezTo>
                  <a:pt x="307" y="159"/>
                  <a:pt x="309" y="160"/>
                  <a:pt x="332" y="160"/>
                </a:cubicBezTo>
                <a:cubicBezTo>
                  <a:pt x="346" y="160"/>
                  <a:pt x="358" y="161"/>
                  <a:pt x="359" y="162"/>
                </a:cubicBezTo>
                <a:cubicBezTo>
                  <a:pt x="360" y="163"/>
                  <a:pt x="352" y="173"/>
                  <a:pt x="341" y="185"/>
                </a:cubicBezTo>
                <a:cubicBezTo>
                  <a:pt x="330" y="196"/>
                  <a:pt x="317" y="215"/>
                  <a:pt x="311" y="227"/>
                </a:cubicBezTo>
                <a:cubicBezTo>
                  <a:pt x="297" y="257"/>
                  <a:pt x="247" y="308"/>
                  <a:pt x="232" y="308"/>
                </a:cubicBezTo>
                <a:cubicBezTo>
                  <a:pt x="223" y="308"/>
                  <a:pt x="219" y="310"/>
                  <a:pt x="215" y="319"/>
                </a:cubicBezTo>
                <a:cubicBezTo>
                  <a:pt x="208" y="335"/>
                  <a:pt x="182" y="343"/>
                  <a:pt x="156" y="337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Freeform 15"/>
          <p:cNvSpPr/>
          <p:nvPr userDrawn="1">
            <p:custDataLst>
              <p:tags r:id="rId62"/>
            </p:custDataLst>
          </p:nvPr>
        </p:nvSpPr>
        <p:spPr bwMode="grayWhite">
          <a:xfrm>
            <a:off x="6990720" y="328502"/>
            <a:ext cx="668338" cy="698500"/>
          </a:xfrm>
          <a:custGeom>
            <a:gdLst>
              <a:gd name="T0" fmla="*/ 11 w 464"/>
              <a:gd name="T1" fmla="*/ 477 h 487"/>
              <a:gd name="T2" fmla="*/ 11 w 464"/>
              <a:gd name="T3" fmla="*/ 430 h 487"/>
              <a:gd name="T4" fmla="*/ 14 w 464"/>
              <a:gd name="T5" fmla="*/ 390 h 487"/>
              <a:gd name="T6" fmla="*/ 15 w 464"/>
              <a:gd name="T7" fmla="*/ 361 h 487"/>
              <a:gd name="T8" fmla="*/ 21 w 464"/>
              <a:gd name="T9" fmla="*/ 312 h 487"/>
              <a:gd name="T10" fmla="*/ 24 w 464"/>
              <a:gd name="T11" fmla="*/ 126 h 487"/>
              <a:gd name="T12" fmla="*/ 28 w 464"/>
              <a:gd name="T13" fmla="*/ 86 h 487"/>
              <a:gd name="T14" fmla="*/ 68 w 464"/>
              <a:gd name="T15" fmla="*/ 13 h 487"/>
              <a:gd name="T16" fmla="*/ 93 w 464"/>
              <a:gd name="T17" fmla="*/ 4 h 487"/>
              <a:gd name="T18" fmla="*/ 109 w 464"/>
              <a:gd name="T19" fmla="*/ 79 h 487"/>
              <a:gd name="T20" fmla="*/ 105 w 464"/>
              <a:gd name="T21" fmla="*/ 130 h 487"/>
              <a:gd name="T22" fmla="*/ 100 w 464"/>
              <a:gd name="T23" fmla="*/ 158 h 487"/>
              <a:gd name="T24" fmla="*/ 98 w 464"/>
              <a:gd name="T25" fmla="*/ 182 h 487"/>
              <a:gd name="T26" fmla="*/ 108 w 464"/>
              <a:gd name="T27" fmla="*/ 170 h 487"/>
              <a:gd name="T28" fmla="*/ 118 w 464"/>
              <a:gd name="T29" fmla="*/ 155 h 487"/>
              <a:gd name="T30" fmla="*/ 148 w 464"/>
              <a:gd name="T31" fmla="*/ 152 h 487"/>
              <a:gd name="T32" fmla="*/ 162 w 464"/>
              <a:gd name="T33" fmla="*/ 179 h 487"/>
              <a:gd name="T34" fmla="*/ 162 w 464"/>
              <a:gd name="T35" fmla="*/ 192 h 487"/>
              <a:gd name="T36" fmla="*/ 182 w 464"/>
              <a:gd name="T37" fmla="*/ 192 h 487"/>
              <a:gd name="T38" fmla="*/ 204 w 464"/>
              <a:gd name="T39" fmla="*/ 188 h 487"/>
              <a:gd name="T40" fmla="*/ 225 w 464"/>
              <a:gd name="T41" fmla="*/ 179 h 487"/>
              <a:gd name="T42" fmla="*/ 264 w 464"/>
              <a:gd name="T43" fmla="*/ 165 h 487"/>
              <a:gd name="T44" fmla="*/ 319 w 464"/>
              <a:gd name="T45" fmla="*/ 164 h 487"/>
              <a:gd name="T46" fmla="*/ 325 w 464"/>
              <a:gd name="T47" fmla="*/ 200 h 487"/>
              <a:gd name="T48" fmla="*/ 328 w 464"/>
              <a:gd name="T49" fmla="*/ 215 h 487"/>
              <a:gd name="T50" fmla="*/ 356 w 464"/>
              <a:gd name="T51" fmla="*/ 220 h 487"/>
              <a:gd name="T52" fmla="*/ 386 w 464"/>
              <a:gd name="T53" fmla="*/ 231 h 487"/>
              <a:gd name="T54" fmla="*/ 365 w 464"/>
              <a:gd name="T55" fmla="*/ 269 h 487"/>
              <a:gd name="T56" fmla="*/ 362 w 464"/>
              <a:gd name="T57" fmla="*/ 276 h 487"/>
              <a:gd name="T58" fmla="*/ 366 w 464"/>
              <a:gd name="T59" fmla="*/ 289 h 487"/>
              <a:gd name="T60" fmla="*/ 369 w 464"/>
              <a:gd name="T61" fmla="*/ 309 h 487"/>
              <a:gd name="T62" fmla="*/ 378 w 464"/>
              <a:gd name="T63" fmla="*/ 311 h 487"/>
              <a:gd name="T64" fmla="*/ 404 w 464"/>
              <a:gd name="T65" fmla="*/ 280 h 487"/>
              <a:gd name="T66" fmla="*/ 415 w 464"/>
              <a:gd name="T67" fmla="*/ 296 h 487"/>
              <a:gd name="T68" fmla="*/ 442 w 464"/>
              <a:gd name="T69" fmla="*/ 303 h 487"/>
              <a:gd name="T70" fmla="*/ 457 w 464"/>
              <a:gd name="T71" fmla="*/ 297 h 487"/>
              <a:gd name="T72" fmla="*/ 461 w 464"/>
              <a:gd name="T73" fmla="*/ 327 h 487"/>
              <a:gd name="T74" fmla="*/ 463 w 464"/>
              <a:gd name="T75" fmla="*/ 368 h 487"/>
              <a:gd name="T76" fmla="*/ 431 w 464"/>
              <a:gd name="T77" fmla="*/ 415 h 487"/>
              <a:gd name="T78" fmla="*/ 413 w 464"/>
              <a:gd name="T79" fmla="*/ 406 h 487"/>
              <a:gd name="T80" fmla="*/ 398 w 464"/>
              <a:gd name="T81" fmla="*/ 406 h 487"/>
              <a:gd name="T82" fmla="*/ 374 w 464"/>
              <a:gd name="T83" fmla="*/ 371 h 487"/>
              <a:gd name="T84" fmla="*/ 358 w 464"/>
              <a:gd name="T85" fmla="*/ 328 h 487"/>
              <a:gd name="T86" fmla="*/ 354 w 464"/>
              <a:gd name="T87" fmla="*/ 342 h 487"/>
              <a:gd name="T88" fmla="*/ 338 w 464"/>
              <a:gd name="T89" fmla="*/ 372 h 487"/>
              <a:gd name="T90" fmla="*/ 319 w 464"/>
              <a:gd name="T91" fmla="*/ 416 h 487"/>
              <a:gd name="T92" fmla="*/ 272 w 464"/>
              <a:gd name="T93" fmla="*/ 466 h 487"/>
              <a:gd name="T94" fmla="*/ 264 w 464"/>
              <a:gd name="T95" fmla="*/ 440 h 487"/>
              <a:gd name="T96" fmla="*/ 278 w 464"/>
              <a:gd name="T97" fmla="*/ 411 h 487"/>
              <a:gd name="T98" fmla="*/ 270 w 464"/>
              <a:gd name="T99" fmla="*/ 400 h 487"/>
              <a:gd name="T100" fmla="*/ 232 w 464"/>
              <a:gd name="T101" fmla="*/ 408 h 487"/>
              <a:gd name="T102" fmla="*/ 180 w 464"/>
              <a:gd name="T103" fmla="*/ 431 h 487"/>
              <a:gd name="T104" fmla="*/ 147 w 464"/>
              <a:gd name="T105" fmla="*/ 446 h 487"/>
              <a:gd name="T106" fmla="*/ 122 w 464"/>
              <a:gd name="T107" fmla="*/ 450 h 487"/>
              <a:gd name="T108" fmla="*/ 68 w 464"/>
              <a:gd name="T109" fmla="*/ 468 h 487"/>
              <a:gd name="T110" fmla="*/ 24 w 464"/>
              <a:gd name="T111" fmla="*/ 486 h 487"/>
              <a:gd name="T112" fmla="*/ 11 w 464"/>
              <a:gd name="T113" fmla="*/ 477 h 48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63" h="487">
                <a:moveTo>
                  <a:pt x="11" y="477"/>
                </a:moveTo>
                <a:cubicBezTo>
                  <a:pt x="0" y="463"/>
                  <a:pt x="0" y="446"/>
                  <a:pt x="11" y="430"/>
                </a:cubicBezTo>
                <a:cubicBezTo>
                  <a:pt x="24" y="413"/>
                  <a:pt x="25" y="393"/>
                  <a:pt x="14" y="390"/>
                </a:cubicBezTo>
                <a:cubicBezTo>
                  <a:pt x="4" y="386"/>
                  <a:pt x="4" y="378"/>
                  <a:pt x="15" y="361"/>
                </a:cubicBezTo>
                <a:cubicBezTo>
                  <a:pt x="22" y="348"/>
                  <a:pt x="23" y="343"/>
                  <a:pt x="21" y="312"/>
                </a:cubicBezTo>
                <a:cubicBezTo>
                  <a:pt x="16" y="256"/>
                  <a:pt x="18" y="191"/>
                  <a:pt x="24" y="126"/>
                </a:cubicBezTo>
                <a:cubicBezTo>
                  <a:pt x="25" y="121"/>
                  <a:pt x="26" y="103"/>
                  <a:pt x="28" y="86"/>
                </a:cubicBezTo>
                <a:cubicBezTo>
                  <a:pt x="32" y="49"/>
                  <a:pt x="39" y="35"/>
                  <a:pt x="68" y="13"/>
                </a:cubicBezTo>
                <a:cubicBezTo>
                  <a:pt x="83" y="1"/>
                  <a:pt x="88" y="0"/>
                  <a:pt x="93" y="4"/>
                </a:cubicBezTo>
                <a:cubicBezTo>
                  <a:pt x="108" y="16"/>
                  <a:pt x="111" y="31"/>
                  <a:pt x="109" y="79"/>
                </a:cubicBezTo>
                <a:cubicBezTo>
                  <a:pt x="108" y="105"/>
                  <a:pt x="106" y="128"/>
                  <a:pt x="105" y="130"/>
                </a:cubicBezTo>
                <a:cubicBezTo>
                  <a:pt x="104" y="132"/>
                  <a:pt x="102" y="145"/>
                  <a:pt x="100" y="158"/>
                </a:cubicBezTo>
                <a:cubicBezTo>
                  <a:pt x="98" y="182"/>
                  <a:pt x="98" y="182"/>
                  <a:pt x="98" y="182"/>
                </a:cubicBezTo>
                <a:cubicBezTo>
                  <a:pt x="108" y="170"/>
                  <a:pt x="108" y="170"/>
                  <a:pt x="108" y="170"/>
                </a:cubicBezTo>
                <a:cubicBezTo>
                  <a:pt x="113" y="163"/>
                  <a:pt x="118" y="156"/>
                  <a:pt x="118" y="155"/>
                </a:cubicBezTo>
                <a:cubicBezTo>
                  <a:pt x="118" y="149"/>
                  <a:pt x="135" y="147"/>
                  <a:pt x="148" y="152"/>
                </a:cubicBezTo>
                <a:cubicBezTo>
                  <a:pt x="163" y="157"/>
                  <a:pt x="163" y="158"/>
                  <a:pt x="162" y="179"/>
                </a:cubicBezTo>
                <a:cubicBezTo>
                  <a:pt x="162" y="192"/>
                  <a:pt x="162" y="192"/>
                  <a:pt x="162" y="192"/>
                </a:cubicBezTo>
                <a:cubicBezTo>
                  <a:pt x="182" y="192"/>
                  <a:pt x="182" y="192"/>
                  <a:pt x="182" y="192"/>
                </a:cubicBezTo>
                <a:cubicBezTo>
                  <a:pt x="193" y="192"/>
                  <a:pt x="203" y="190"/>
                  <a:pt x="204" y="188"/>
                </a:cubicBezTo>
                <a:cubicBezTo>
                  <a:pt x="205" y="186"/>
                  <a:pt x="215" y="182"/>
                  <a:pt x="225" y="179"/>
                </a:cubicBezTo>
                <a:cubicBezTo>
                  <a:pt x="236" y="176"/>
                  <a:pt x="253" y="170"/>
                  <a:pt x="264" y="165"/>
                </a:cubicBezTo>
                <a:cubicBezTo>
                  <a:pt x="284" y="156"/>
                  <a:pt x="302" y="155"/>
                  <a:pt x="319" y="164"/>
                </a:cubicBezTo>
                <a:cubicBezTo>
                  <a:pt x="327" y="168"/>
                  <a:pt x="331" y="190"/>
                  <a:pt x="325" y="200"/>
                </a:cubicBezTo>
                <a:cubicBezTo>
                  <a:pt x="321" y="206"/>
                  <a:pt x="322" y="209"/>
                  <a:pt x="328" y="215"/>
                </a:cubicBezTo>
                <a:cubicBezTo>
                  <a:pt x="335" y="222"/>
                  <a:pt x="339" y="223"/>
                  <a:pt x="356" y="220"/>
                </a:cubicBezTo>
                <a:cubicBezTo>
                  <a:pt x="382" y="216"/>
                  <a:pt x="386" y="218"/>
                  <a:pt x="386" y="231"/>
                </a:cubicBezTo>
                <a:cubicBezTo>
                  <a:pt x="386" y="242"/>
                  <a:pt x="378" y="257"/>
                  <a:pt x="365" y="269"/>
                </a:cubicBezTo>
                <a:cubicBezTo>
                  <a:pt x="360" y="272"/>
                  <a:pt x="359" y="276"/>
                  <a:pt x="362" y="276"/>
                </a:cubicBezTo>
                <a:cubicBezTo>
                  <a:pt x="364" y="276"/>
                  <a:pt x="366" y="282"/>
                  <a:pt x="366" y="289"/>
                </a:cubicBezTo>
                <a:cubicBezTo>
                  <a:pt x="366" y="297"/>
                  <a:pt x="367" y="306"/>
                  <a:pt x="369" y="309"/>
                </a:cubicBezTo>
                <a:cubicBezTo>
                  <a:pt x="371" y="317"/>
                  <a:pt x="378" y="318"/>
                  <a:pt x="378" y="311"/>
                </a:cubicBezTo>
                <a:cubicBezTo>
                  <a:pt x="378" y="304"/>
                  <a:pt x="398" y="280"/>
                  <a:pt x="404" y="280"/>
                </a:cubicBezTo>
                <a:cubicBezTo>
                  <a:pt x="407" y="280"/>
                  <a:pt x="412" y="287"/>
                  <a:pt x="415" y="296"/>
                </a:cubicBezTo>
                <a:cubicBezTo>
                  <a:pt x="420" y="314"/>
                  <a:pt x="426" y="315"/>
                  <a:pt x="442" y="303"/>
                </a:cubicBezTo>
                <a:cubicBezTo>
                  <a:pt x="449" y="298"/>
                  <a:pt x="455" y="296"/>
                  <a:pt x="457" y="297"/>
                </a:cubicBezTo>
                <a:cubicBezTo>
                  <a:pt x="459" y="299"/>
                  <a:pt x="461" y="312"/>
                  <a:pt x="461" y="327"/>
                </a:cubicBezTo>
                <a:cubicBezTo>
                  <a:pt x="462" y="342"/>
                  <a:pt x="462" y="360"/>
                  <a:pt x="463" y="368"/>
                </a:cubicBezTo>
                <a:cubicBezTo>
                  <a:pt x="464" y="390"/>
                  <a:pt x="447" y="413"/>
                  <a:pt x="431" y="415"/>
                </a:cubicBezTo>
                <a:cubicBezTo>
                  <a:pt x="421" y="415"/>
                  <a:pt x="417" y="414"/>
                  <a:pt x="413" y="406"/>
                </a:cubicBezTo>
                <a:cubicBezTo>
                  <a:pt x="408" y="393"/>
                  <a:pt x="405" y="393"/>
                  <a:pt x="398" y="406"/>
                </a:cubicBezTo>
                <a:cubicBezTo>
                  <a:pt x="387" y="426"/>
                  <a:pt x="378" y="413"/>
                  <a:pt x="374" y="371"/>
                </a:cubicBezTo>
                <a:cubicBezTo>
                  <a:pt x="370" y="340"/>
                  <a:pt x="366" y="328"/>
                  <a:pt x="358" y="328"/>
                </a:cubicBezTo>
                <a:cubicBezTo>
                  <a:pt x="356" y="328"/>
                  <a:pt x="354" y="334"/>
                  <a:pt x="354" y="342"/>
                </a:cubicBezTo>
                <a:cubicBezTo>
                  <a:pt x="354" y="354"/>
                  <a:pt x="351" y="360"/>
                  <a:pt x="338" y="372"/>
                </a:cubicBezTo>
                <a:cubicBezTo>
                  <a:pt x="324" y="385"/>
                  <a:pt x="322" y="389"/>
                  <a:pt x="319" y="416"/>
                </a:cubicBezTo>
                <a:cubicBezTo>
                  <a:pt x="313" y="455"/>
                  <a:pt x="304" y="465"/>
                  <a:pt x="272" y="466"/>
                </a:cubicBezTo>
                <a:cubicBezTo>
                  <a:pt x="245" y="466"/>
                  <a:pt x="243" y="460"/>
                  <a:pt x="264" y="440"/>
                </a:cubicBezTo>
                <a:cubicBezTo>
                  <a:pt x="276" y="429"/>
                  <a:pt x="278" y="424"/>
                  <a:pt x="278" y="411"/>
                </a:cubicBezTo>
                <a:cubicBezTo>
                  <a:pt x="278" y="396"/>
                  <a:pt x="278" y="396"/>
                  <a:pt x="270" y="400"/>
                </a:cubicBezTo>
                <a:cubicBezTo>
                  <a:pt x="254" y="408"/>
                  <a:pt x="237" y="412"/>
                  <a:pt x="232" y="408"/>
                </a:cubicBezTo>
                <a:cubicBezTo>
                  <a:pt x="227" y="404"/>
                  <a:pt x="221" y="407"/>
                  <a:pt x="180" y="431"/>
                </a:cubicBezTo>
                <a:cubicBezTo>
                  <a:pt x="168" y="438"/>
                  <a:pt x="153" y="445"/>
                  <a:pt x="147" y="446"/>
                </a:cubicBezTo>
                <a:cubicBezTo>
                  <a:pt x="141" y="447"/>
                  <a:pt x="130" y="449"/>
                  <a:pt x="122" y="450"/>
                </a:cubicBezTo>
                <a:cubicBezTo>
                  <a:pt x="115" y="451"/>
                  <a:pt x="91" y="459"/>
                  <a:pt x="68" y="468"/>
                </a:cubicBezTo>
                <a:cubicBezTo>
                  <a:pt x="46" y="477"/>
                  <a:pt x="26" y="485"/>
                  <a:pt x="24" y="486"/>
                </a:cubicBezTo>
                <a:cubicBezTo>
                  <a:pt x="21" y="487"/>
                  <a:pt x="15" y="483"/>
                  <a:pt x="11" y="477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Freeform 16"/>
          <p:cNvSpPr/>
          <p:nvPr userDrawn="1">
            <p:custDataLst>
              <p:tags r:id="rId63"/>
            </p:custDataLst>
          </p:nvPr>
        </p:nvSpPr>
        <p:spPr bwMode="grayWhite">
          <a:xfrm>
            <a:off x="5922332" y="-682736"/>
            <a:ext cx="1181100" cy="1284288"/>
          </a:xfrm>
          <a:custGeom>
            <a:gdLst>
              <a:gd name="T0" fmla="*/ 240 w 821"/>
              <a:gd name="T1" fmla="*/ 890 h 895"/>
              <a:gd name="T2" fmla="*/ 186 w 821"/>
              <a:gd name="T3" fmla="*/ 876 h 895"/>
              <a:gd name="T4" fmla="*/ 145 w 821"/>
              <a:gd name="T5" fmla="*/ 829 h 895"/>
              <a:gd name="T6" fmla="*/ 120 w 821"/>
              <a:gd name="T7" fmla="*/ 820 h 895"/>
              <a:gd name="T8" fmla="*/ 81 w 821"/>
              <a:gd name="T9" fmla="*/ 810 h 895"/>
              <a:gd name="T10" fmla="*/ 64 w 821"/>
              <a:gd name="T11" fmla="*/ 754 h 895"/>
              <a:gd name="T12" fmla="*/ 21 w 821"/>
              <a:gd name="T13" fmla="*/ 668 h 895"/>
              <a:gd name="T14" fmla="*/ 44 w 821"/>
              <a:gd name="T15" fmla="*/ 624 h 895"/>
              <a:gd name="T16" fmla="*/ 78 w 821"/>
              <a:gd name="T17" fmla="*/ 600 h 895"/>
              <a:gd name="T18" fmla="*/ 143 w 821"/>
              <a:gd name="T19" fmla="*/ 603 h 895"/>
              <a:gd name="T20" fmla="*/ 198 w 821"/>
              <a:gd name="T21" fmla="*/ 596 h 895"/>
              <a:gd name="T22" fmla="*/ 201 w 821"/>
              <a:gd name="T23" fmla="*/ 625 h 895"/>
              <a:gd name="T24" fmla="*/ 153 w 821"/>
              <a:gd name="T25" fmla="*/ 670 h 895"/>
              <a:gd name="T26" fmla="*/ 190 w 821"/>
              <a:gd name="T27" fmla="*/ 688 h 895"/>
              <a:gd name="T28" fmla="*/ 276 w 821"/>
              <a:gd name="T29" fmla="*/ 653 h 895"/>
              <a:gd name="T30" fmla="*/ 266 w 821"/>
              <a:gd name="T31" fmla="*/ 615 h 895"/>
              <a:gd name="T32" fmla="*/ 229 w 821"/>
              <a:gd name="T33" fmla="*/ 581 h 895"/>
              <a:gd name="T34" fmla="*/ 220 w 821"/>
              <a:gd name="T35" fmla="*/ 500 h 895"/>
              <a:gd name="T36" fmla="*/ 180 w 821"/>
              <a:gd name="T37" fmla="*/ 431 h 895"/>
              <a:gd name="T38" fmla="*/ 157 w 821"/>
              <a:gd name="T39" fmla="*/ 360 h 895"/>
              <a:gd name="T40" fmla="*/ 129 w 821"/>
              <a:gd name="T41" fmla="*/ 258 h 895"/>
              <a:gd name="T42" fmla="*/ 99 w 821"/>
              <a:gd name="T43" fmla="*/ 213 h 895"/>
              <a:gd name="T44" fmla="*/ 103 w 821"/>
              <a:gd name="T45" fmla="*/ 160 h 895"/>
              <a:gd name="T46" fmla="*/ 54 w 821"/>
              <a:gd name="T47" fmla="*/ 146 h 895"/>
              <a:gd name="T48" fmla="*/ 35 w 821"/>
              <a:gd name="T49" fmla="*/ 84 h 895"/>
              <a:gd name="T50" fmla="*/ 3 w 821"/>
              <a:gd name="T51" fmla="*/ 5 h 895"/>
              <a:gd name="T52" fmla="*/ 94 w 821"/>
              <a:gd name="T53" fmla="*/ 88 h 895"/>
              <a:gd name="T54" fmla="*/ 131 w 821"/>
              <a:gd name="T55" fmla="*/ 119 h 895"/>
              <a:gd name="T56" fmla="*/ 168 w 821"/>
              <a:gd name="T57" fmla="*/ 168 h 895"/>
              <a:gd name="T58" fmla="*/ 209 w 821"/>
              <a:gd name="T59" fmla="*/ 197 h 895"/>
              <a:gd name="T60" fmla="*/ 245 w 821"/>
              <a:gd name="T61" fmla="*/ 249 h 895"/>
              <a:gd name="T62" fmla="*/ 291 w 821"/>
              <a:gd name="T63" fmla="*/ 283 h 895"/>
              <a:gd name="T64" fmla="*/ 291 w 821"/>
              <a:gd name="T65" fmla="*/ 340 h 895"/>
              <a:gd name="T66" fmla="*/ 344 w 821"/>
              <a:gd name="T67" fmla="*/ 385 h 895"/>
              <a:gd name="T68" fmla="*/ 417 w 821"/>
              <a:gd name="T69" fmla="*/ 416 h 895"/>
              <a:gd name="T70" fmla="*/ 468 w 821"/>
              <a:gd name="T71" fmla="*/ 434 h 895"/>
              <a:gd name="T72" fmla="*/ 556 w 821"/>
              <a:gd name="T73" fmla="*/ 433 h 895"/>
              <a:gd name="T74" fmla="*/ 622 w 821"/>
              <a:gd name="T75" fmla="*/ 448 h 895"/>
              <a:gd name="T76" fmla="*/ 576 w 821"/>
              <a:gd name="T77" fmla="*/ 504 h 895"/>
              <a:gd name="T78" fmla="*/ 512 w 821"/>
              <a:gd name="T79" fmla="*/ 574 h 895"/>
              <a:gd name="T80" fmla="*/ 547 w 821"/>
              <a:gd name="T81" fmla="*/ 567 h 895"/>
              <a:gd name="T82" fmla="*/ 626 w 821"/>
              <a:gd name="T83" fmla="*/ 488 h 895"/>
              <a:gd name="T84" fmla="*/ 669 w 821"/>
              <a:gd name="T85" fmla="*/ 511 h 895"/>
              <a:gd name="T86" fmla="*/ 751 w 821"/>
              <a:gd name="T87" fmla="*/ 536 h 895"/>
              <a:gd name="T88" fmla="*/ 773 w 821"/>
              <a:gd name="T89" fmla="*/ 561 h 895"/>
              <a:gd name="T90" fmla="*/ 821 w 821"/>
              <a:gd name="T91" fmla="*/ 668 h 895"/>
              <a:gd name="T92" fmla="*/ 768 w 821"/>
              <a:gd name="T93" fmla="*/ 743 h 895"/>
              <a:gd name="T94" fmla="*/ 731 w 821"/>
              <a:gd name="T95" fmla="*/ 699 h 895"/>
              <a:gd name="T96" fmla="*/ 678 w 821"/>
              <a:gd name="T97" fmla="*/ 715 h 895"/>
              <a:gd name="T98" fmla="*/ 555 w 821"/>
              <a:gd name="T99" fmla="*/ 759 h 895"/>
              <a:gd name="T100" fmla="*/ 355 w 821"/>
              <a:gd name="T101" fmla="*/ 831 h 895"/>
              <a:gd name="T102" fmla="*/ 290 w 821"/>
              <a:gd name="T103" fmla="*/ 815 h 895"/>
              <a:gd name="T104" fmla="*/ 279 w 821"/>
              <a:gd name="T105" fmla="*/ 891 h 895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21" h="895">
                <a:moveTo>
                  <a:pt x="256" y="894"/>
                </a:moveTo>
                <a:cubicBezTo>
                  <a:pt x="256" y="893"/>
                  <a:pt x="248" y="891"/>
                  <a:pt x="240" y="890"/>
                </a:cubicBezTo>
                <a:cubicBezTo>
                  <a:pt x="232" y="889"/>
                  <a:pt x="221" y="885"/>
                  <a:pt x="217" y="881"/>
                </a:cubicBezTo>
                <a:cubicBezTo>
                  <a:pt x="211" y="876"/>
                  <a:pt x="204" y="875"/>
                  <a:pt x="186" y="876"/>
                </a:cubicBezTo>
                <a:cubicBezTo>
                  <a:pt x="157" y="879"/>
                  <a:pt x="154" y="878"/>
                  <a:pt x="151" y="862"/>
                </a:cubicBezTo>
                <a:cubicBezTo>
                  <a:pt x="146" y="837"/>
                  <a:pt x="146" y="833"/>
                  <a:pt x="145" y="829"/>
                </a:cubicBezTo>
                <a:cubicBezTo>
                  <a:pt x="145" y="826"/>
                  <a:pt x="142" y="821"/>
                  <a:pt x="139" y="818"/>
                </a:cubicBezTo>
                <a:cubicBezTo>
                  <a:pt x="133" y="812"/>
                  <a:pt x="132" y="813"/>
                  <a:pt x="120" y="820"/>
                </a:cubicBezTo>
                <a:cubicBezTo>
                  <a:pt x="113" y="824"/>
                  <a:pt x="103" y="828"/>
                  <a:pt x="99" y="828"/>
                </a:cubicBezTo>
                <a:cubicBezTo>
                  <a:pt x="89" y="828"/>
                  <a:pt x="75" y="814"/>
                  <a:pt x="81" y="810"/>
                </a:cubicBezTo>
                <a:cubicBezTo>
                  <a:pt x="85" y="807"/>
                  <a:pt x="87" y="783"/>
                  <a:pt x="83" y="769"/>
                </a:cubicBezTo>
                <a:cubicBezTo>
                  <a:pt x="81" y="764"/>
                  <a:pt x="74" y="758"/>
                  <a:pt x="64" y="754"/>
                </a:cubicBezTo>
                <a:cubicBezTo>
                  <a:pt x="34" y="742"/>
                  <a:pt x="3" y="694"/>
                  <a:pt x="13" y="675"/>
                </a:cubicBezTo>
                <a:cubicBezTo>
                  <a:pt x="16" y="671"/>
                  <a:pt x="19" y="668"/>
                  <a:pt x="21" y="668"/>
                </a:cubicBezTo>
                <a:cubicBezTo>
                  <a:pt x="25" y="668"/>
                  <a:pt x="32" y="652"/>
                  <a:pt x="35" y="639"/>
                </a:cubicBezTo>
                <a:cubicBezTo>
                  <a:pt x="35" y="634"/>
                  <a:pt x="40" y="628"/>
                  <a:pt x="44" y="624"/>
                </a:cubicBezTo>
                <a:cubicBezTo>
                  <a:pt x="49" y="620"/>
                  <a:pt x="55" y="613"/>
                  <a:pt x="57" y="607"/>
                </a:cubicBezTo>
                <a:cubicBezTo>
                  <a:pt x="60" y="597"/>
                  <a:pt x="61" y="596"/>
                  <a:pt x="78" y="600"/>
                </a:cubicBezTo>
                <a:cubicBezTo>
                  <a:pt x="87" y="602"/>
                  <a:pt x="100" y="607"/>
                  <a:pt x="105" y="611"/>
                </a:cubicBezTo>
                <a:cubicBezTo>
                  <a:pt x="119" y="620"/>
                  <a:pt x="134" y="618"/>
                  <a:pt x="143" y="603"/>
                </a:cubicBezTo>
                <a:cubicBezTo>
                  <a:pt x="151" y="592"/>
                  <a:pt x="152" y="591"/>
                  <a:pt x="171" y="594"/>
                </a:cubicBezTo>
                <a:cubicBezTo>
                  <a:pt x="182" y="595"/>
                  <a:pt x="194" y="596"/>
                  <a:pt x="198" y="596"/>
                </a:cubicBezTo>
                <a:cubicBezTo>
                  <a:pt x="204" y="596"/>
                  <a:pt x="205" y="599"/>
                  <a:pt x="204" y="610"/>
                </a:cubicBezTo>
                <a:cubicBezTo>
                  <a:pt x="203" y="618"/>
                  <a:pt x="202" y="624"/>
                  <a:pt x="201" y="625"/>
                </a:cubicBezTo>
                <a:cubicBezTo>
                  <a:pt x="183" y="637"/>
                  <a:pt x="169" y="649"/>
                  <a:pt x="167" y="655"/>
                </a:cubicBezTo>
                <a:cubicBezTo>
                  <a:pt x="166" y="658"/>
                  <a:pt x="160" y="665"/>
                  <a:pt x="153" y="670"/>
                </a:cubicBezTo>
                <a:cubicBezTo>
                  <a:pt x="139" y="679"/>
                  <a:pt x="138" y="684"/>
                  <a:pt x="149" y="693"/>
                </a:cubicBezTo>
                <a:cubicBezTo>
                  <a:pt x="159" y="702"/>
                  <a:pt x="182" y="699"/>
                  <a:pt x="190" y="688"/>
                </a:cubicBezTo>
                <a:cubicBezTo>
                  <a:pt x="199" y="675"/>
                  <a:pt x="219" y="668"/>
                  <a:pt x="234" y="672"/>
                </a:cubicBezTo>
                <a:cubicBezTo>
                  <a:pt x="253" y="678"/>
                  <a:pt x="267" y="671"/>
                  <a:pt x="276" y="653"/>
                </a:cubicBezTo>
                <a:cubicBezTo>
                  <a:pt x="283" y="637"/>
                  <a:pt x="284" y="616"/>
                  <a:pt x="277" y="610"/>
                </a:cubicBezTo>
                <a:cubicBezTo>
                  <a:pt x="275" y="608"/>
                  <a:pt x="270" y="610"/>
                  <a:pt x="266" y="615"/>
                </a:cubicBezTo>
                <a:cubicBezTo>
                  <a:pt x="260" y="620"/>
                  <a:pt x="252" y="624"/>
                  <a:pt x="243" y="624"/>
                </a:cubicBezTo>
                <a:cubicBezTo>
                  <a:pt x="213" y="624"/>
                  <a:pt x="211" y="616"/>
                  <a:pt x="229" y="581"/>
                </a:cubicBezTo>
                <a:cubicBezTo>
                  <a:pt x="236" y="569"/>
                  <a:pt x="241" y="554"/>
                  <a:pt x="241" y="549"/>
                </a:cubicBezTo>
                <a:cubicBezTo>
                  <a:pt x="241" y="537"/>
                  <a:pt x="228" y="507"/>
                  <a:pt x="220" y="500"/>
                </a:cubicBezTo>
                <a:cubicBezTo>
                  <a:pt x="216" y="497"/>
                  <a:pt x="213" y="492"/>
                  <a:pt x="213" y="488"/>
                </a:cubicBezTo>
                <a:cubicBezTo>
                  <a:pt x="213" y="477"/>
                  <a:pt x="193" y="442"/>
                  <a:pt x="180" y="431"/>
                </a:cubicBezTo>
                <a:cubicBezTo>
                  <a:pt x="172" y="423"/>
                  <a:pt x="167" y="415"/>
                  <a:pt x="165" y="403"/>
                </a:cubicBezTo>
                <a:cubicBezTo>
                  <a:pt x="163" y="393"/>
                  <a:pt x="160" y="374"/>
                  <a:pt x="157" y="360"/>
                </a:cubicBezTo>
                <a:cubicBezTo>
                  <a:pt x="155" y="345"/>
                  <a:pt x="152" y="322"/>
                  <a:pt x="152" y="308"/>
                </a:cubicBezTo>
                <a:cubicBezTo>
                  <a:pt x="152" y="277"/>
                  <a:pt x="145" y="261"/>
                  <a:pt x="129" y="258"/>
                </a:cubicBezTo>
                <a:cubicBezTo>
                  <a:pt x="124" y="257"/>
                  <a:pt x="113" y="252"/>
                  <a:pt x="106" y="248"/>
                </a:cubicBezTo>
                <a:cubicBezTo>
                  <a:pt x="92" y="239"/>
                  <a:pt x="89" y="227"/>
                  <a:pt x="99" y="213"/>
                </a:cubicBezTo>
                <a:cubicBezTo>
                  <a:pt x="103" y="207"/>
                  <a:pt x="104" y="201"/>
                  <a:pt x="102" y="195"/>
                </a:cubicBezTo>
                <a:cubicBezTo>
                  <a:pt x="98" y="185"/>
                  <a:pt x="98" y="182"/>
                  <a:pt x="103" y="160"/>
                </a:cubicBezTo>
                <a:cubicBezTo>
                  <a:pt x="106" y="146"/>
                  <a:pt x="104" y="145"/>
                  <a:pt x="67" y="147"/>
                </a:cubicBezTo>
                <a:cubicBezTo>
                  <a:pt x="59" y="147"/>
                  <a:pt x="53" y="147"/>
                  <a:pt x="54" y="146"/>
                </a:cubicBezTo>
                <a:cubicBezTo>
                  <a:pt x="55" y="144"/>
                  <a:pt x="53" y="130"/>
                  <a:pt x="49" y="114"/>
                </a:cubicBezTo>
                <a:cubicBezTo>
                  <a:pt x="44" y="92"/>
                  <a:pt x="41" y="85"/>
                  <a:pt x="35" y="84"/>
                </a:cubicBezTo>
                <a:cubicBezTo>
                  <a:pt x="30" y="84"/>
                  <a:pt x="25" y="80"/>
                  <a:pt x="22" y="76"/>
                </a:cubicBezTo>
                <a:cubicBezTo>
                  <a:pt x="17" y="67"/>
                  <a:pt x="0" y="7"/>
                  <a:pt x="3" y="5"/>
                </a:cubicBezTo>
                <a:cubicBezTo>
                  <a:pt x="7" y="0"/>
                  <a:pt x="53" y="42"/>
                  <a:pt x="70" y="64"/>
                </a:cubicBezTo>
                <a:cubicBezTo>
                  <a:pt x="79" y="77"/>
                  <a:pt x="90" y="88"/>
                  <a:pt x="94" y="88"/>
                </a:cubicBezTo>
                <a:cubicBezTo>
                  <a:pt x="98" y="88"/>
                  <a:pt x="104" y="93"/>
                  <a:pt x="109" y="99"/>
                </a:cubicBezTo>
                <a:cubicBezTo>
                  <a:pt x="114" y="106"/>
                  <a:pt x="123" y="115"/>
                  <a:pt x="131" y="119"/>
                </a:cubicBezTo>
                <a:cubicBezTo>
                  <a:pt x="140" y="125"/>
                  <a:pt x="147" y="135"/>
                  <a:pt x="153" y="148"/>
                </a:cubicBezTo>
                <a:cubicBezTo>
                  <a:pt x="158" y="160"/>
                  <a:pt x="164" y="168"/>
                  <a:pt x="168" y="168"/>
                </a:cubicBezTo>
                <a:cubicBezTo>
                  <a:pt x="172" y="168"/>
                  <a:pt x="179" y="174"/>
                  <a:pt x="184" y="181"/>
                </a:cubicBezTo>
                <a:cubicBezTo>
                  <a:pt x="191" y="191"/>
                  <a:pt x="196" y="195"/>
                  <a:pt x="209" y="197"/>
                </a:cubicBezTo>
                <a:cubicBezTo>
                  <a:pt x="223" y="199"/>
                  <a:pt x="226" y="202"/>
                  <a:pt x="234" y="217"/>
                </a:cubicBezTo>
                <a:cubicBezTo>
                  <a:pt x="239" y="226"/>
                  <a:pt x="244" y="241"/>
                  <a:pt x="245" y="249"/>
                </a:cubicBezTo>
                <a:cubicBezTo>
                  <a:pt x="247" y="264"/>
                  <a:pt x="248" y="266"/>
                  <a:pt x="266" y="271"/>
                </a:cubicBezTo>
                <a:cubicBezTo>
                  <a:pt x="276" y="273"/>
                  <a:pt x="287" y="279"/>
                  <a:pt x="291" y="283"/>
                </a:cubicBezTo>
                <a:cubicBezTo>
                  <a:pt x="297" y="290"/>
                  <a:pt x="297" y="293"/>
                  <a:pt x="292" y="310"/>
                </a:cubicBezTo>
                <a:cubicBezTo>
                  <a:pt x="287" y="327"/>
                  <a:pt x="287" y="332"/>
                  <a:pt x="291" y="340"/>
                </a:cubicBezTo>
                <a:cubicBezTo>
                  <a:pt x="294" y="345"/>
                  <a:pt x="298" y="354"/>
                  <a:pt x="299" y="360"/>
                </a:cubicBezTo>
                <a:cubicBezTo>
                  <a:pt x="301" y="368"/>
                  <a:pt x="307" y="372"/>
                  <a:pt x="344" y="385"/>
                </a:cubicBezTo>
                <a:cubicBezTo>
                  <a:pt x="368" y="393"/>
                  <a:pt x="390" y="400"/>
                  <a:pt x="394" y="400"/>
                </a:cubicBezTo>
                <a:cubicBezTo>
                  <a:pt x="398" y="400"/>
                  <a:pt x="408" y="407"/>
                  <a:pt x="417" y="416"/>
                </a:cubicBezTo>
                <a:cubicBezTo>
                  <a:pt x="432" y="433"/>
                  <a:pt x="432" y="433"/>
                  <a:pt x="432" y="433"/>
                </a:cubicBezTo>
                <a:cubicBezTo>
                  <a:pt x="468" y="434"/>
                  <a:pt x="468" y="434"/>
                  <a:pt x="468" y="434"/>
                </a:cubicBezTo>
                <a:cubicBezTo>
                  <a:pt x="487" y="435"/>
                  <a:pt x="510" y="439"/>
                  <a:pt x="518" y="442"/>
                </a:cubicBezTo>
                <a:cubicBezTo>
                  <a:pt x="534" y="448"/>
                  <a:pt x="544" y="446"/>
                  <a:pt x="556" y="433"/>
                </a:cubicBezTo>
                <a:cubicBezTo>
                  <a:pt x="560" y="430"/>
                  <a:pt x="567" y="430"/>
                  <a:pt x="590" y="437"/>
                </a:cubicBezTo>
                <a:cubicBezTo>
                  <a:pt x="606" y="441"/>
                  <a:pt x="620" y="446"/>
                  <a:pt x="622" y="448"/>
                </a:cubicBezTo>
                <a:cubicBezTo>
                  <a:pt x="627" y="456"/>
                  <a:pt x="620" y="471"/>
                  <a:pt x="609" y="476"/>
                </a:cubicBezTo>
                <a:cubicBezTo>
                  <a:pt x="603" y="478"/>
                  <a:pt x="588" y="491"/>
                  <a:pt x="576" y="504"/>
                </a:cubicBezTo>
                <a:cubicBezTo>
                  <a:pt x="565" y="518"/>
                  <a:pt x="550" y="534"/>
                  <a:pt x="543" y="541"/>
                </a:cubicBezTo>
                <a:cubicBezTo>
                  <a:pt x="537" y="548"/>
                  <a:pt x="523" y="563"/>
                  <a:pt x="512" y="574"/>
                </a:cubicBezTo>
                <a:cubicBezTo>
                  <a:pt x="493" y="594"/>
                  <a:pt x="484" y="618"/>
                  <a:pt x="495" y="622"/>
                </a:cubicBezTo>
                <a:cubicBezTo>
                  <a:pt x="503" y="625"/>
                  <a:pt x="544" y="582"/>
                  <a:pt x="547" y="567"/>
                </a:cubicBezTo>
                <a:cubicBezTo>
                  <a:pt x="549" y="557"/>
                  <a:pt x="559" y="543"/>
                  <a:pt x="580" y="520"/>
                </a:cubicBezTo>
                <a:cubicBezTo>
                  <a:pt x="608" y="491"/>
                  <a:pt x="613" y="488"/>
                  <a:pt x="626" y="488"/>
                </a:cubicBezTo>
                <a:cubicBezTo>
                  <a:pt x="638" y="488"/>
                  <a:pt x="642" y="490"/>
                  <a:pt x="650" y="501"/>
                </a:cubicBezTo>
                <a:cubicBezTo>
                  <a:pt x="658" y="512"/>
                  <a:pt x="661" y="514"/>
                  <a:pt x="669" y="511"/>
                </a:cubicBezTo>
                <a:cubicBezTo>
                  <a:pt x="688" y="506"/>
                  <a:pt x="708" y="507"/>
                  <a:pt x="718" y="515"/>
                </a:cubicBezTo>
                <a:cubicBezTo>
                  <a:pt x="723" y="519"/>
                  <a:pt x="738" y="528"/>
                  <a:pt x="751" y="536"/>
                </a:cubicBezTo>
                <a:cubicBezTo>
                  <a:pt x="764" y="543"/>
                  <a:pt x="776" y="549"/>
                  <a:pt x="776" y="550"/>
                </a:cubicBezTo>
                <a:cubicBezTo>
                  <a:pt x="777" y="550"/>
                  <a:pt x="775" y="555"/>
                  <a:pt x="773" y="561"/>
                </a:cubicBezTo>
                <a:cubicBezTo>
                  <a:pt x="766" y="576"/>
                  <a:pt x="774" y="600"/>
                  <a:pt x="791" y="617"/>
                </a:cubicBezTo>
                <a:cubicBezTo>
                  <a:pt x="804" y="630"/>
                  <a:pt x="821" y="659"/>
                  <a:pt x="821" y="668"/>
                </a:cubicBezTo>
                <a:cubicBezTo>
                  <a:pt x="821" y="674"/>
                  <a:pt x="794" y="716"/>
                  <a:pt x="780" y="730"/>
                </a:cubicBezTo>
                <a:cubicBezTo>
                  <a:pt x="768" y="743"/>
                  <a:pt x="768" y="743"/>
                  <a:pt x="768" y="743"/>
                </a:cubicBezTo>
                <a:cubicBezTo>
                  <a:pt x="752" y="722"/>
                  <a:pt x="752" y="722"/>
                  <a:pt x="752" y="722"/>
                </a:cubicBezTo>
                <a:cubicBezTo>
                  <a:pt x="743" y="711"/>
                  <a:pt x="734" y="700"/>
                  <a:pt x="731" y="699"/>
                </a:cubicBezTo>
                <a:cubicBezTo>
                  <a:pt x="729" y="697"/>
                  <a:pt x="721" y="699"/>
                  <a:pt x="713" y="703"/>
                </a:cubicBezTo>
                <a:cubicBezTo>
                  <a:pt x="706" y="707"/>
                  <a:pt x="690" y="713"/>
                  <a:pt x="678" y="715"/>
                </a:cubicBezTo>
                <a:cubicBezTo>
                  <a:pt x="667" y="718"/>
                  <a:pt x="644" y="725"/>
                  <a:pt x="628" y="732"/>
                </a:cubicBezTo>
                <a:cubicBezTo>
                  <a:pt x="612" y="738"/>
                  <a:pt x="579" y="750"/>
                  <a:pt x="555" y="759"/>
                </a:cubicBezTo>
                <a:cubicBezTo>
                  <a:pt x="531" y="768"/>
                  <a:pt x="503" y="780"/>
                  <a:pt x="492" y="784"/>
                </a:cubicBezTo>
                <a:cubicBezTo>
                  <a:pt x="454" y="800"/>
                  <a:pt x="371" y="829"/>
                  <a:pt x="355" y="831"/>
                </a:cubicBezTo>
                <a:cubicBezTo>
                  <a:pt x="342" y="834"/>
                  <a:pt x="335" y="832"/>
                  <a:pt x="317" y="823"/>
                </a:cubicBezTo>
                <a:cubicBezTo>
                  <a:pt x="305" y="817"/>
                  <a:pt x="293" y="813"/>
                  <a:pt x="290" y="815"/>
                </a:cubicBezTo>
                <a:cubicBezTo>
                  <a:pt x="288" y="816"/>
                  <a:pt x="286" y="825"/>
                  <a:pt x="286" y="834"/>
                </a:cubicBezTo>
                <a:cubicBezTo>
                  <a:pt x="285" y="853"/>
                  <a:pt x="281" y="889"/>
                  <a:pt x="279" y="891"/>
                </a:cubicBezTo>
                <a:cubicBezTo>
                  <a:pt x="277" y="893"/>
                  <a:pt x="258" y="895"/>
                  <a:pt x="256" y="894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17"/>
          <p:cNvSpPr/>
          <p:nvPr userDrawn="1">
            <p:custDataLst>
              <p:tags r:id="rId64"/>
            </p:custDataLst>
          </p:nvPr>
        </p:nvSpPr>
        <p:spPr bwMode="grayWhite">
          <a:xfrm>
            <a:off x="6489070" y="1379428"/>
            <a:ext cx="471488" cy="457200"/>
          </a:xfrm>
          <a:custGeom>
            <a:gdLst>
              <a:gd name="T0" fmla="*/ 50 w 328"/>
              <a:gd name="T1" fmla="*/ 314 h 319"/>
              <a:gd name="T2" fmla="*/ 6 w 328"/>
              <a:gd name="T3" fmla="*/ 263 h 319"/>
              <a:gd name="T4" fmla="*/ 3 w 328"/>
              <a:gd name="T5" fmla="*/ 230 h 319"/>
              <a:gd name="T6" fmla="*/ 53 w 328"/>
              <a:gd name="T7" fmla="*/ 157 h 319"/>
              <a:gd name="T8" fmla="*/ 74 w 328"/>
              <a:gd name="T9" fmla="*/ 132 h 319"/>
              <a:gd name="T10" fmla="*/ 89 w 328"/>
              <a:gd name="T11" fmla="*/ 122 h 319"/>
              <a:gd name="T12" fmla="*/ 135 w 328"/>
              <a:gd name="T13" fmla="*/ 91 h 319"/>
              <a:gd name="T14" fmla="*/ 96 w 328"/>
              <a:gd name="T15" fmla="*/ 106 h 319"/>
              <a:gd name="T16" fmla="*/ 105 w 328"/>
              <a:gd name="T17" fmla="*/ 46 h 319"/>
              <a:gd name="T18" fmla="*/ 139 w 328"/>
              <a:gd name="T19" fmla="*/ 24 h 319"/>
              <a:gd name="T20" fmla="*/ 234 w 328"/>
              <a:gd name="T21" fmla="*/ 9 h 319"/>
              <a:gd name="T22" fmla="*/ 255 w 328"/>
              <a:gd name="T23" fmla="*/ 2 h 319"/>
              <a:gd name="T24" fmla="*/ 280 w 328"/>
              <a:gd name="T25" fmla="*/ 5 h 319"/>
              <a:gd name="T26" fmla="*/ 324 w 328"/>
              <a:gd name="T27" fmla="*/ 30 h 319"/>
              <a:gd name="T28" fmla="*/ 303 w 328"/>
              <a:gd name="T29" fmla="*/ 66 h 319"/>
              <a:gd name="T30" fmla="*/ 271 w 328"/>
              <a:gd name="T31" fmla="*/ 98 h 319"/>
              <a:gd name="T32" fmla="*/ 213 w 328"/>
              <a:gd name="T33" fmla="*/ 142 h 319"/>
              <a:gd name="T34" fmla="*/ 193 w 328"/>
              <a:gd name="T35" fmla="*/ 164 h 319"/>
              <a:gd name="T36" fmla="*/ 169 w 328"/>
              <a:gd name="T37" fmla="*/ 182 h 319"/>
              <a:gd name="T38" fmla="*/ 152 w 328"/>
              <a:gd name="T39" fmla="*/ 190 h 319"/>
              <a:gd name="T40" fmla="*/ 147 w 328"/>
              <a:gd name="T41" fmla="*/ 204 h 319"/>
              <a:gd name="T42" fmla="*/ 135 w 328"/>
              <a:gd name="T43" fmla="*/ 237 h 319"/>
              <a:gd name="T44" fmla="*/ 97 w 328"/>
              <a:gd name="T45" fmla="*/ 293 h 319"/>
              <a:gd name="T46" fmla="*/ 70 w 328"/>
              <a:gd name="T47" fmla="*/ 319 h 319"/>
              <a:gd name="T48" fmla="*/ 50 w 328"/>
              <a:gd name="T49" fmla="*/ 314 h 31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8" h="319">
                <a:moveTo>
                  <a:pt x="50" y="314"/>
                </a:moveTo>
                <a:cubicBezTo>
                  <a:pt x="26" y="309"/>
                  <a:pt x="15" y="296"/>
                  <a:pt x="6" y="263"/>
                </a:cubicBezTo>
                <a:cubicBezTo>
                  <a:pt x="1" y="247"/>
                  <a:pt x="0" y="237"/>
                  <a:pt x="3" y="230"/>
                </a:cubicBezTo>
                <a:cubicBezTo>
                  <a:pt x="9" y="215"/>
                  <a:pt x="35" y="176"/>
                  <a:pt x="53" y="157"/>
                </a:cubicBezTo>
                <a:cubicBezTo>
                  <a:pt x="61" y="147"/>
                  <a:pt x="71" y="136"/>
                  <a:pt x="74" y="132"/>
                </a:cubicBezTo>
                <a:cubicBezTo>
                  <a:pt x="77" y="128"/>
                  <a:pt x="83" y="123"/>
                  <a:pt x="89" y="122"/>
                </a:cubicBezTo>
                <a:cubicBezTo>
                  <a:pt x="100" y="119"/>
                  <a:pt x="135" y="96"/>
                  <a:pt x="135" y="91"/>
                </a:cubicBezTo>
                <a:cubicBezTo>
                  <a:pt x="135" y="87"/>
                  <a:pt x="117" y="94"/>
                  <a:pt x="96" y="106"/>
                </a:cubicBezTo>
                <a:cubicBezTo>
                  <a:pt x="59" y="128"/>
                  <a:pt x="64" y="93"/>
                  <a:pt x="105" y="46"/>
                </a:cubicBezTo>
                <a:cubicBezTo>
                  <a:pt x="123" y="26"/>
                  <a:pt x="127" y="23"/>
                  <a:pt x="139" y="24"/>
                </a:cubicBezTo>
                <a:cubicBezTo>
                  <a:pt x="177" y="25"/>
                  <a:pt x="220" y="18"/>
                  <a:pt x="234" y="9"/>
                </a:cubicBezTo>
                <a:cubicBezTo>
                  <a:pt x="243" y="3"/>
                  <a:pt x="251" y="0"/>
                  <a:pt x="255" y="2"/>
                </a:cubicBezTo>
                <a:cubicBezTo>
                  <a:pt x="258" y="3"/>
                  <a:pt x="269" y="5"/>
                  <a:pt x="280" y="5"/>
                </a:cubicBezTo>
                <a:cubicBezTo>
                  <a:pt x="301" y="6"/>
                  <a:pt x="317" y="15"/>
                  <a:pt x="324" y="30"/>
                </a:cubicBezTo>
                <a:cubicBezTo>
                  <a:pt x="328" y="39"/>
                  <a:pt x="327" y="42"/>
                  <a:pt x="303" y="66"/>
                </a:cubicBezTo>
                <a:cubicBezTo>
                  <a:pt x="289" y="80"/>
                  <a:pt x="274" y="94"/>
                  <a:pt x="271" y="98"/>
                </a:cubicBezTo>
                <a:cubicBezTo>
                  <a:pt x="257" y="113"/>
                  <a:pt x="222" y="140"/>
                  <a:pt x="213" y="142"/>
                </a:cubicBezTo>
                <a:cubicBezTo>
                  <a:pt x="208" y="143"/>
                  <a:pt x="200" y="152"/>
                  <a:pt x="193" y="164"/>
                </a:cubicBezTo>
                <a:cubicBezTo>
                  <a:pt x="182" y="182"/>
                  <a:pt x="180" y="184"/>
                  <a:pt x="169" y="182"/>
                </a:cubicBezTo>
                <a:cubicBezTo>
                  <a:pt x="158" y="181"/>
                  <a:pt x="155" y="182"/>
                  <a:pt x="152" y="190"/>
                </a:cubicBezTo>
                <a:cubicBezTo>
                  <a:pt x="149" y="195"/>
                  <a:pt x="147" y="202"/>
                  <a:pt x="147" y="204"/>
                </a:cubicBezTo>
                <a:cubicBezTo>
                  <a:pt x="147" y="206"/>
                  <a:pt x="142" y="221"/>
                  <a:pt x="135" y="237"/>
                </a:cubicBezTo>
                <a:cubicBezTo>
                  <a:pt x="126" y="259"/>
                  <a:pt x="117" y="272"/>
                  <a:pt x="97" y="293"/>
                </a:cubicBezTo>
                <a:cubicBezTo>
                  <a:pt x="83" y="307"/>
                  <a:pt x="70" y="319"/>
                  <a:pt x="70" y="319"/>
                </a:cubicBezTo>
                <a:cubicBezTo>
                  <a:pt x="69" y="319"/>
                  <a:pt x="60" y="317"/>
                  <a:pt x="50" y="314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18"/>
          <p:cNvSpPr/>
          <p:nvPr userDrawn="1">
            <p:custDataLst>
              <p:tags r:id="rId65"/>
            </p:custDataLst>
          </p:nvPr>
        </p:nvSpPr>
        <p:spPr bwMode="grayWhite">
          <a:xfrm>
            <a:off x="6884358" y="1160353"/>
            <a:ext cx="166688" cy="242888"/>
          </a:xfrm>
          <a:custGeom>
            <a:gdLst>
              <a:gd name="T0" fmla="*/ 44 w 116"/>
              <a:gd name="T1" fmla="*/ 162 h 169"/>
              <a:gd name="T2" fmla="*/ 19 w 116"/>
              <a:gd name="T3" fmla="*/ 137 h 169"/>
              <a:gd name="T4" fmla="*/ 3 w 116"/>
              <a:gd name="T5" fmla="*/ 111 h 169"/>
              <a:gd name="T6" fmla="*/ 20 w 116"/>
              <a:gd name="T7" fmla="*/ 69 h 169"/>
              <a:gd name="T8" fmla="*/ 52 w 116"/>
              <a:gd name="T9" fmla="*/ 0 h 169"/>
              <a:gd name="T10" fmla="*/ 68 w 116"/>
              <a:gd name="T11" fmla="*/ 31 h 169"/>
              <a:gd name="T12" fmla="*/ 84 w 116"/>
              <a:gd name="T13" fmla="*/ 66 h 169"/>
              <a:gd name="T14" fmla="*/ 116 w 116"/>
              <a:gd name="T15" fmla="*/ 97 h 169"/>
              <a:gd name="T16" fmla="*/ 104 w 116"/>
              <a:gd name="T17" fmla="*/ 124 h 169"/>
              <a:gd name="T18" fmla="*/ 82 w 116"/>
              <a:gd name="T19" fmla="*/ 144 h 169"/>
              <a:gd name="T20" fmla="*/ 64 w 116"/>
              <a:gd name="T21" fmla="*/ 156 h 169"/>
              <a:gd name="T22" fmla="*/ 44 w 116"/>
              <a:gd name="T23" fmla="*/ 162 h 16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5" h="169">
                <a:moveTo>
                  <a:pt x="44" y="162"/>
                </a:moveTo>
                <a:cubicBezTo>
                  <a:pt x="41" y="160"/>
                  <a:pt x="29" y="148"/>
                  <a:pt x="19" y="137"/>
                </a:cubicBezTo>
                <a:cubicBezTo>
                  <a:pt x="4" y="121"/>
                  <a:pt x="0" y="114"/>
                  <a:pt x="3" y="111"/>
                </a:cubicBezTo>
                <a:cubicBezTo>
                  <a:pt x="5" y="108"/>
                  <a:pt x="13" y="89"/>
                  <a:pt x="20" y="69"/>
                </a:cubicBezTo>
                <a:cubicBezTo>
                  <a:pt x="33" y="27"/>
                  <a:pt x="46" y="0"/>
                  <a:pt x="52" y="0"/>
                </a:cubicBezTo>
                <a:cubicBezTo>
                  <a:pt x="59" y="0"/>
                  <a:pt x="68" y="17"/>
                  <a:pt x="68" y="31"/>
                </a:cubicBezTo>
                <a:cubicBezTo>
                  <a:pt x="68" y="54"/>
                  <a:pt x="72" y="63"/>
                  <a:pt x="84" y="66"/>
                </a:cubicBezTo>
                <a:cubicBezTo>
                  <a:pt x="97" y="69"/>
                  <a:pt x="116" y="87"/>
                  <a:pt x="116" y="97"/>
                </a:cubicBezTo>
                <a:cubicBezTo>
                  <a:pt x="116" y="101"/>
                  <a:pt x="111" y="114"/>
                  <a:pt x="104" y="124"/>
                </a:cubicBezTo>
                <a:cubicBezTo>
                  <a:pt x="95" y="138"/>
                  <a:pt x="89" y="144"/>
                  <a:pt x="82" y="144"/>
                </a:cubicBezTo>
                <a:cubicBezTo>
                  <a:pt x="76" y="144"/>
                  <a:pt x="69" y="148"/>
                  <a:pt x="64" y="156"/>
                </a:cubicBezTo>
                <a:cubicBezTo>
                  <a:pt x="55" y="169"/>
                  <a:pt x="53" y="169"/>
                  <a:pt x="44" y="162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19"/>
          <p:cNvSpPr>
            <a:spLocks noEditPoints="1"/>
          </p:cNvSpPr>
          <p:nvPr userDrawn="1">
            <p:custDataLst>
              <p:tags r:id="rId66"/>
            </p:custDataLst>
          </p:nvPr>
        </p:nvSpPr>
        <p:spPr bwMode="grayWhite">
          <a:xfrm>
            <a:off x="1140780" y="-2619486"/>
            <a:ext cx="1957388" cy="2232026"/>
          </a:xfrm>
          <a:custGeom>
            <a:gdLst>
              <a:gd name="T0" fmla="*/ 129 w 1362"/>
              <a:gd name="T1" fmla="*/ 10 h 1554"/>
              <a:gd name="T2" fmla="*/ 104 w 1362"/>
              <a:gd name="T3" fmla="*/ 36 h 1554"/>
              <a:gd name="T4" fmla="*/ 28 w 1362"/>
              <a:gd name="T5" fmla="*/ 254 h 1554"/>
              <a:gd name="T6" fmla="*/ 60 w 1362"/>
              <a:gd name="T7" fmla="*/ 420 h 1554"/>
              <a:gd name="T8" fmla="*/ 49 w 1362"/>
              <a:gd name="T9" fmla="*/ 498 h 1554"/>
              <a:gd name="T10" fmla="*/ 21 w 1362"/>
              <a:gd name="T11" fmla="*/ 546 h 1554"/>
              <a:gd name="T12" fmla="*/ 45 w 1362"/>
              <a:gd name="T13" fmla="*/ 629 h 1554"/>
              <a:gd name="T14" fmla="*/ 59 w 1362"/>
              <a:gd name="T15" fmla="*/ 731 h 1554"/>
              <a:gd name="T16" fmla="*/ 39 w 1362"/>
              <a:gd name="T17" fmla="*/ 904 h 1554"/>
              <a:gd name="T18" fmla="*/ 97 w 1362"/>
              <a:gd name="T19" fmla="*/ 1024 h 1554"/>
              <a:gd name="T20" fmla="*/ 75 w 1362"/>
              <a:gd name="T21" fmla="*/ 1080 h 1554"/>
              <a:gd name="T22" fmla="*/ 166 w 1362"/>
              <a:gd name="T23" fmla="*/ 1129 h 1554"/>
              <a:gd name="T24" fmla="*/ 225 w 1362"/>
              <a:gd name="T25" fmla="*/ 1254 h 1554"/>
              <a:gd name="T26" fmla="*/ 913 w 1362"/>
              <a:gd name="T27" fmla="*/ 1477 h 1554"/>
              <a:gd name="T28" fmla="*/ 1108 w 1362"/>
              <a:gd name="T29" fmla="*/ 1516 h 1554"/>
              <a:gd name="T30" fmla="*/ 1315 w 1362"/>
              <a:gd name="T31" fmla="*/ 1547 h 1554"/>
              <a:gd name="T32" fmla="*/ 1325 w 1362"/>
              <a:gd name="T33" fmla="*/ 1448 h 1554"/>
              <a:gd name="T34" fmla="*/ 1345 w 1362"/>
              <a:gd name="T35" fmla="*/ 1238 h 1554"/>
              <a:gd name="T36" fmla="*/ 1360 w 1362"/>
              <a:gd name="T37" fmla="*/ 1088 h 1554"/>
              <a:gd name="T38" fmla="*/ 1117 w 1362"/>
              <a:gd name="T39" fmla="*/ 921 h 1554"/>
              <a:gd name="T40" fmla="*/ 1033 w 1362"/>
              <a:gd name="T41" fmla="*/ 822 h 1554"/>
              <a:gd name="T42" fmla="*/ 903 w 1362"/>
              <a:gd name="T43" fmla="*/ 750 h 1554"/>
              <a:gd name="T44" fmla="*/ 685 w 1362"/>
              <a:gd name="T45" fmla="*/ 449 h 1554"/>
              <a:gd name="T46" fmla="*/ 703 w 1362"/>
              <a:gd name="T47" fmla="*/ 219 h 1554"/>
              <a:gd name="T48" fmla="*/ 657 w 1362"/>
              <a:gd name="T49" fmla="*/ 199 h 1554"/>
              <a:gd name="T50" fmla="*/ 599 w 1362"/>
              <a:gd name="T51" fmla="*/ 198 h 1554"/>
              <a:gd name="T52" fmla="*/ 565 w 1362"/>
              <a:gd name="T53" fmla="*/ 157 h 1554"/>
              <a:gd name="T54" fmla="*/ 516 w 1362"/>
              <a:gd name="T55" fmla="*/ 116 h 1554"/>
              <a:gd name="T56" fmla="*/ 443 w 1362"/>
              <a:gd name="T57" fmla="*/ 71 h 1554"/>
              <a:gd name="T58" fmla="*/ 416 w 1362"/>
              <a:gd name="T59" fmla="*/ 30 h 1554"/>
              <a:gd name="T60" fmla="*/ 246 w 1362"/>
              <a:gd name="T61" fmla="*/ 38 h 1554"/>
              <a:gd name="T62" fmla="*/ 203 w 1362"/>
              <a:gd name="T63" fmla="*/ 1 h 1554"/>
              <a:gd name="T64" fmla="*/ 628 w 1362"/>
              <a:gd name="T65" fmla="*/ 603 h 1554"/>
              <a:gd name="T66" fmla="*/ 717 w 1362"/>
              <a:gd name="T67" fmla="*/ 677 h 1554"/>
              <a:gd name="T68" fmla="*/ 668 w 1362"/>
              <a:gd name="T69" fmla="*/ 720 h 1554"/>
              <a:gd name="T70" fmla="*/ 589 w 1362"/>
              <a:gd name="T71" fmla="*/ 722 h 1554"/>
              <a:gd name="T72" fmla="*/ 526 w 1362"/>
              <a:gd name="T73" fmla="*/ 743 h 1554"/>
              <a:gd name="T74" fmla="*/ 459 w 1362"/>
              <a:gd name="T75" fmla="*/ 734 h 1554"/>
              <a:gd name="T76" fmla="*/ 509 w 1362"/>
              <a:gd name="T77" fmla="*/ 643 h 1554"/>
              <a:gd name="T78" fmla="*/ 456 w 1362"/>
              <a:gd name="T79" fmla="*/ 594 h 1554"/>
              <a:gd name="T80" fmla="*/ 535 w 1362"/>
              <a:gd name="T81" fmla="*/ 561 h 1554"/>
              <a:gd name="T82" fmla="*/ 714 w 1362"/>
              <a:gd name="T83" fmla="*/ 1125 h 1554"/>
              <a:gd name="T84" fmla="*/ 847 w 1362"/>
              <a:gd name="T85" fmla="*/ 1200 h 1554"/>
              <a:gd name="T86" fmla="*/ 952 w 1362"/>
              <a:gd name="T87" fmla="*/ 1169 h 1554"/>
              <a:gd name="T88" fmla="*/ 843 w 1362"/>
              <a:gd name="T89" fmla="*/ 1256 h 1554"/>
              <a:gd name="T90" fmla="*/ 754 w 1362"/>
              <a:gd name="T91" fmla="*/ 1292 h 1554"/>
              <a:gd name="T92" fmla="*/ 584 w 1362"/>
              <a:gd name="T93" fmla="*/ 1273 h 1554"/>
              <a:gd name="T94" fmla="*/ 652 w 1362"/>
              <a:gd name="T95" fmla="*/ 1224 h 1554"/>
              <a:gd name="T96" fmla="*/ 676 w 1362"/>
              <a:gd name="T97" fmla="*/ 1109 h 155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62" h="1554">
                <a:moveTo>
                  <a:pt x="203" y="1"/>
                </a:moveTo>
                <a:cubicBezTo>
                  <a:pt x="197" y="0"/>
                  <a:pt x="187" y="2"/>
                  <a:pt x="173" y="3"/>
                </a:cubicBezTo>
                <a:cubicBezTo>
                  <a:pt x="151" y="6"/>
                  <a:pt x="131" y="9"/>
                  <a:pt x="129" y="10"/>
                </a:cubicBezTo>
                <a:cubicBezTo>
                  <a:pt x="125" y="12"/>
                  <a:pt x="124" y="18"/>
                  <a:pt x="125" y="32"/>
                </a:cubicBezTo>
                <a:cubicBezTo>
                  <a:pt x="127" y="54"/>
                  <a:pt x="122" y="60"/>
                  <a:pt x="113" y="46"/>
                </a:cubicBezTo>
                <a:cubicBezTo>
                  <a:pt x="109" y="40"/>
                  <a:pt x="105" y="36"/>
                  <a:pt x="104" y="36"/>
                </a:cubicBezTo>
                <a:cubicBezTo>
                  <a:pt x="97" y="36"/>
                  <a:pt x="39" y="141"/>
                  <a:pt x="27" y="174"/>
                </a:cubicBezTo>
                <a:cubicBezTo>
                  <a:pt x="20" y="193"/>
                  <a:pt x="12" y="214"/>
                  <a:pt x="9" y="218"/>
                </a:cubicBezTo>
                <a:cubicBezTo>
                  <a:pt x="0" y="233"/>
                  <a:pt x="2" y="237"/>
                  <a:pt x="28" y="254"/>
                </a:cubicBezTo>
                <a:cubicBezTo>
                  <a:pt x="84" y="292"/>
                  <a:pt x="86" y="296"/>
                  <a:pt x="63" y="344"/>
                </a:cubicBezTo>
                <a:cubicBezTo>
                  <a:pt x="55" y="360"/>
                  <a:pt x="47" y="381"/>
                  <a:pt x="46" y="390"/>
                </a:cubicBezTo>
                <a:cubicBezTo>
                  <a:pt x="44" y="406"/>
                  <a:pt x="45" y="408"/>
                  <a:pt x="60" y="420"/>
                </a:cubicBezTo>
                <a:cubicBezTo>
                  <a:pt x="68" y="426"/>
                  <a:pt x="75" y="433"/>
                  <a:pt x="74" y="435"/>
                </a:cubicBezTo>
                <a:cubicBezTo>
                  <a:pt x="72" y="437"/>
                  <a:pt x="71" y="448"/>
                  <a:pt x="71" y="461"/>
                </a:cubicBezTo>
                <a:cubicBezTo>
                  <a:pt x="70" y="486"/>
                  <a:pt x="65" y="494"/>
                  <a:pt x="49" y="498"/>
                </a:cubicBezTo>
                <a:cubicBezTo>
                  <a:pt x="37" y="501"/>
                  <a:pt x="31" y="511"/>
                  <a:pt x="31" y="525"/>
                </a:cubicBezTo>
                <a:cubicBezTo>
                  <a:pt x="31" y="531"/>
                  <a:pt x="29" y="536"/>
                  <a:pt x="28" y="536"/>
                </a:cubicBezTo>
                <a:cubicBezTo>
                  <a:pt x="26" y="536"/>
                  <a:pt x="23" y="540"/>
                  <a:pt x="21" y="546"/>
                </a:cubicBezTo>
                <a:cubicBezTo>
                  <a:pt x="19" y="554"/>
                  <a:pt x="21" y="559"/>
                  <a:pt x="27" y="565"/>
                </a:cubicBezTo>
                <a:cubicBezTo>
                  <a:pt x="33" y="571"/>
                  <a:pt x="35" y="579"/>
                  <a:pt x="35" y="592"/>
                </a:cubicBezTo>
                <a:cubicBezTo>
                  <a:pt x="35" y="602"/>
                  <a:pt x="39" y="618"/>
                  <a:pt x="45" y="629"/>
                </a:cubicBezTo>
                <a:cubicBezTo>
                  <a:pt x="51" y="643"/>
                  <a:pt x="54" y="653"/>
                  <a:pt x="52" y="662"/>
                </a:cubicBezTo>
                <a:cubicBezTo>
                  <a:pt x="51" y="671"/>
                  <a:pt x="53" y="680"/>
                  <a:pt x="58" y="691"/>
                </a:cubicBezTo>
                <a:cubicBezTo>
                  <a:pt x="66" y="707"/>
                  <a:pt x="66" y="707"/>
                  <a:pt x="59" y="731"/>
                </a:cubicBezTo>
                <a:cubicBezTo>
                  <a:pt x="50" y="762"/>
                  <a:pt x="40" y="815"/>
                  <a:pt x="38" y="850"/>
                </a:cubicBezTo>
                <a:cubicBezTo>
                  <a:pt x="36" y="865"/>
                  <a:pt x="34" y="881"/>
                  <a:pt x="33" y="886"/>
                </a:cubicBezTo>
                <a:cubicBezTo>
                  <a:pt x="31" y="891"/>
                  <a:pt x="34" y="897"/>
                  <a:pt x="39" y="904"/>
                </a:cubicBezTo>
                <a:cubicBezTo>
                  <a:pt x="50" y="916"/>
                  <a:pt x="56" y="931"/>
                  <a:pt x="63" y="960"/>
                </a:cubicBezTo>
                <a:cubicBezTo>
                  <a:pt x="69" y="985"/>
                  <a:pt x="77" y="1002"/>
                  <a:pt x="88" y="1015"/>
                </a:cubicBezTo>
                <a:cubicBezTo>
                  <a:pt x="97" y="1024"/>
                  <a:pt x="97" y="1024"/>
                  <a:pt x="97" y="1024"/>
                </a:cubicBezTo>
                <a:cubicBezTo>
                  <a:pt x="88" y="1033"/>
                  <a:pt x="88" y="1033"/>
                  <a:pt x="88" y="1033"/>
                </a:cubicBezTo>
                <a:cubicBezTo>
                  <a:pt x="82" y="1039"/>
                  <a:pt x="79" y="1047"/>
                  <a:pt x="79" y="1057"/>
                </a:cubicBezTo>
                <a:cubicBezTo>
                  <a:pt x="79" y="1065"/>
                  <a:pt x="77" y="1076"/>
                  <a:pt x="75" y="1080"/>
                </a:cubicBezTo>
                <a:cubicBezTo>
                  <a:pt x="71" y="1087"/>
                  <a:pt x="73" y="1089"/>
                  <a:pt x="96" y="1099"/>
                </a:cubicBezTo>
                <a:cubicBezTo>
                  <a:pt x="110" y="1106"/>
                  <a:pt x="128" y="1116"/>
                  <a:pt x="137" y="1121"/>
                </a:cubicBezTo>
                <a:cubicBezTo>
                  <a:pt x="149" y="1130"/>
                  <a:pt x="155" y="1131"/>
                  <a:pt x="166" y="1129"/>
                </a:cubicBezTo>
                <a:cubicBezTo>
                  <a:pt x="182" y="1126"/>
                  <a:pt x="181" y="1122"/>
                  <a:pt x="181" y="1187"/>
                </a:cubicBezTo>
                <a:cubicBezTo>
                  <a:pt x="181" y="1236"/>
                  <a:pt x="181" y="1236"/>
                  <a:pt x="181" y="1236"/>
                </a:cubicBezTo>
                <a:cubicBezTo>
                  <a:pt x="225" y="1254"/>
                  <a:pt x="225" y="1254"/>
                  <a:pt x="225" y="1254"/>
                </a:cubicBezTo>
                <a:cubicBezTo>
                  <a:pt x="368" y="1312"/>
                  <a:pt x="536" y="1369"/>
                  <a:pt x="699" y="1416"/>
                </a:cubicBezTo>
                <a:cubicBezTo>
                  <a:pt x="746" y="1429"/>
                  <a:pt x="811" y="1448"/>
                  <a:pt x="843" y="1458"/>
                </a:cubicBezTo>
                <a:cubicBezTo>
                  <a:pt x="875" y="1467"/>
                  <a:pt x="907" y="1476"/>
                  <a:pt x="913" y="1477"/>
                </a:cubicBezTo>
                <a:cubicBezTo>
                  <a:pt x="920" y="1478"/>
                  <a:pt x="952" y="1485"/>
                  <a:pt x="985" y="1492"/>
                </a:cubicBezTo>
                <a:cubicBezTo>
                  <a:pt x="1018" y="1498"/>
                  <a:pt x="1050" y="1505"/>
                  <a:pt x="1056" y="1506"/>
                </a:cubicBezTo>
                <a:cubicBezTo>
                  <a:pt x="1062" y="1507"/>
                  <a:pt x="1086" y="1511"/>
                  <a:pt x="1108" y="1516"/>
                </a:cubicBezTo>
                <a:cubicBezTo>
                  <a:pt x="1131" y="1520"/>
                  <a:pt x="1155" y="1525"/>
                  <a:pt x="1161" y="1526"/>
                </a:cubicBezTo>
                <a:cubicBezTo>
                  <a:pt x="1168" y="1527"/>
                  <a:pt x="1198" y="1533"/>
                  <a:pt x="1229" y="1539"/>
                </a:cubicBezTo>
                <a:cubicBezTo>
                  <a:pt x="1292" y="1552"/>
                  <a:pt x="1315" y="1554"/>
                  <a:pt x="1315" y="1547"/>
                </a:cubicBezTo>
                <a:cubicBezTo>
                  <a:pt x="1316" y="1544"/>
                  <a:pt x="1316" y="1538"/>
                  <a:pt x="1317" y="1534"/>
                </a:cubicBezTo>
                <a:cubicBezTo>
                  <a:pt x="1318" y="1530"/>
                  <a:pt x="1320" y="1511"/>
                  <a:pt x="1321" y="1492"/>
                </a:cubicBezTo>
                <a:cubicBezTo>
                  <a:pt x="1323" y="1473"/>
                  <a:pt x="1324" y="1453"/>
                  <a:pt x="1325" y="1448"/>
                </a:cubicBezTo>
                <a:cubicBezTo>
                  <a:pt x="1326" y="1442"/>
                  <a:pt x="1328" y="1426"/>
                  <a:pt x="1329" y="1412"/>
                </a:cubicBezTo>
                <a:cubicBezTo>
                  <a:pt x="1333" y="1371"/>
                  <a:pt x="1339" y="1306"/>
                  <a:pt x="1341" y="1286"/>
                </a:cubicBezTo>
                <a:cubicBezTo>
                  <a:pt x="1342" y="1279"/>
                  <a:pt x="1344" y="1257"/>
                  <a:pt x="1345" y="1238"/>
                </a:cubicBezTo>
                <a:cubicBezTo>
                  <a:pt x="1347" y="1218"/>
                  <a:pt x="1348" y="1199"/>
                  <a:pt x="1349" y="1196"/>
                </a:cubicBezTo>
                <a:cubicBezTo>
                  <a:pt x="1350" y="1192"/>
                  <a:pt x="1352" y="1174"/>
                  <a:pt x="1353" y="1156"/>
                </a:cubicBezTo>
                <a:cubicBezTo>
                  <a:pt x="1354" y="1137"/>
                  <a:pt x="1357" y="1107"/>
                  <a:pt x="1360" y="1088"/>
                </a:cubicBezTo>
                <a:cubicBezTo>
                  <a:pt x="1362" y="1070"/>
                  <a:pt x="1362" y="1054"/>
                  <a:pt x="1361" y="1052"/>
                </a:cubicBezTo>
                <a:cubicBezTo>
                  <a:pt x="1360" y="1050"/>
                  <a:pt x="1333" y="1035"/>
                  <a:pt x="1302" y="1018"/>
                </a:cubicBezTo>
                <a:cubicBezTo>
                  <a:pt x="1236" y="984"/>
                  <a:pt x="1168" y="948"/>
                  <a:pt x="1117" y="921"/>
                </a:cubicBezTo>
                <a:cubicBezTo>
                  <a:pt x="1082" y="902"/>
                  <a:pt x="1082" y="902"/>
                  <a:pt x="1082" y="902"/>
                </a:cubicBezTo>
                <a:cubicBezTo>
                  <a:pt x="1057" y="862"/>
                  <a:pt x="1057" y="862"/>
                  <a:pt x="1057" y="862"/>
                </a:cubicBezTo>
                <a:cubicBezTo>
                  <a:pt x="1033" y="822"/>
                  <a:pt x="1033" y="822"/>
                  <a:pt x="1033" y="822"/>
                </a:cubicBezTo>
                <a:cubicBezTo>
                  <a:pt x="987" y="812"/>
                  <a:pt x="987" y="812"/>
                  <a:pt x="987" y="812"/>
                </a:cubicBezTo>
                <a:cubicBezTo>
                  <a:pt x="942" y="802"/>
                  <a:pt x="942" y="802"/>
                  <a:pt x="942" y="802"/>
                </a:cubicBezTo>
                <a:cubicBezTo>
                  <a:pt x="903" y="750"/>
                  <a:pt x="903" y="750"/>
                  <a:pt x="903" y="750"/>
                </a:cubicBezTo>
                <a:cubicBezTo>
                  <a:pt x="882" y="721"/>
                  <a:pt x="848" y="675"/>
                  <a:pt x="829" y="648"/>
                </a:cubicBezTo>
                <a:cubicBezTo>
                  <a:pt x="809" y="620"/>
                  <a:pt x="770" y="566"/>
                  <a:pt x="742" y="528"/>
                </a:cubicBezTo>
                <a:cubicBezTo>
                  <a:pt x="714" y="490"/>
                  <a:pt x="688" y="455"/>
                  <a:pt x="685" y="449"/>
                </a:cubicBezTo>
                <a:cubicBezTo>
                  <a:pt x="679" y="440"/>
                  <a:pt x="679" y="437"/>
                  <a:pt x="693" y="403"/>
                </a:cubicBezTo>
                <a:cubicBezTo>
                  <a:pt x="742" y="272"/>
                  <a:pt x="742" y="273"/>
                  <a:pt x="717" y="240"/>
                </a:cubicBezTo>
                <a:cubicBezTo>
                  <a:pt x="709" y="230"/>
                  <a:pt x="703" y="221"/>
                  <a:pt x="703" y="219"/>
                </a:cubicBezTo>
                <a:cubicBezTo>
                  <a:pt x="703" y="217"/>
                  <a:pt x="701" y="216"/>
                  <a:pt x="699" y="216"/>
                </a:cubicBezTo>
                <a:cubicBezTo>
                  <a:pt x="696" y="216"/>
                  <a:pt x="690" y="212"/>
                  <a:pt x="684" y="208"/>
                </a:cubicBezTo>
                <a:cubicBezTo>
                  <a:pt x="678" y="204"/>
                  <a:pt x="666" y="200"/>
                  <a:pt x="657" y="199"/>
                </a:cubicBezTo>
                <a:cubicBezTo>
                  <a:pt x="643" y="197"/>
                  <a:pt x="639" y="199"/>
                  <a:pt x="625" y="210"/>
                </a:cubicBezTo>
                <a:cubicBezTo>
                  <a:pt x="610" y="222"/>
                  <a:pt x="607" y="223"/>
                  <a:pt x="598" y="220"/>
                </a:cubicBezTo>
                <a:cubicBezTo>
                  <a:pt x="584" y="215"/>
                  <a:pt x="584" y="212"/>
                  <a:pt x="599" y="198"/>
                </a:cubicBezTo>
                <a:cubicBezTo>
                  <a:pt x="606" y="191"/>
                  <a:pt x="610" y="184"/>
                  <a:pt x="608" y="182"/>
                </a:cubicBezTo>
                <a:cubicBezTo>
                  <a:pt x="607" y="180"/>
                  <a:pt x="605" y="168"/>
                  <a:pt x="605" y="157"/>
                </a:cubicBezTo>
                <a:cubicBezTo>
                  <a:pt x="605" y="122"/>
                  <a:pt x="600" y="122"/>
                  <a:pt x="565" y="157"/>
                </a:cubicBezTo>
                <a:cubicBezTo>
                  <a:pt x="548" y="174"/>
                  <a:pt x="533" y="188"/>
                  <a:pt x="532" y="188"/>
                </a:cubicBezTo>
                <a:cubicBezTo>
                  <a:pt x="529" y="188"/>
                  <a:pt x="517" y="174"/>
                  <a:pt x="517" y="171"/>
                </a:cubicBezTo>
                <a:cubicBezTo>
                  <a:pt x="516" y="169"/>
                  <a:pt x="516" y="144"/>
                  <a:pt x="516" y="116"/>
                </a:cubicBezTo>
                <a:cubicBezTo>
                  <a:pt x="515" y="65"/>
                  <a:pt x="515" y="65"/>
                  <a:pt x="505" y="60"/>
                </a:cubicBezTo>
                <a:cubicBezTo>
                  <a:pt x="491" y="54"/>
                  <a:pt x="484" y="54"/>
                  <a:pt x="472" y="64"/>
                </a:cubicBezTo>
                <a:cubicBezTo>
                  <a:pt x="464" y="70"/>
                  <a:pt x="457" y="72"/>
                  <a:pt x="443" y="71"/>
                </a:cubicBezTo>
                <a:cubicBezTo>
                  <a:pt x="430" y="70"/>
                  <a:pt x="424" y="69"/>
                  <a:pt x="427" y="66"/>
                </a:cubicBezTo>
                <a:cubicBezTo>
                  <a:pt x="429" y="63"/>
                  <a:pt x="431" y="56"/>
                  <a:pt x="432" y="50"/>
                </a:cubicBezTo>
                <a:cubicBezTo>
                  <a:pt x="434" y="40"/>
                  <a:pt x="432" y="38"/>
                  <a:pt x="416" y="30"/>
                </a:cubicBezTo>
                <a:cubicBezTo>
                  <a:pt x="397" y="20"/>
                  <a:pt x="368" y="18"/>
                  <a:pt x="343" y="25"/>
                </a:cubicBezTo>
                <a:cubicBezTo>
                  <a:pt x="338" y="26"/>
                  <a:pt x="314" y="28"/>
                  <a:pt x="291" y="30"/>
                </a:cubicBezTo>
                <a:cubicBezTo>
                  <a:pt x="261" y="31"/>
                  <a:pt x="248" y="34"/>
                  <a:pt x="246" y="38"/>
                </a:cubicBezTo>
                <a:cubicBezTo>
                  <a:pt x="244" y="41"/>
                  <a:pt x="237" y="44"/>
                  <a:pt x="231" y="44"/>
                </a:cubicBezTo>
                <a:cubicBezTo>
                  <a:pt x="220" y="44"/>
                  <a:pt x="219" y="43"/>
                  <a:pt x="219" y="27"/>
                </a:cubicBezTo>
                <a:cubicBezTo>
                  <a:pt x="219" y="7"/>
                  <a:pt x="218" y="1"/>
                  <a:pt x="203" y="1"/>
                </a:cubicBezTo>
                <a:close/>
                <a:moveTo>
                  <a:pt x="535" y="561"/>
                </a:moveTo>
                <a:cubicBezTo>
                  <a:pt x="639" y="562"/>
                  <a:pt x="647" y="563"/>
                  <a:pt x="647" y="580"/>
                </a:cubicBezTo>
                <a:cubicBezTo>
                  <a:pt x="647" y="584"/>
                  <a:pt x="639" y="594"/>
                  <a:pt x="628" y="603"/>
                </a:cubicBezTo>
                <a:cubicBezTo>
                  <a:pt x="615" y="614"/>
                  <a:pt x="610" y="620"/>
                  <a:pt x="613" y="623"/>
                </a:cubicBezTo>
                <a:cubicBezTo>
                  <a:pt x="618" y="628"/>
                  <a:pt x="673" y="650"/>
                  <a:pt x="700" y="658"/>
                </a:cubicBezTo>
                <a:cubicBezTo>
                  <a:pt x="719" y="664"/>
                  <a:pt x="720" y="664"/>
                  <a:pt x="717" y="677"/>
                </a:cubicBezTo>
                <a:cubicBezTo>
                  <a:pt x="714" y="691"/>
                  <a:pt x="708" y="700"/>
                  <a:pt x="703" y="700"/>
                </a:cubicBezTo>
                <a:cubicBezTo>
                  <a:pt x="701" y="700"/>
                  <a:pt x="692" y="704"/>
                  <a:pt x="683" y="710"/>
                </a:cubicBezTo>
                <a:cubicBezTo>
                  <a:pt x="668" y="720"/>
                  <a:pt x="668" y="720"/>
                  <a:pt x="668" y="720"/>
                </a:cubicBezTo>
                <a:cubicBezTo>
                  <a:pt x="644" y="710"/>
                  <a:pt x="644" y="710"/>
                  <a:pt x="644" y="710"/>
                </a:cubicBezTo>
                <a:cubicBezTo>
                  <a:pt x="632" y="704"/>
                  <a:pt x="618" y="697"/>
                  <a:pt x="614" y="695"/>
                </a:cubicBezTo>
                <a:cubicBezTo>
                  <a:pt x="604" y="689"/>
                  <a:pt x="598" y="696"/>
                  <a:pt x="589" y="722"/>
                </a:cubicBezTo>
                <a:cubicBezTo>
                  <a:pt x="581" y="747"/>
                  <a:pt x="580" y="749"/>
                  <a:pt x="548" y="759"/>
                </a:cubicBezTo>
                <a:cubicBezTo>
                  <a:pt x="535" y="764"/>
                  <a:pt x="522" y="768"/>
                  <a:pt x="519" y="768"/>
                </a:cubicBezTo>
                <a:cubicBezTo>
                  <a:pt x="512" y="768"/>
                  <a:pt x="515" y="756"/>
                  <a:pt x="526" y="743"/>
                </a:cubicBezTo>
                <a:cubicBezTo>
                  <a:pt x="550" y="715"/>
                  <a:pt x="549" y="716"/>
                  <a:pt x="536" y="716"/>
                </a:cubicBezTo>
                <a:cubicBezTo>
                  <a:pt x="529" y="716"/>
                  <a:pt x="519" y="720"/>
                  <a:pt x="512" y="726"/>
                </a:cubicBezTo>
                <a:cubicBezTo>
                  <a:pt x="492" y="742"/>
                  <a:pt x="477" y="745"/>
                  <a:pt x="459" y="734"/>
                </a:cubicBezTo>
                <a:cubicBezTo>
                  <a:pt x="450" y="730"/>
                  <a:pt x="442" y="721"/>
                  <a:pt x="439" y="716"/>
                </a:cubicBezTo>
                <a:cubicBezTo>
                  <a:pt x="435" y="706"/>
                  <a:pt x="436" y="704"/>
                  <a:pt x="463" y="679"/>
                </a:cubicBezTo>
                <a:cubicBezTo>
                  <a:pt x="478" y="664"/>
                  <a:pt x="499" y="648"/>
                  <a:pt x="509" y="643"/>
                </a:cubicBezTo>
                <a:cubicBezTo>
                  <a:pt x="518" y="639"/>
                  <a:pt x="527" y="632"/>
                  <a:pt x="528" y="628"/>
                </a:cubicBezTo>
                <a:cubicBezTo>
                  <a:pt x="531" y="616"/>
                  <a:pt x="515" y="604"/>
                  <a:pt x="497" y="603"/>
                </a:cubicBezTo>
                <a:cubicBezTo>
                  <a:pt x="488" y="603"/>
                  <a:pt x="470" y="599"/>
                  <a:pt x="456" y="594"/>
                </a:cubicBezTo>
                <a:cubicBezTo>
                  <a:pt x="434" y="587"/>
                  <a:pt x="430" y="584"/>
                  <a:pt x="428" y="576"/>
                </a:cubicBezTo>
                <a:cubicBezTo>
                  <a:pt x="428" y="570"/>
                  <a:pt x="429" y="565"/>
                  <a:pt x="431" y="563"/>
                </a:cubicBezTo>
                <a:cubicBezTo>
                  <a:pt x="434" y="562"/>
                  <a:pt x="480" y="561"/>
                  <a:pt x="535" y="561"/>
                </a:cubicBezTo>
                <a:close/>
                <a:moveTo>
                  <a:pt x="671" y="1076"/>
                </a:moveTo>
                <a:cubicBezTo>
                  <a:pt x="672" y="1076"/>
                  <a:pt x="680" y="1084"/>
                  <a:pt x="687" y="1094"/>
                </a:cubicBezTo>
                <a:cubicBezTo>
                  <a:pt x="694" y="1104"/>
                  <a:pt x="706" y="1118"/>
                  <a:pt x="714" y="1125"/>
                </a:cubicBezTo>
                <a:cubicBezTo>
                  <a:pt x="736" y="1144"/>
                  <a:pt x="752" y="1162"/>
                  <a:pt x="762" y="1179"/>
                </a:cubicBezTo>
                <a:cubicBezTo>
                  <a:pt x="769" y="1192"/>
                  <a:pt x="774" y="1194"/>
                  <a:pt x="797" y="1200"/>
                </a:cubicBezTo>
                <a:cubicBezTo>
                  <a:pt x="822" y="1206"/>
                  <a:pt x="825" y="1206"/>
                  <a:pt x="847" y="1200"/>
                </a:cubicBezTo>
                <a:cubicBezTo>
                  <a:pt x="863" y="1196"/>
                  <a:pt x="873" y="1190"/>
                  <a:pt x="879" y="1182"/>
                </a:cubicBezTo>
                <a:cubicBezTo>
                  <a:pt x="891" y="1167"/>
                  <a:pt x="906" y="1160"/>
                  <a:pt x="932" y="1159"/>
                </a:cubicBezTo>
                <a:cubicBezTo>
                  <a:pt x="953" y="1158"/>
                  <a:pt x="953" y="1158"/>
                  <a:pt x="952" y="1169"/>
                </a:cubicBezTo>
                <a:cubicBezTo>
                  <a:pt x="951" y="1185"/>
                  <a:pt x="935" y="1203"/>
                  <a:pt x="918" y="1208"/>
                </a:cubicBezTo>
                <a:cubicBezTo>
                  <a:pt x="910" y="1210"/>
                  <a:pt x="895" y="1219"/>
                  <a:pt x="886" y="1228"/>
                </a:cubicBezTo>
                <a:cubicBezTo>
                  <a:pt x="877" y="1237"/>
                  <a:pt x="857" y="1250"/>
                  <a:pt x="843" y="1256"/>
                </a:cubicBezTo>
                <a:cubicBezTo>
                  <a:pt x="829" y="1263"/>
                  <a:pt x="810" y="1272"/>
                  <a:pt x="802" y="1276"/>
                </a:cubicBezTo>
                <a:cubicBezTo>
                  <a:pt x="793" y="1281"/>
                  <a:pt x="782" y="1284"/>
                  <a:pt x="777" y="1282"/>
                </a:cubicBezTo>
                <a:cubicBezTo>
                  <a:pt x="769" y="1281"/>
                  <a:pt x="763" y="1284"/>
                  <a:pt x="754" y="1292"/>
                </a:cubicBezTo>
                <a:cubicBezTo>
                  <a:pt x="747" y="1298"/>
                  <a:pt x="734" y="1305"/>
                  <a:pt x="726" y="1309"/>
                </a:cubicBezTo>
                <a:cubicBezTo>
                  <a:pt x="717" y="1313"/>
                  <a:pt x="705" y="1315"/>
                  <a:pt x="700" y="1315"/>
                </a:cubicBezTo>
                <a:cubicBezTo>
                  <a:pt x="626" y="1308"/>
                  <a:pt x="619" y="1306"/>
                  <a:pt x="584" y="1273"/>
                </a:cubicBezTo>
                <a:cubicBezTo>
                  <a:pt x="552" y="1243"/>
                  <a:pt x="552" y="1236"/>
                  <a:pt x="585" y="1236"/>
                </a:cubicBezTo>
                <a:cubicBezTo>
                  <a:pt x="598" y="1236"/>
                  <a:pt x="611" y="1237"/>
                  <a:pt x="615" y="1240"/>
                </a:cubicBezTo>
                <a:cubicBezTo>
                  <a:pt x="624" y="1245"/>
                  <a:pt x="635" y="1240"/>
                  <a:pt x="652" y="1224"/>
                </a:cubicBezTo>
                <a:cubicBezTo>
                  <a:pt x="661" y="1216"/>
                  <a:pt x="667" y="1214"/>
                  <a:pt x="679" y="1215"/>
                </a:cubicBezTo>
                <a:cubicBezTo>
                  <a:pt x="698" y="1216"/>
                  <a:pt x="707" y="1211"/>
                  <a:pt x="707" y="1198"/>
                </a:cubicBezTo>
                <a:cubicBezTo>
                  <a:pt x="707" y="1186"/>
                  <a:pt x="691" y="1139"/>
                  <a:pt x="676" y="1109"/>
                </a:cubicBezTo>
                <a:cubicBezTo>
                  <a:pt x="665" y="1087"/>
                  <a:pt x="664" y="1076"/>
                  <a:pt x="671" y="1076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20"/>
          <p:cNvSpPr/>
          <p:nvPr userDrawn="1">
            <p:custDataLst>
              <p:tags r:id="rId67"/>
            </p:custDataLst>
          </p:nvPr>
        </p:nvSpPr>
        <p:spPr bwMode="grayWhite">
          <a:xfrm>
            <a:off x="2386968" y="-2798874"/>
            <a:ext cx="541338" cy="639763"/>
          </a:xfrm>
          <a:custGeom>
            <a:gdLst>
              <a:gd name="T0" fmla="*/ 230 w 376"/>
              <a:gd name="T1" fmla="*/ 432 h 446"/>
              <a:gd name="T2" fmla="*/ 130 w 376"/>
              <a:gd name="T3" fmla="*/ 403 h 446"/>
              <a:gd name="T4" fmla="*/ 50 w 376"/>
              <a:gd name="T5" fmla="*/ 380 h 446"/>
              <a:gd name="T6" fmla="*/ 32 w 376"/>
              <a:gd name="T7" fmla="*/ 368 h 446"/>
              <a:gd name="T8" fmla="*/ 90 w 376"/>
              <a:gd name="T9" fmla="*/ 368 h 446"/>
              <a:gd name="T10" fmla="*/ 152 w 376"/>
              <a:gd name="T11" fmla="*/ 379 h 446"/>
              <a:gd name="T12" fmla="*/ 223 w 376"/>
              <a:gd name="T13" fmla="*/ 399 h 446"/>
              <a:gd name="T14" fmla="*/ 200 w 376"/>
              <a:gd name="T15" fmla="*/ 375 h 446"/>
              <a:gd name="T16" fmla="*/ 137 w 376"/>
              <a:gd name="T17" fmla="*/ 340 h 446"/>
              <a:gd name="T18" fmla="*/ 35 w 376"/>
              <a:gd name="T19" fmla="*/ 314 h 446"/>
              <a:gd name="T20" fmla="*/ 8 w 376"/>
              <a:gd name="T21" fmla="*/ 282 h 446"/>
              <a:gd name="T22" fmla="*/ 0 w 376"/>
              <a:gd name="T23" fmla="*/ 254 h 446"/>
              <a:gd name="T24" fmla="*/ 72 w 376"/>
              <a:gd name="T25" fmla="*/ 228 h 446"/>
              <a:gd name="T26" fmla="*/ 90 w 376"/>
              <a:gd name="T27" fmla="*/ 223 h 446"/>
              <a:gd name="T28" fmla="*/ 76 w 376"/>
              <a:gd name="T29" fmla="*/ 220 h 446"/>
              <a:gd name="T30" fmla="*/ 51 w 376"/>
              <a:gd name="T31" fmla="*/ 216 h 446"/>
              <a:gd name="T32" fmla="*/ 30 w 376"/>
              <a:gd name="T33" fmla="*/ 186 h 446"/>
              <a:gd name="T34" fmla="*/ 27 w 376"/>
              <a:gd name="T35" fmla="*/ 178 h 446"/>
              <a:gd name="T36" fmla="*/ 15 w 376"/>
              <a:gd name="T37" fmla="*/ 163 h 446"/>
              <a:gd name="T38" fmla="*/ 26 w 376"/>
              <a:gd name="T39" fmla="*/ 116 h 446"/>
              <a:gd name="T40" fmla="*/ 48 w 376"/>
              <a:gd name="T41" fmla="*/ 78 h 446"/>
              <a:gd name="T42" fmla="*/ 167 w 376"/>
              <a:gd name="T43" fmla="*/ 13 h 446"/>
              <a:gd name="T44" fmla="*/ 225 w 376"/>
              <a:gd name="T45" fmla="*/ 2 h 446"/>
              <a:gd name="T46" fmla="*/ 247 w 376"/>
              <a:gd name="T47" fmla="*/ 12 h 446"/>
              <a:gd name="T48" fmla="*/ 236 w 376"/>
              <a:gd name="T49" fmla="*/ 73 h 446"/>
              <a:gd name="T50" fmla="*/ 230 w 376"/>
              <a:gd name="T51" fmla="*/ 91 h 446"/>
              <a:gd name="T52" fmla="*/ 250 w 376"/>
              <a:gd name="T53" fmla="*/ 79 h 446"/>
              <a:gd name="T54" fmla="*/ 268 w 376"/>
              <a:gd name="T55" fmla="*/ 64 h 446"/>
              <a:gd name="T56" fmla="*/ 293 w 376"/>
              <a:gd name="T57" fmla="*/ 78 h 446"/>
              <a:gd name="T58" fmla="*/ 328 w 376"/>
              <a:gd name="T59" fmla="*/ 101 h 446"/>
              <a:gd name="T60" fmla="*/ 338 w 376"/>
              <a:gd name="T61" fmla="*/ 109 h 446"/>
              <a:gd name="T62" fmla="*/ 329 w 376"/>
              <a:gd name="T63" fmla="*/ 128 h 446"/>
              <a:gd name="T64" fmla="*/ 321 w 376"/>
              <a:gd name="T65" fmla="*/ 147 h 446"/>
              <a:gd name="T66" fmla="*/ 338 w 376"/>
              <a:gd name="T67" fmla="*/ 144 h 446"/>
              <a:gd name="T68" fmla="*/ 357 w 376"/>
              <a:gd name="T69" fmla="*/ 137 h 446"/>
              <a:gd name="T70" fmla="*/ 354 w 376"/>
              <a:gd name="T71" fmla="*/ 117 h 446"/>
              <a:gd name="T72" fmla="*/ 349 w 376"/>
              <a:gd name="T73" fmla="*/ 99 h 446"/>
              <a:gd name="T74" fmla="*/ 374 w 376"/>
              <a:gd name="T75" fmla="*/ 88 h 446"/>
              <a:gd name="T76" fmla="*/ 285 w 376"/>
              <a:gd name="T77" fmla="*/ 445 h 446"/>
              <a:gd name="T78" fmla="*/ 230 w 376"/>
              <a:gd name="T79" fmla="*/ 432 h 446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76" h="446">
                <a:moveTo>
                  <a:pt x="230" y="432"/>
                </a:moveTo>
                <a:cubicBezTo>
                  <a:pt x="202" y="424"/>
                  <a:pt x="157" y="411"/>
                  <a:pt x="130" y="403"/>
                </a:cubicBezTo>
                <a:cubicBezTo>
                  <a:pt x="104" y="395"/>
                  <a:pt x="68" y="385"/>
                  <a:pt x="50" y="380"/>
                </a:cubicBezTo>
                <a:cubicBezTo>
                  <a:pt x="20" y="371"/>
                  <a:pt x="19" y="370"/>
                  <a:pt x="32" y="368"/>
                </a:cubicBezTo>
                <a:cubicBezTo>
                  <a:pt x="40" y="367"/>
                  <a:pt x="66" y="367"/>
                  <a:pt x="90" y="368"/>
                </a:cubicBezTo>
                <a:cubicBezTo>
                  <a:pt x="126" y="369"/>
                  <a:pt x="138" y="371"/>
                  <a:pt x="152" y="379"/>
                </a:cubicBezTo>
                <a:cubicBezTo>
                  <a:pt x="171" y="388"/>
                  <a:pt x="220" y="402"/>
                  <a:pt x="223" y="399"/>
                </a:cubicBezTo>
                <a:cubicBezTo>
                  <a:pt x="223" y="399"/>
                  <a:pt x="213" y="388"/>
                  <a:pt x="200" y="375"/>
                </a:cubicBezTo>
                <a:cubicBezTo>
                  <a:pt x="175" y="351"/>
                  <a:pt x="156" y="341"/>
                  <a:pt x="137" y="340"/>
                </a:cubicBezTo>
                <a:cubicBezTo>
                  <a:pt x="123" y="340"/>
                  <a:pt x="60" y="324"/>
                  <a:pt x="35" y="314"/>
                </a:cubicBezTo>
                <a:cubicBezTo>
                  <a:pt x="16" y="306"/>
                  <a:pt x="15" y="305"/>
                  <a:pt x="8" y="282"/>
                </a:cubicBezTo>
                <a:cubicBezTo>
                  <a:pt x="4" y="269"/>
                  <a:pt x="0" y="256"/>
                  <a:pt x="0" y="254"/>
                </a:cubicBezTo>
                <a:cubicBezTo>
                  <a:pt x="0" y="249"/>
                  <a:pt x="19" y="243"/>
                  <a:pt x="72" y="228"/>
                </a:cubicBezTo>
                <a:cubicBezTo>
                  <a:pt x="90" y="223"/>
                  <a:pt x="90" y="223"/>
                  <a:pt x="90" y="223"/>
                </a:cubicBezTo>
                <a:cubicBezTo>
                  <a:pt x="76" y="220"/>
                  <a:pt x="76" y="220"/>
                  <a:pt x="76" y="220"/>
                </a:cubicBezTo>
                <a:cubicBezTo>
                  <a:pt x="68" y="218"/>
                  <a:pt x="57" y="216"/>
                  <a:pt x="51" y="216"/>
                </a:cubicBezTo>
                <a:cubicBezTo>
                  <a:pt x="39" y="215"/>
                  <a:pt x="26" y="197"/>
                  <a:pt x="30" y="186"/>
                </a:cubicBezTo>
                <a:cubicBezTo>
                  <a:pt x="31" y="183"/>
                  <a:pt x="30" y="179"/>
                  <a:pt x="27" y="178"/>
                </a:cubicBezTo>
                <a:cubicBezTo>
                  <a:pt x="24" y="176"/>
                  <a:pt x="19" y="169"/>
                  <a:pt x="15" y="163"/>
                </a:cubicBezTo>
                <a:cubicBezTo>
                  <a:pt x="5" y="148"/>
                  <a:pt x="9" y="134"/>
                  <a:pt x="26" y="116"/>
                </a:cubicBezTo>
                <a:cubicBezTo>
                  <a:pt x="42" y="99"/>
                  <a:pt x="48" y="88"/>
                  <a:pt x="48" y="78"/>
                </a:cubicBezTo>
                <a:cubicBezTo>
                  <a:pt x="48" y="57"/>
                  <a:pt x="107" y="25"/>
                  <a:pt x="167" y="13"/>
                </a:cubicBezTo>
                <a:cubicBezTo>
                  <a:pt x="188" y="9"/>
                  <a:pt x="214" y="4"/>
                  <a:pt x="225" y="2"/>
                </a:cubicBezTo>
                <a:cubicBezTo>
                  <a:pt x="242" y="0"/>
                  <a:pt x="243" y="0"/>
                  <a:pt x="247" y="12"/>
                </a:cubicBezTo>
                <a:cubicBezTo>
                  <a:pt x="252" y="26"/>
                  <a:pt x="248" y="49"/>
                  <a:pt x="236" y="73"/>
                </a:cubicBezTo>
                <a:cubicBezTo>
                  <a:pt x="231" y="82"/>
                  <a:pt x="228" y="90"/>
                  <a:pt x="230" y="91"/>
                </a:cubicBezTo>
                <a:cubicBezTo>
                  <a:pt x="231" y="93"/>
                  <a:pt x="240" y="87"/>
                  <a:pt x="250" y="79"/>
                </a:cubicBezTo>
                <a:cubicBezTo>
                  <a:pt x="268" y="64"/>
                  <a:pt x="268" y="64"/>
                  <a:pt x="268" y="64"/>
                </a:cubicBezTo>
                <a:cubicBezTo>
                  <a:pt x="293" y="78"/>
                  <a:pt x="293" y="78"/>
                  <a:pt x="293" y="78"/>
                </a:cubicBezTo>
                <a:cubicBezTo>
                  <a:pt x="307" y="86"/>
                  <a:pt x="322" y="96"/>
                  <a:pt x="328" y="101"/>
                </a:cubicBezTo>
                <a:cubicBezTo>
                  <a:pt x="338" y="109"/>
                  <a:pt x="338" y="109"/>
                  <a:pt x="338" y="109"/>
                </a:cubicBezTo>
                <a:cubicBezTo>
                  <a:pt x="329" y="128"/>
                  <a:pt x="329" y="128"/>
                  <a:pt x="329" y="128"/>
                </a:cubicBezTo>
                <a:cubicBezTo>
                  <a:pt x="321" y="147"/>
                  <a:pt x="321" y="147"/>
                  <a:pt x="321" y="147"/>
                </a:cubicBezTo>
                <a:cubicBezTo>
                  <a:pt x="338" y="144"/>
                  <a:pt x="338" y="144"/>
                  <a:pt x="338" y="144"/>
                </a:cubicBezTo>
                <a:cubicBezTo>
                  <a:pt x="347" y="142"/>
                  <a:pt x="355" y="139"/>
                  <a:pt x="357" y="137"/>
                </a:cubicBezTo>
                <a:cubicBezTo>
                  <a:pt x="358" y="136"/>
                  <a:pt x="357" y="127"/>
                  <a:pt x="354" y="117"/>
                </a:cubicBezTo>
                <a:cubicBezTo>
                  <a:pt x="350" y="108"/>
                  <a:pt x="348" y="99"/>
                  <a:pt x="349" y="99"/>
                </a:cubicBezTo>
                <a:cubicBezTo>
                  <a:pt x="366" y="88"/>
                  <a:pt x="372" y="85"/>
                  <a:pt x="374" y="88"/>
                </a:cubicBezTo>
                <a:cubicBezTo>
                  <a:pt x="376" y="91"/>
                  <a:pt x="289" y="441"/>
                  <a:pt x="285" y="445"/>
                </a:cubicBezTo>
                <a:cubicBezTo>
                  <a:pt x="283" y="446"/>
                  <a:pt x="259" y="441"/>
                  <a:pt x="230" y="432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21"/>
          <p:cNvSpPr/>
          <p:nvPr userDrawn="1">
            <p:custDataLst>
              <p:tags r:id="rId68"/>
            </p:custDataLst>
          </p:nvPr>
        </p:nvSpPr>
        <p:spPr bwMode="grayWhite">
          <a:xfrm>
            <a:off x="2071056" y="-3159236"/>
            <a:ext cx="623888" cy="614363"/>
          </a:xfrm>
          <a:custGeom>
            <a:gdLst>
              <a:gd name="T0" fmla="*/ 54 w 434"/>
              <a:gd name="T1" fmla="*/ 423 h 428"/>
              <a:gd name="T2" fmla="*/ 49 w 434"/>
              <a:gd name="T3" fmla="*/ 383 h 428"/>
              <a:gd name="T4" fmla="*/ 22 w 434"/>
              <a:gd name="T5" fmla="*/ 312 h 428"/>
              <a:gd name="T6" fmla="*/ 0 w 434"/>
              <a:gd name="T7" fmla="*/ 270 h 428"/>
              <a:gd name="T8" fmla="*/ 24 w 434"/>
              <a:gd name="T9" fmla="*/ 243 h 428"/>
              <a:gd name="T10" fmla="*/ 56 w 434"/>
              <a:gd name="T11" fmla="*/ 201 h 428"/>
              <a:gd name="T12" fmla="*/ 86 w 434"/>
              <a:gd name="T13" fmla="*/ 158 h 428"/>
              <a:gd name="T14" fmla="*/ 123 w 434"/>
              <a:gd name="T15" fmla="*/ 110 h 428"/>
              <a:gd name="T16" fmla="*/ 153 w 434"/>
              <a:gd name="T17" fmla="*/ 48 h 428"/>
              <a:gd name="T18" fmla="*/ 152 w 434"/>
              <a:gd name="T19" fmla="*/ 20 h 428"/>
              <a:gd name="T20" fmla="*/ 170 w 434"/>
              <a:gd name="T21" fmla="*/ 2 h 428"/>
              <a:gd name="T22" fmla="*/ 189 w 434"/>
              <a:gd name="T23" fmla="*/ 5 h 428"/>
              <a:gd name="T24" fmla="*/ 225 w 434"/>
              <a:gd name="T25" fmla="*/ 15 h 428"/>
              <a:gd name="T26" fmla="*/ 263 w 434"/>
              <a:gd name="T27" fmla="*/ 28 h 428"/>
              <a:gd name="T28" fmla="*/ 284 w 434"/>
              <a:gd name="T29" fmla="*/ 45 h 428"/>
              <a:gd name="T30" fmla="*/ 310 w 434"/>
              <a:gd name="T31" fmla="*/ 79 h 428"/>
              <a:gd name="T32" fmla="*/ 355 w 434"/>
              <a:gd name="T33" fmla="*/ 101 h 428"/>
              <a:gd name="T34" fmla="*/ 411 w 434"/>
              <a:gd name="T35" fmla="*/ 162 h 428"/>
              <a:gd name="T36" fmla="*/ 371 w 434"/>
              <a:gd name="T37" fmla="*/ 256 h 428"/>
              <a:gd name="T38" fmla="*/ 308 w 434"/>
              <a:gd name="T39" fmla="*/ 284 h 428"/>
              <a:gd name="T40" fmla="*/ 294 w 434"/>
              <a:gd name="T41" fmla="*/ 291 h 428"/>
              <a:gd name="T42" fmla="*/ 272 w 434"/>
              <a:gd name="T43" fmla="*/ 305 h 428"/>
              <a:gd name="T44" fmla="*/ 235 w 434"/>
              <a:gd name="T45" fmla="*/ 334 h 428"/>
              <a:gd name="T46" fmla="*/ 194 w 434"/>
              <a:gd name="T47" fmla="*/ 381 h 428"/>
              <a:gd name="T48" fmla="*/ 171 w 434"/>
              <a:gd name="T49" fmla="*/ 412 h 428"/>
              <a:gd name="T50" fmla="*/ 162 w 434"/>
              <a:gd name="T51" fmla="*/ 416 h 428"/>
              <a:gd name="T52" fmla="*/ 128 w 434"/>
              <a:gd name="T53" fmla="*/ 422 h 428"/>
              <a:gd name="T54" fmla="*/ 87 w 434"/>
              <a:gd name="T55" fmla="*/ 426 h 428"/>
              <a:gd name="T56" fmla="*/ 54 w 434"/>
              <a:gd name="T57" fmla="*/ 423 h 428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33" h="428">
                <a:moveTo>
                  <a:pt x="54" y="423"/>
                </a:moveTo>
                <a:cubicBezTo>
                  <a:pt x="53" y="420"/>
                  <a:pt x="51" y="402"/>
                  <a:pt x="49" y="383"/>
                </a:cubicBezTo>
                <a:cubicBezTo>
                  <a:pt x="45" y="352"/>
                  <a:pt x="43" y="345"/>
                  <a:pt x="22" y="312"/>
                </a:cubicBezTo>
                <a:cubicBezTo>
                  <a:pt x="10" y="291"/>
                  <a:pt x="0" y="273"/>
                  <a:pt x="0" y="270"/>
                </a:cubicBezTo>
                <a:cubicBezTo>
                  <a:pt x="0" y="264"/>
                  <a:pt x="12" y="250"/>
                  <a:pt x="24" y="243"/>
                </a:cubicBezTo>
                <a:cubicBezTo>
                  <a:pt x="30" y="239"/>
                  <a:pt x="44" y="220"/>
                  <a:pt x="56" y="201"/>
                </a:cubicBezTo>
                <a:cubicBezTo>
                  <a:pt x="68" y="181"/>
                  <a:pt x="81" y="162"/>
                  <a:pt x="86" y="158"/>
                </a:cubicBezTo>
                <a:cubicBezTo>
                  <a:pt x="90" y="153"/>
                  <a:pt x="106" y="132"/>
                  <a:pt x="123" y="110"/>
                </a:cubicBezTo>
                <a:cubicBezTo>
                  <a:pt x="151" y="73"/>
                  <a:pt x="152" y="70"/>
                  <a:pt x="153" y="48"/>
                </a:cubicBezTo>
                <a:cubicBezTo>
                  <a:pt x="153" y="36"/>
                  <a:pt x="153" y="23"/>
                  <a:pt x="152" y="20"/>
                </a:cubicBezTo>
                <a:cubicBezTo>
                  <a:pt x="151" y="13"/>
                  <a:pt x="164" y="0"/>
                  <a:pt x="170" y="2"/>
                </a:cubicBezTo>
                <a:cubicBezTo>
                  <a:pt x="172" y="2"/>
                  <a:pt x="181" y="4"/>
                  <a:pt x="189" y="5"/>
                </a:cubicBezTo>
                <a:cubicBezTo>
                  <a:pt x="197" y="6"/>
                  <a:pt x="213" y="10"/>
                  <a:pt x="225" y="15"/>
                </a:cubicBezTo>
                <a:cubicBezTo>
                  <a:pt x="237" y="20"/>
                  <a:pt x="254" y="25"/>
                  <a:pt x="263" y="28"/>
                </a:cubicBezTo>
                <a:cubicBezTo>
                  <a:pt x="277" y="31"/>
                  <a:pt x="280" y="34"/>
                  <a:pt x="284" y="45"/>
                </a:cubicBezTo>
                <a:cubicBezTo>
                  <a:pt x="286" y="52"/>
                  <a:pt x="298" y="67"/>
                  <a:pt x="310" y="79"/>
                </a:cubicBezTo>
                <a:cubicBezTo>
                  <a:pt x="331" y="101"/>
                  <a:pt x="332" y="101"/>
                  <a:pt x="355" y="101"/>
                </a:cubicBezTo>
                <a:cubicBezTo>
                  <a:pt x="387" y="100"/>
                  <a:pt x="392" y="105"/>
                  <a:pt x="411" y="162"/>
                </a:cubicBezTo>
                <a:cubicBezTo>
                  <a:pt x="434" y="234"/>
                  <a:pt x="431" y="242"/>
                  <a:pt x="371" y="256"/>
                </a:cubicBezTo>
                <a:cubicBezTo>
                  <a:pt x="343" y="263"/>
                  <a:pt x="315" y="275"/>
                  <a:pt x="308" y="284"/>
                </a:cubicBezTo>
                <a:cubicBezTo>
                  <a:pt x="307" y="285"/>
                  <a:pt x="301" y="288"/>
                  <a:pt x="294" y="291"/>
                </a:cubicBezTo>
                <a:cubicBezTo>
                  <a:pt x="287" y="294"/>
                  <a:pt x="277" y="300"/>
                  <a:pt x="272" y="305"/>
                </a:cubicBezTo>
                <a:cubicBezTo>
                  <a:pt x="267" y="310"/>
                  <a:pt x="250" y="323"/>
                  <a:pt x="235" y="334"/>
                </a:cubicBezTo>
                <a:cubicBezTo>
                  <a:pt x="214" y="350"/>
                  <a:pt x="205" y="359"/>
                  <a:pt x="194" y="381"/>
                </a:cubicBezTo>
                <a:cubicBezTo>
                  <a:pt x="186" y="395"/>
                  <a:pt x="176" y="410"/>
                  <a:pt x="171" y="412"/>
                </a:cubicBezTo>
                <a:cubicBezTo>
                  <a:pt x="166" y="415"/>
                  <a:pt x="162" y="416"/>
                  <a:pt x="162" y="416"/>
                </a:cubicBezTo>
                <a:cubicBezTo>
                  <a:pt x="162" y="415"/>
                  <a:pt x="157" y="415"/>
                  <a:pt x="128" y="422"/>
                </a:cubicBezTo>
                <a:cubicBezTo>
                  <a:pt x="123" y="423"/>
                  <a:pt x="104" y="425"/>
                  <a:pt x="87" y="426"/>
                </a:cubicBezTo>
                <a:cubicBezTo>
                  <a:pt x="63" y="428"/>
                  <a:pt x="56" y="427"/>
                  <a:pt x="54" y="423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22"/>
          <p:cNvSpPr/>
          <p:nvPr userDrawn="1">
            <p:custDataLst>
              <p:tags r:id="rId69"/>
            </p:custDataLst>
          </p:nvPr>
        </p:nvSpPr>
        <p:spPr bwMode="grayWhite">
          <a:xfrm>
            <a:off x="2679068" y="-3378312"/>
            <a:ext cx="363538" cy="425450"/>
          </a:xfrm>
          <a:custGeom>
            <a:gdLst>
              <a:gd name="T0" fmla="*/ 96 w 253"/>
              <a:gd name="T1" fmla="*/ 275 h 296"/>
              <a:gd name="T2" fmla="*/ 77 w 253"/>
              <a:gd name="T3" fmla="*/ 248 h 296"/>
              <a:gd name="T4" fmla="*/ 118 w 253"/>
              <a:gd name="T5" fmla="*/ 223 h 296"/>
              <a:gd name="T6" fmla="*/ 138 w 253"/>
              <a:gd name="T7" fmla="*/ 202 h 296"/>
              <a:gd name="T8" fmla="*/ 113 w 253"/>
              <a:gd name="T9" fmla="*/ 192 h 296"/>
              <a:gd name="T10" fmla="*/ 98 w 253"/>
              <a:gd name="T11" fmla="*/ 189 h 296"/>
              <a:gd name="T12" fmla="*/ 54 w 253"/>
              <a:gd name="T13" fmla="*/ 194 h 296"/>
              <a:gd name="T14" fmla="*/ 3 w 253"/>
              <a:gd name="T15" fmla="*/ 132 h 296"/>
              <a:gd name="T16" fmla="*/ 20 w 253"/>
              <a:gd name="T17" fmla="*/ 108 h 296"/>
              <a:gd name="T18" fmla="*/ 25 w 253"/>
              <a:gd name="T19" fmla="*/ 105 h 296"/>
              <a:gd name="T20" fmla="*/ 39 w 253"/>
              <a:gd name="T21" fmla="*/ 76 h 296"/>
              <a:gd name="T22" fmla="*/ 49 w 253"/>
              <a:gd name="T23" fmla="*/ 57 h 296"/>
              <a:gd name="T24" fmla="*/ 81 w 253"/>
              <a:gd name="T25" fmla="*/ 20 h 296"/>
              <a:gd name="T26" fmla="*/ 95 w 253"/>
              <a:gd name="T27" fmla="*/ 10 h 296"/>
              <a:gd name="T28" fmla="*/ 121 w 253"/>
              <a:gd name="T29" fmla="*/ 0 h 296"/>
              <a:gd name="T30" fmla="*/ 161 w 253"/>
              <a:gd name="T31" fmla="*/ 30 h 296"/>
              <a:gd name="T32" fmla="*/ 176 w 253"/>
              <a:gd name="T33" fmla="*/ 54 h 296"/>
              <a:gd name="T34" fmla="*/ 207 w 253"/>
              <a:gd name="T35" fmla="*/ 119 h 296"/>
              <a:gd name="T36" fmla="*/ 233 w 253"/>
              <a:gd name="T37" fmla="*/ 156 h 296"/>
              <a:gd name="T38" fmla="*/ 240 w 253"/>
              <a:gd name="T39" fmla="*/ 213 h 296"/>
              <a:gd name="T40" fmla="*/ 221 w 253"/>
              <a:gd name="T41" fmla="*/ 264 h 296"/>
              <a:gd name="T42" fmla="*/ 193 w 253"/>
              <a:gd name="T43" fmla="*/ 280 h 296"/>
              <a:gd name="T44" fmla="*/ 142 w 253"/>
              <a:gd name="T45" fmla="*/ 296 h 296"/>
              <a:gd name="T46" fmla="*/ 114 w 253"/>
              <a:gd name="T47" fmla="*/ 296 h 296"/>
              <a:gd name="T48" fmla="*/ 96 w 253"/>
              <a:gd name="T49" fmla="*/ 275 h 296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3" h="296">
                <a:moveTo>
                  <a:pt x="96" y="275"/>
                </a:moveTo>
                <a:cubicBezTo>
                  <a:pt x="85" y="264"/>
                  <a:pt x="77" y="252"/>
                  <a:pt x="77" y="248"/>
                </a:cubicBezTo>
                <a:cubicBezTo>
                  <a:pt x="77" y="238"/>
                  <a:pt x="93" y="228"/>
                  <a:pt x="118" y="223"/>
                </a:cubicBezTo>
                <a:cubicBezTo>
                  <a:pt x="159" y="215"/>
                  <a:pt x="170" y="202"/>
                  <a:pt x="138" y="202"/>
                </a:cubicBezTo>
                <a:cubicBezTo>
                  <a:pt x="124" y="202"/>
                  <a:pt x="119" y="199"/>
                  <a:pt x="113" y="192"/>
                </a:cubicBezTo>
                <a:cubicBezTo>
                  <a:pt x="106" y="182"/>
                  <a:pt x="105" y="182"/>
                  <a:pt x="98" y="189"/>
                </a:cubicBezTo>
                <a:cubicBezTo>
                  <a:pt x="88" y="197"/>
                  <a:pt x="65" y="200"/>
                  <a:pt x="54" y="194"/>
                </a:cubicBezTo>
                <a:cubicBezTo>
                  <a:pt x="43" y="188"/>
                  <a:pt x="5" y="143"/>
                  <a:pt x="3" y="132"/>
                </a:cubicBezTo>
                <a:cubicBezTo>
                  <a:pt x="0" y="122"/>
                  <a:pt x="10" y="108"/>
                  <a:pt x="20" y="108"/>
                </a:cubicBezTo>
                <a:cubicBezTo>
                  <a:pt x="23" y="108"/>
                  <a:pt x="25" y="106"/>
                  <a:pt x="25" y="105"/>
                </a:cubicBezTo>
                <a:cubicBezTo>
                  <a:pt x="27" y="92"/>
                  <a:pt x="30" y="85"/>
                  <a:pt x="39" y="76"/>
                </a:cubicBezTo>
                <a:cubicBezTo>
                  <a:pt x="45" y="70"/>
                  <a:pt x="49" y="62"/>
                  <a:pt x="49" y="57"/>
                </a:cubicBezTo>
                <a:cubicBezTo>
                  <a:pt x="49" y="47"/>
                  <a:pt x="72" y="20"/>
                  <a:pt x="81" y="20"/>
                </a:cubicBezTo>
                <a:cubicBezTo>
                  <a:pt x="85" y="20"/>
                  <a:pt x="91" y="15"/>
                  <a:pt x="95" y="10"/>
                </a:cubicBezTo>
                <a:cubicBezTo>
                  <a:pt x="100" y="1"/>
                  <a:pt x="104" y="0"/>
                  <a:pt x="121" y="0"/>
                </a:cubicBezTo>
                <a:cubicBezTo>
                  <a:pt x="146" y="0"/>
                  <a:pt x="161" y="11"/>
                  <a:pt x="161" y="30"/>
                </a:cubicBezTo>
                <a:cubicBezTo>
                  <a:pt x="161" y="41"/>
                  <a:pt x="164" y="45"/>
                  <a:pt x="176" y="54"/>
                </a:cubicBezTo>
                <a:cubicBezTo>
                  <a:pt x="197" y="67"/>
                  <a:pt x="206" y="87"/>
                  <a:pt x="207" y="119"/>
                </a:cubicBezTo>
                <a:cubicBezTo>
                  <a:pt x="208" y="147"/>
                  <a:pt x="214" y="156"/>
                  <a:pt x="233" y="156"/>
                </a:cubicBezTo>
                <a:cubicBezTo>
                  <a:pt x="253" y="156"/>
                  <a:pt x="253" y="158"/>
                  <a:pt x="240" y="213"/>
                </a:cubicBezTo>
                <a:cubicBezTo>
                  <a:pt x="231" y="250"/>
                  <a:pt x="226" y="264"/>
                  <a:pt x="221" y="264"/>
                </a:cubicBezTo>
                <a:cubicBezTo>
                  <a:pt x="218" y="264"/>
                  <a:pt x="205" y="271"/>
                  <a:pt x="193" y="280"/>
                </a:cubicBezTo>
                <a:cubicBezTo>
                  <a:pt x="171" y="295"/>
                  <a:pt x="168" y="296"/>
                  <a:pt x="142" y="296"/>
                </a:cubicBezTo>
                <a:cubicBezTo>
                  <a:pt x="114" y="296"/>
                  <a:pt x="114" y="296"/>
                  <a:pt x="114" y="296"/>
                </a:cubicBezTo>
                <a:lnTo>
                  <a:pt x="96" y="275"/>
                </a:ln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Freeform 23"/>
          <p:cNvSpPr/>
          <p:nvPr userDrawn="1">
            <p:custDataLst>
              <p:tags r:id="rId70"/>
            </p:custDataLst>
          </p:nvPr>
        </p:nvSpPr>
        <p:spPr bwMode="grayWhite">
          <a:xfrm>
            <a:off x="2615568" y="-3341799"/>
            <a:ext cx="125413" cy="106363"/>
          </a:xfrm>
          <a:custGeom>
            <a:gdLst>
              <a:gd name="T0" fmla="*/ 16 w 87"/>
              <a:gd name="T1" fmla="*/ 72 h 74"/>
              <a:gd name="T2" fmla="*/ 5 w 87"/>
              <a:gd name="T3" fmla="*/ 55 h 74"/>
              <a:gd name="T4" fmla="*/ 39 w 87"/>
              <a:gd name="T5" fmla="*/ 12 h 74"/>
              <a:gd name="T6" fmla="*/ 80 w 87"/>
              <a:gd name="T7" fmla="*/ 8 h 74"/>
              <a:gd name="T8" fmla="*/ 70 w 87"/>
              <a:gd name="T9" fmla="*/ 38 h 74"/>
              <a:gd name="T10" fmla="*/ 42 w 87"/>
              <a:gd name="T11" fmla="*/ 62 h 74"/>
              <a:gd name="T12" fmla="*/ 25 w 87"/>
              <a:gd name="T13" fmla="*/ 74 h 74"/>
              <a:gd name="T14" fmla="*/ 16 w 87"/>
              <a:gd name="T15" fmla="*/ 72 h 7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7" h="74">
                <a:moveTo>
                  <a:pt x="16" y="72"/>
                </a:moveTo>
                <a:cubicBezTo>
                  <a:pt x="12" y="71"/>
                  <a:pt x="8" y="63"/>
                  <a:pt x="5" y="55"/>
                </a:cubicBezTo>
                <a:cubicBezTo>
                  <a:pt x="0" y="35"/>
                  <a:pt x="8" y="25"/>
                  <a:pt x="39" y="12"/>
                </a:cubicBezTo>
                <a:cubicBezTo>
                  <a:pt x="66" y="1"/>
                  <a:pt x="74" y="0"/>
                  <a:pt x="80" y="8"/>
                </a:cubicBezTo>
                <a:cubicBezTo>
                  <a:pt x="87" y="17"/>
                  <a:pt x="84" y="27"/>
                  <a:pt x="70" y="38"/>
                </a:cubicBezTo>
                <a:cubicBezTo>
                  <a:pt x="62" y="44"/>
                  <a:pt x="50" y="54"/>
                  <a:pt x="42" y="62"/>
                </a:cubicBezTo>
                <a:cubicBezTo>
                  <a:pt x="34" y="69"/>
                  <a:pt x="26" y="74"/>
                  <a:pt x="25" y="74"/>
                </a:cubicBezTo>
                <a:cubicBezTo>
                  <a:pt x="24" y="74"/>
                  <a:pt x="20" y="73"/>
                  <a:pt x="16" y="72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24"/>
          <p:cNvSpPr/>
          <p:nvPr userDrawn="1">
            <p:custDataLst>
              <p:tags r:id="rId71"/>
            </p:custDataLst>
          </p:nvPr>
        </p:nvSpPr>
        <p:spPr bwMode="grayWhite">
          <a:xfrm>
            <a:off x="2477456" y="-3591037"/>
            <a:ext cx="411163" cy="274638"/>
          </a:xfrm>
          <a:custGeom>
            <a:gdLst>
              <a:gd name="T0" fmla="*/ 75 w 286"/>
              <a:gd name="T1" fmla="*/ 177 h 191"/>
              <a:gd name="T2" fmla="*/ 69 w 286"/>
              <a:gd name="T3" fmla="*/ 161 h 191"/>
              <a:gd name="T4" fmla="*/ 47 w 286"/>
              <a:gd name="T5" fmla="*/ 152 h 191"/>
              <a:gd name="T6" fmla="*/ 18 w 286"/>
              <a:gd name="T7" fmla="*/ 107 h 191"/>
              <a:gd name="T8" fmla="*/ 45 w 286"/>
              <a:gd name="T9" fmla="*/ 89 h 191"/>
              <a:gd name="T10" fmla="*/ 82 w 286"/>
              <a:gd name="T11" fmla="*/ 74 h 191"/>
              <a:gd name="T12" fmla="*/ 105 w 286"/>
              <a:gd name="T13" fmla="*/ 65 h 191"/>
              <a:gd name="T14" fmla="*/ 137 w 286"/>
              <a:gd name="T15" fmla="*/ 41 h 191"/>
              <a:gd name="T16" fmla="*/ 210 w 286"/>
              <a:gd name="T17" fmla="*/ 4 h 191"/>
              <a:gd name="T18" fmla="*/ 245 w 286"/>
              <a:gd name="T19" fmla="*/ 2 h 191"/>
              <a:gd name="T20" fmla="*/ 279 w 286"/>
              <a:gd name="T21" fmla="*/ 18 h 191"/>
              <a:gd name="T22" fmla="*/ 259 w 286"/>
              <a:gd name="T23" fmla="*/ 71 h 191"/>
              <a:gd name="T24" fmla="*/ 250 w 286"/>
              <a:gd name="T25" fmla="*/ 95 h 191"/>
              <a:gd name="T26" fmla="*/ 231 w 286"/>
              <a:gd name="T27" fmla="*/ 126 h 191"/>
              <a:gd name="T28" fmla="*/ 209 w 286"/>
              <a:gd name="T29" fmla="*/ 143 h 191"/>
              <a:gd name="T30" fmla="*/ 183 w 286"/>
              <a:gd name="T31" fmla="*/ 151 h 191"/>
              <a:gd name="T32" fmla="*/ 185 w 286"/>
              <a:gd name="T33" fmla="*/ 109 h 191"/>
              <a:gd name="T34" fmla="*/ 193 w 286"/>
              <a:gd name="T35" fmla="*/ 99 h 191"/>
              <a:gd name="T36" fmla="*/ 139 w 286"/>
              <a:gd name="T37" fmla="*/ 147 h 191"/>
              <a:gd name="T38" fmla="*/ 75 w 286"/>
              <a:gd name="T39" fmla="*/ 177 h 191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86" h="191">
                <a:moveTo>
                  <a:pt x="75" y="177"/>
                </a:moveTo>
                <a:cubicBezTo>
                  <a:pt x="72" y="174"/>
                  <a:pt x="69" y="167"/>
                  <a:pt x="69" y="161"/>
                </a:cubicBezTo>
                <a:cubicBezTo>
                  <a:pt x="69" y="152"/>
                  <a:pt x="68" y="152"/>
                  <a:pt x="47" y="152"/>
                </a:cubicBezTo>
                <a:cubicBezTo>
                  <a:pt x="12" y="152"/>
                  <a:pt x="0" y="134"/>
                  <a:pt x="18" y="107"/>
                </a:cubicBezTo>
                <a:cubicBezTo>
                  <a:pt x="25" y="98"/>
                  <a:pt x="32" y="93"/>
                  <a:pt x="45" y="89"/>
                </a:cubicBezTo>
                <a:cubicBezTo>
                  <a:pt x="55" y="87"/>
                  <a:pt x="72" y="80"/>
                  <a:pt x="82" y="74"/>
                </a:cubicBezTo>
                <a:cubicBezTo>
                  <a:pt x="93" y="68"/>
                  <a:pt x="103" y="64"/>
                  <a:pt x="105" y="65"/>
                </a:cubicBezTo>
                <a:cubicBezTo>
                  <a:pt x="107" y="67"/>
                  <a:pt x="121" y="55"/>
                  <a:pt x="137" y="41"/>
                </a:cubicBezTo>
                <a:cubicBezTo>
                  <a:pt x="174" y="6"/>
                  <a:pt x="180" y="3"/>
                  <a:pt x="210" y="4"/>
                </a:cubicBezTo>
                <a:cubicBezTo>
                  <a:pt x="224" y="4"/>
                  <a:pt x="240" y="3"/>
                  <a:pt x="245" y="2"/>
                </a:cubicBezTo>
                <a:cubicBezTo>
                  <a:pt x="257" y="0"/>
                  <a:pt x="275" y="9"/>
                  <a:pt x="279" y="18"/>
                </a:cubicBezTo>
                <a:cubicBezTo>
                  <a:pt x="286" y="38"/>
                  <a:pt x="278" y="60"/>
                  <a:pt x="259" y="71"/>
                </a:cubicBezTo>
                <a:cubicBezTo>
                  <a:pt x="254" y="73"/>
                  <a:pt x="251" y="82"/>
                  <a:pt x="250" y="95"/>
                </a:cubicBezTo>
                <a:cubicBezTo>
                  <a:pt x="248" y="114"/>
                  <a:pt x="247" y="116"/>
                  <a:pt x="231" y="126"/>
                </a:cubicBezTo>
                <a:cubicBezTo>
                  <a:pt x="221" y="131"/>
                  <a:pt x="211" y="139"/>
                  <a:pt x="209" y="143"/>
                </a:cubicBezTo>
                <a:cubicBezTo>
                  <a:pt x="204" y="153"/>
                  <a:pt x="190" y="157"/>
                  <a:pt x="183" y="151"/>
                </a:cubicBezTo>
                <a:cubicBezTo>
                  <a:pt x="174" y="144"/>
                  <a:pt x="175" y="117"/>
                  <a:pt x="185" y="109"/>
                </a:cubicBezTo>
                <a:cubicBezTo>
                  <a:pt x="190" y="105"/>
                  <a:pt x="193" y="100"/>
                  <a:pt x="193" y="99"/>
                </a:cubicBezTo>
                <a:cubicBezTo>
                  <a:pt x="193" y="94"/>
                  <a:pt x="178" y="107"/>
                  <a:pt x="139" y="147"/>
                </a:cubicBezTo>
                <a:cubicBezTo>
                  <a:pt x="100" y="185"/>
                  <a:pt x="89" y="191"/>
                  <a:pt x="75" y="177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25"/>
          <p:cNvSpPr/>
          <p:nvPr userDrawn="1">
            <p:custDataLst>
              <p:tags r:id="rId72"/>
            </p:custDataLst>
          </p:nvPr>
        </p:nvSpPr>
        <p:spPr bwMode="grayWhite">
          <a:xfrm>
            <a:off x="2929894" y="-3659299"/>
            <a:ext cx="214313" cy="177800"/>
          </a:xfrm>
          <a:custGeom>
            <a:gdLst>
              <a:gd name="T0" fmla="*/ 73 w 150"/>
              <a:gd name="T1" fmla="*/ 116 h 124"/>
              <a:gd name="T2" fmla="*/ 48 w 150"/>
              <a:gd name="T3" fmla="*/ 88 h 124"/>
              <a:gd name="T4" fmla="*/ 39 w 150"/>
              <a:gd name="T5" fmla="*/ 61 h 124"/>
              <a:gd name="T6" fmla="*/ 31 w 150"/>
              <a:gd name="T7" fmla="*/ 51 h 124"/>
              <a:gd name="T8" fmla="*/ 19 w 150"/>
              <a:gd name="T9" fmla="*/ 0 h 124"/>
              <a:gd name="T10" fmla="*/ 39 w 150"/>
              <a:gd name="T11" fmla="*/ 19 h 124"/>
              <a:gd name="T12" fmla="*/ 52 w 150"/>
              <a:gd name="T13" fmla="*/ 22 h 124"/>
              <a:gd name="T14" fmla="*/ 145 w 150"/>
              <a:gd name="T15" fmla="*/ 17 h 124"/>
              <a:gd name="T16" fmla="*/ 146 w 150"/>
              <a:gd name="T17" fmla="*/ 36 h 124"/>
              <a:gd name="T18" fmla="*/ 141 w 150"/>
              <a:gd name="T19" fmla="*/ 62 h 124"/>
              <a:gd name="T20" fmla="*/ 123 w 150"/>
              <a:gd name="T21" fmla="*/ 114 h 124"/>
              <a:gd name="T22" fmla="*/ 73 w 150"/>
              <a:gd name="T23" fmla="*/ 116 h 12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50" h="124">
                <a:moveTo>
                  <a:pt x="73" y="116"/>
                </a:moveTo>
                <a:cubicBezTo>
                  <a:pt x="60" y="110"/>
                  <a:pt x="55" y="105"/>
                  <a:pt x="48" y="88"/>
                </a:cubicBezTo>
                <a:cubicBezTo>
                  <a:pt x="43" y="76"/>
                  <a:pt x="39" y="64"/>
                  <a:pt x="39" y="61"/>
                </a:cubicBezTo>
                <a:cubicBezTo>
                  <a:pt x="39" y="58"/>
                  <a:pt x="35" y="53"/>
                  <a:pt x="31" y="51"/>
                </a:cubicBezTo>
                <a:cubicBezTo>
                  <a:pt x="9" y="37"/>
                  <a:pt x="0" y="0"/>
                  <a:pt x="19" y="0"/>
                </a:cubicBezTo>
                <a:cubicBezTo>
                  <a:pt x="27" y="0"/>
                  <a:pt x="39" y="11"/>
                  <a:pt x="39" y="19"/>
                </a:cubicBezTo>
                <a:cubicBezTo>
                  <a:pt x="39" y="23"/>
                  <a:pt x="43" y="24"/>
                  <a:pt x="52" y="22"/>
                </a:cubicBezTo>
                <a:cubicBezTo>
                  <a:pt x="69" y="18"/>
                  <a:pt x="138" y="14"/>
                  <a:pt x="145" y="17"/>
                </a:cubicBezTo>
                <a:cubicBezTo>
                  <a:pt x="149" y="19"/>
                  <a:pt x="150" y="23"/>
                  <a:pt x="146" y="36"/>
                </a:cubicBezTo>
                <a:cubicBezTo>
                  <a:pt x="144" y="46"/>
                  <a:pt x="142" y="57"/>
                  <a:pt x="141" y="62"/>
                </a:cubicBezTo>
                <a:cubicBezTo>
                  <a:pt x="135" y="92"/>
                  <a:pt x="130" y="108"/>
                  <a:pt x="123" y="114"/>
                </a:cubicBezTo>
                <a:cubicBezTo>
                  <a:pt x="113" y="123"/>
                  <a:pt x="91" y="124"/>
                  <a:pt x="73" y="116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26"/>
          <p:cNvSpPr/>
          <p:nvPr userDrawn="1">
            <p:custDataLst>
              <p:tags r:id="rId73"/>
            </p:custDataLst>
          </p:nvPr>
        </p:nvSpPr>
        <p:spPr bwMode="grayWhite">
          <a:xfrm>
            <a:off x="3037844" y="-3752962"/>
            <a:ext cx="133350" cy="98425"/>
          </a:xfrm>
          <a:custGeom>
            <a:gdLst>
              <a:gd name="T0" fmla="*/ 68 w 93"/>
              <a:gd name="T1" fmla="*/ 65 h 69"/>
              <a:gd name="T2" fmla="*/ 56 w 93"/>
              <a:gd name="T3" fmla="*/ 57 h 69"/>
              <a:gd name="T4" fmla="*/ 38 w 93"/>
              <a:gd name="T5" fmla="*/ 44 h 69"/>
              <a:gd name="T6" fmla="*/ 20 w 93"/>
              <a:gd name="T7" fmla="*/ 39 h 69"/>
              <a:gd name="T8" fmla="*/ 6 w 93"/>
              <a:gd name="T9" fmla="*/ 37 h 69"/>
              <a:gd name="T10" fmla="*/ 41 w 93"/>
              <a:gd name="T11" fmla="*/ 7 h 69"/>
              <a:gd name="T12" fmla="*/ 50 w 93"/>
              <a:gd name="T13" fmla="*/ 4 h 69"/>
              <a:gd name="T14" fmla="*/ 90 w 93"/>
              <a:gd name="T15" fmla="*/ 5 h 69"/>
              <a:gd name="T16" fmla="*/ 73 w 93"/>
              <a:gd name="T17" fmla="*/ 69 h 69"/>
              <a:gd name="T18" fmla="*/ 68 w 93"/>
              <a:gd name="T19" fmla="*/ 65 h 6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3" h="69">
                <a:moveTo>
                  <a:pt x="68" y="65"/>
                </a:moveTo>
                <a:cubicBezTo>
                  <a:pt x="68" y="63"/>
                  <a:pt x="63" y="59"/>
                  <a:pt x="56" y="57"/>
                </a:cubicBezTo>
                <a:cubicBezTo>
                  <a:pt x="50" y="54"/>
                  <a:pt x="42" y="48"/>
                  <a:pt x="38" y="44"/>
                </a:cubicBezTo>
                <a:cubicBezTo>
                  <a:pt x="33" y="38"/>
                  <a:pt x="28" y="37"/>
                  <a:pt x="20" y="39"/>
                </a:cubicBezTo>
                <a:cubicBezTo>
                  <a:pt x="14" y="40"/>
                  <a:pt x="8" y="39"/>
                  <a:pt x="6" y="37"/>
                </a:cubicBezTo>
                <a:cubicBezTo>
                  <a:pt x="0" y="27"/>
                  <a:pt x="30" y="1"/>
                  <a:pt x="41" y="7"/>
                </a:cubicBezTo>
                <a:cubicBezTo>
                  <a:pt x="43" y="8"/>
                  <a:pt x="47" y="7"/>
                  <a:pt x="50" y="4"/>
                </a:cubicBezTo>
                <a:cubicBezTo>
                  <a:pt x="55" y="0"/>
                  <a:pt x="86" y="1"/>
                  <a:pt x="90" y="5"/>
                </a:cubicBezTo>
                <a:cubicBezTo>
                  <a:pt x="93" y="9"/>
                  <a:pt x="78" y="69"/>
                  <a:pt x="73" y="69"/>
                </a:cubicBezTo>
                <a:cubicBezTo>
                  <a:pt x="70" y="69"/>
                  <a:pt x="68" y="67"/>
                  <a:pt x="68" y="65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Freeform 27"/>
          <p:cNvSpPr/>
          <p:nvPr userDrawn="1">
            <p:custDataLst>
              <p:tags r:id="rId74"/>
            </p:custDataLst>
          </p:nvPr>
        </p:nvSpPr>
        <p:spPr bwMode="grayWhite">
          <a:xfrm>
            <a:off x="2382206" y="-2767124"/>
            <a:ext cx="965200" cy="930275"/>
          </a:xfrm>
          <a:custGeom>
            <a:gdLst>
              <a:gd name="T0" fmla="*/ 542 w 672"/>
              <a:gd name="T1" fmla="*/ 643 h 648"/>
              <a:gd name="T2" fmla="*/ 472 w 672"/>
              <a:gd name="T3" fmla="*/ 602 h 648"/>
              <a:gd name="T4" fmla="*/ 444 w 672"/>
              <a:gd name="T5" fmla="*/ 585 h 648"/>
              <a:gd name="T6" fmla="*/ 428 w 672"/>
              <a:gd name="T7" fmla="*/ 572 h 648"/>
              <a:gd name="T8" fmla="*/ 427 w 672"/>
              <a:gd name="T9" fmla="*/ 562 h 648"/>
              <a:gd name="T10" fmla="*/ 406 w 672"/>
              <a:gd name="T11" fmla="*/ 562 h 648"/>
              <a:gd name="T12" fmla="*/ 354 w 672"/>
              <a:gd name="T13" fmla="*/ 586 h 648"/>
              <a:gd name="T14" fmla="*/ 325 w 672"/>
              <a:gd name="T15" fmla="*/ 593 h 648"/>
              <a:gd name="T16" fmla="*/ 235 w 672"/>
              <a:gd name="T17" fmla="*/ 605 h 648"/>
              <a:gd name="T18" fmla="*/ 124 w 672"/>
              <a:gd name="T19" fmla="*/ 586 h 648"/>
              <a:gd name="T20" fmla="*/ 122 w 672"/>
              <a:gd name="T21" fmla="*/ 565 h 648"/>
              <a:gd name="T22" fmla="*/ 119 w 672"/>
              <a:gd name="T23" fmla="*/ 525 h 648"/>
              <a:gd name="T24" fmla="*/ 88 w 672"/>
              <a:gd name="T25" fmla="*/ 485 h 648"/>
              <a:gd name="T26" fmla="*/ 16 w 672"/>
              <a:gd name="T27" fmla="*/ 434 h 648"/>
              <a:gd name="T28" fmla="*/ 15 w 672"/>
              <a:gd name="T29" fmla="*/ 428 h 648"/>
              <a:gd name="T30" fmla="*/ 8 w 672"/>
              <a:gd name="T31" fmla="*/ 393 h 648"/>
              <a:gd name="T32" fmla="*/ 0 w 672"/>
              <a:gd name="T33" fmla="*/ 358 h 648"/>
              <a:gd name="T34" fmla="*/ 174 w 672"/>
              <a:gd name="T35" fmla="*/ 406 h 648"/>
              <a:gd name="T36" fmla="*/ 298 w 672"/>
              <a:gd name="T37" fmla="*/ 442 h 648"/>
              <a:gd name="T38" fmla="*/ 344 w 672"/>
              <a:gd name="T39" fmla="*/ 262 h 648"/>
              <a:gd name="T40" fmla="*/ 391 w 672"/>
              <a:gd name="T41" fmla="*/ 79 h 648"/>
              <a:gd name="T42" fmla="*/ 409 w 672"/>
              <a:gd name="T43" fmla="*/ 113 h 648"/>
              <a:gd name="T44" fmla="*/ 423 w 672"/>
              <a:gd name="T45" fmla="*/ 191 h 648"/>
              <a:gd name="T46" fmla="*/ 439 w 672"/>
              <a:gd name="T47" fmla="*/ 236 h 648"/>
              <a:gd name="T48" fmla="*/ 446 w 672"/>
              <a:gd name="T49" fmla="*/ 198 h 648"/>
              <a:gd name="T50" fmla="*/ 443 w 672"/>
              <a:gd name="T51" fmla="*/ 119 h 648"/>
              <a:gd name="T52" fmla="*/ 441 w 672"/>
              <a:gd name="T53" fmla="*/ 69 h 648"/>
              <a:gd name="T54" fmla="*/ 453 w 672"/>
              <a:gd name="T55" fmla="*/ 56 h 648"/>
              <a:gd name="T56" fmla="*/ 482 w 672"/>
              <a:gd name="T57" fmla="*/ 46 h 648"/>
              <a:gd name="T58" fmla="*/ 507 w 672"/>
              <a:gd name="T59" fmla="*/ 61 h 648"/>
              <a:gd name="T60" fmla="*/ 510 w 672"/>
              <a:gd name="T61" fmla="*/ 62 h 648"/>
              <a:gd name="T62" fmla="*/ 500 w 672"/>
              <a:gd name="T63" fmla="*/ 40 h 648"/>
              <a:gd name="T64" fmla="*/ 532 w 672"/>
              <a:gd name="T65" fmla="*/ 4 h 648"/>
              <a:gd name="T66" fmla="*/ 586 w 672"/>
              <a:gd name="T67" fmla="*/ 29 h 648"/>
              <a:gd name="T68" fmla="*/ 569 w 672"/>
              <a:gd name="T69" fmla="*/ 99 h 648"/>
              <a:gd name="T70" fmla="*/ 548 w 672"/>
              <a:gd name="T71" fmla="*/ 126 h 648"/>
              <a:gd name="T72" fmla="*/ 548 w 672"/>
              <a:gd name="T73" fmla="*/ 176 h 648"/>
              <a:gd name="T74" fmla="*/ 561 w 672"/>
              <a:gd name="T75" fmla="*/ 289 h 648"/>
              <a:gd name="T76" fmla="*/ 557 w 672"/>
              <a:gd name="T77" fmla="*/ 326 h 648"/>
              <a:gd name="T78" fmla="*/ 550 w 672"/>
              <a:gd name="T79" fmla="*/ 362 h 648"/>
              <a:gd name="T80" fmla="*/ 615 w 672"/>
              <a:gd name="T81" fmla="*/ 447 h 648"/>
              <a:gd name="T82" fmla="*/ 663 w 672"/>
              <a:gd name="T83" fmla="*/ 535 h 648"/>
              <a:gd name="T84" fmla="*/ 637 w 672"/>
              <a:gd name="T85" fmla="*/ 544 h 648"/>
              <a:gd name="T86" fmla="*/ 610 w 672"/>
              <a:gd name="T87" fmla="*/ 538 h 648"/>
              <a:gd name="T88" fmla="*/ 602 w 672"/>
              <a:gd name="T89" fmla="*/ 535 h 648"/>
              <a:gd name="T90" fmla="*/ 606 w 672"/>
              <a:gd name="T91" fmla="*/ 568 h 648"/>
              <a:gd name="T92" fmla="*/ 592 w 672"/>
              <a:gd name="T93" fmla="*/ 640 h 648"/>
              <a:gd name="T94" fmla="*/ 542 w 672"/>
              <a:gd name="T95" fmla="*/ 643 h 648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72" h="648">
                <a:moveTo>
                  <a:pt x="542" y="643"/>
                </a:moveTo>
                <a:cubicBezTo>
                  <a:pt x="523" y="638"/>
                  <a:pt x="493" y="621"/>
                  <a:pt x="472" y="602"/>
                </a:cubicBezTo>
                <a:cubicBezTo>
                  <a:pt x="466" y="597"/>
                  <a:pt x="453" y="589"/>
                  <a:pt x="444" y="585"/>
                </a:cubicBezTo>
                <a:cubicBezTo>
                  <a:pt x="435" y="581"/>
                  <a:pt x="428" y="575"/>
                  <a:pt x="428" y="572"/>
                </a:cubicBezTo>
                <a:cubicBezTo>
                  <a:pt x="427" y="569"/>
                  <a:pt x="427" y="564"/>
                  <a:pt x="427" y="562"/>
                </a:cubicBezTo>
                <a:cubicBezTo>
                  <a:pt x="426" y="553"/>
                  <a:pt x="409" y="553"/>
                  <a:pt x="406" y="562"/>
                </a:cubicBezTo>
                <a:cubicBezTo>
                  <a:pt x="402" y="574"/>
                  <a:pt x="382" y="583"/>
                  <a:pt x="354" y="586"/>
                </a:cubicBezTo>
                <a:cubicBezTo>
                  <a:pt x="341" y="587"/>
                  <a:pt x="328" y="590"/>
                  <a:pt x="325" y="593"/>
                </a:cubicBezTo>
                <a:cubicBezTo>
                  <a:pt x="313" y="605"/>
                  <a:pt x="292" y="608"/>
                  <a:pt x="235" y="605"/>
                </a:cubicBezTo>
                <a:cubicBezTo>
                  <a:pt x="150" y="601"/>
                  <a:pt x="124" y="597"/>
                  <a:pt x="124" y="586"/>
                </a:cubicBezTo>
                <a:cubicBezTo>
                  <a:pt x="124" y="583"/>
                  <a:pt x="123" y="573"/>
                  <a:pt x="122" y="565"/>
                </a:cubicBezTo>
                <a:cubicBezTo>
                  <a:pt x="121" y="556"/>
                  <a:pt x="120" y="538"/>
                  <a:pt x="119" y="525"/>
                </a:cubicBezTo>
                <a:cubicBezTo>
                  <a:pt x="117" y="498"/>
                  <a:pt x="109" y="488"/>
                  <a:pt x="88" y="485"/>
                </a:cubicBezTo>
                <a:cubicBezTo>
                  <a:pt x="64" y="480"/>
                  <a:pt x="16" y="447"/>
                  <a:pt x="16" y="434"/>
                </a:cubicBezTo>
                <a:cubicBezTo>
                  <a:pt x="16" y="432"/>
                  <a:pt x="16" y="429"/>
                  <a:pt x="15" y="428"/>
                </a:cubicBezTo>
                <a:cubicBezTo>
                  <a:pt x="15" y="426"/>
                  <a:pt x="12" y="410"/>
                  <a:pt x="8" y="393"/>
                </a:cubicBezTo>
                <a:cubicBezTo>
                  <a:pt x="4" y="375"/>
                  <a:pt x="0" y="359"/>
                  <a:pt x="0" y="358"/>
                </a:cubicBezTo>
                <a:cubicBezTo>
                  <a:pt x="0" y="355"/>
                  <a:pt x="1" y="355"/>
                  <a:pt x="174" y="406"/>
                </a:cubicBezTo>
                <a:cubicBezTo>
                  <a:pt x="241" y="427"/>
                  <a:pt x="298" y="442"/>
                  <a:pt x="298" y="442"/>
                </a:cubicBezTo>
                <a:cubicBezTo>
                  <a:pt x="299" y="441"/>
                  <a:pt x="320" y="360"/>
                  <a:pt x="344" y="262"/>
                </a:cubicBezTo>
                <a:cubicBezTo>
                  <a:pt x="369" y="165"/>
                  <a:pt x="390" y="82"/>
                  <a:pt x="391" y="79"/>
                </a:cubicBezTo>
                <a:cubicBezTo>
                  <a:pt x="392" y="75"/>
                  <a:pt x="400" y="91"/>
                  <a:pt x="409" y="113"/>
                </a:cubicBezTo>
                <a:cubicBezTo>
                  <a:pt x="424" y="151"/>
                  <a:pt x="424" y="154"/>
                  <a:pt x="423" y="191"/>
                </a:cubicBezTo>
                <a:cubicBezTo>
                  <a:pt x="421" y="237"/>
                  <a:pt x="425" y="249"/>
                  <a:pt x="439" y="236"/>
                </a:cubicBezTo>
                <a:cubicBezTo>
                  <a:pt x="446" y="229"/>
                  <a:pt x="447" y="223"/>
                  <a:pt x="446" y="198"/>
                </a:cubicBezTo>
                <a:cubicBezTo>
                  <a:pt x="445" y="182"/>
                  <a:pt x="444" y="146"/>
                  <a:pt x="443" y="119"/>
                </a:cubicBezTo>
                <a:cubicBezTo>
                  <a:pt x="441" y="69"/>
                  <a:pt x="441" y="69"/>
                  <a:pt x="441" y="69"/>
                </a:cubicBezTo>
                <a:cubicBezTo>
                  <a:pt x="453" y="56"/>
                  <a:pt x="453" y="56"/>
                  <a:pt x="453" y="56"/>
                </a:cubicBezTo>
                <a:cubicBezTo>
                  <a:pt x="465" y="44"/>
                  <a:pt x="467" y="43"/>
                  <a:pt x="482" y="46"/>
                </a:cubicBezTo>
                <a:cubicBezTo>
                  <a:pt x="491" y="48"/>
                  <a:pt x="501" y="55"/>
                  <a:pt x="507" y="61"/>
                </a:cubicBezTo>
                <a:cubicBezTo>
                  <a:pt x="516" y="72"/>
                  <a:pt x="516" y="72"/>
                  <a:pt x="510" y="62"/>
                </a:cubicBezTo>
                <a:cubicBezTo>
                  <a:pt x="507" y="56"/>
                  <a:pt x="502" y="46"/>
                  <a:pt x="500" y="40"/>
                </a:cubicBezTo>
                <a:cubicBezTo>
                  <a:pt x="496" y="23"/>
                  <a:pt x="508" y="8"/>
                  <a:pt x="532" y="4"/>
                </a:cubicBezTo>
                <a:cubicBezTo>
                  <a:pt x="554" y="0"/>
                  <a:pt x="569" y="7"/>
                  <a:pt x="586" y="29"/>
                </a:cubicBezTo>
                <a:cubicBezTo>
                  <a:pt x="601" y="48"/>
                  <a:pt x="597" y="65"/>
                  <a:pt x="569" y="99"/>
                </a:cubicBezTo>
                <a:cubicBezTo>
                  <a:pt x="548" y="126"/>
                  <a:pt x="548" y="126"/>
                  <a:pt x="548" y="126"/>
                </a:cubicBezTo>
                <a:cubicBezTo>
                  <a:pt x="548" y="176"/>
                  <a:pt x="548" y="176"/>
                  <a:pt x="548" y="176"/>
                </a:cubicBezTo>
                <a:cubicBezTo>
                  <a:pt x="550" y="232"/>
                  <a:pt x="553" y="265"/>
                  <a:pt x="561" y="289"/>
                </a:cubicBezTo>
                <a:cubicBezTo>
                  <a:pt x="566" y="303"/>
                  <a:pt x="566" y="306"/>
                  <a:pt x="557" y="326"/>
                </a:cubicBezTo>
                <a:cubicBezTo>
                  <a:pt x="550" y="341"/>
                  <a:pt x="548" y="351"/>
                  <a:pt x="550" y="362"/>
                </a:cubicBezTo>
                <a:cubicBezTo>
                  <a:pt x="553" y="384"/>
                  <a:pt x="578" y="417"/>
                  <a:pt x="615" y="447"/>
                </a:cubicBezTo>
                <a:cubicBezTo>
                  <a:pt x="657" y="483"/>
                  <a:pt x="672" y="510"/>
                  <a:pt x="663" y="535"/>
                </a:cubicBezTo>
                <a:cubicBezTo>
                  <a:pt x="659" y="547"/>
                  <a:pt x="659" y="547"/>
                  <a:pt x="637" y="544"/>
                </a:cubicBezTo>
                <a:cubicBezTo>
                  <a:pt x="624" y="543"/>
                  <a:pt x="612" y="540"/>
                  <a:pt x="610" y="538"/>
                </a:cubicBezTo>
                <a:cubicBezTo>
                  <a:pt x="608" y="536"/>
                  <a:pt x="604" y="535"/>
                  <a:pt x="602" y="535"/>
                </a:cubicBezTo>
                <a:cubicBezTo>
                  <a:pt x="591" y="535"/>
                  <a:pt x="593" y="548"/>
                  <a:pt x="606" y="568"/>
                </a:cubicBezTo>
                <a:cubicBezTo>
                  <a:pt x="628" y="603"/>
                  <a:pt x="624" y="624"/>
                  <a:pt x="592" y="640"/>
                </a:cubicBezTo>
                <a:cubicBezTo>
                  <a:pt x="576" y="647"/>
                  <a:pt x="562" y="648"/>
                  <a:pt x="542" y="643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28"/>
          <p:cNvSpPr/>
          <p:nvPr userDrawn="1">
            <p:custDataLst>
              <p:tags r:id="rId75"/>
            </p:custDataLst>
          </p:nvPr>
        </p:nvSpPr>
        <p:spPr bwMode="grayWhite">
          <a:xfrm>
            <a:off x="4728532" y="706327"/>
            <a:ext cx="109538" cy="66675"/>
          </a:xfrm>
          <a:custGeom>
            <a:gdLst>
              <a:gd name="T0" fmla="*/ 25 w 76"/>
              <a:gd name="T1" fmla="*/ 36 h 46"/>
              <a:gd name="T2" fmla="*/ 0 w 76"/>
              <a:gd name="T3" fmla="*/ 17 h 46"/>
              <a:gd name="T4" fmla="*/ 30 w 76"/>
              <a:gd name="T5" fmla="*/ 2 h 46"/>
              <a:gd name="T6" fmla="*/ 61 w 76"/>
              <a:gd name="T7" fmla="*/ 13 h 46"/>
              <a:gd name="T8" fmla="*/ 60 w 76"/>
              <a:gd name="T9" fmla="*/ 46 h 46"/>
              <a:gd name="T10" fmla="*/ 25 w 76"/>
              <a:gd name="T11" fmla="*/ 36 h 46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6" h="46">
                <a:moveTo>
                  <a:pt x="25" y="36"/>
                </a:moveTo>
                <a:cubicBezTo>
                  <a:pt x="4" y="28"/>
                  <a:pt x="0" y="25"/>
                  <a:pt x="0" y="17"/>
                </a:cubicBezTo>
                <a:cubicBezTo>
                  <a:pt x="0" y="6"/>
                  <a:pt x="2" y="5"/>
                  <a:pt x="30" y="2"/>
                </a:cubicBezTo>
                <a:cubicBezTo>
                  <a:pt x="48" y="0"/>
                  <a:pt x="50" y="1"/>
                  <a:pt x="61" y="13"/>
                </a:cubicBezTo>
                <a:cubicBezTo>
                  <a:pt x="76" y="29"/>
                  <a:pt x="75" y="45"/>
                  <a:pt x="60" y="46"/>
                </a:cubicBezTo>
                <a:cubicBezTo>
                  <a:pt x="54" y="46"/>
                  <a:pt x="38" y="42"/>
                  <a:pt x="25" y="36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29"/>
          <p:cNvSpPr/>
          <p:nvPr userDrawn="1">
            <p:custDataLst>
              <p:tags r:id="rId76"/>
            </p:custDataLst>
          </p:nvPr>
        </p:nvSpPr>
        <p:spPr bwMode="grayWhite">
          <a:xfrm>
            <a:off x="2139318" y="-2365486"/>
            <a:ext cx="2413001" cy="2038351"/>
          </a:xfrm>
          <a:custGeom>
            <a:gdLst>
              <a:gd name="T0" fmla="*/ 920 w 1678"/>
              <a:gd name="T1" fmla="*/ 1409 h 1419"/>
              <a:gd name="T2" fmla="*/ 824 w 1678"/>
              <a:gd name="T3" fmla="*/ 1397 h 1419"/>
              <a:gd name="T4" fmla="*/ 634 w 1678"/>
              <a:gd name="T5" fmla="*/ 1371 h 1419"/>
              <a:gd name="T6" fmla="*/ 646 w 1678"/>
              <a:gd name="T7" fmla="*/ 1247 h 1419"/>
              <a:gd name="T8" fmla="*/ 662 w 1678"/>
              <a:gd name="T9" fmla="*/ 1075 h 1419"/>
              <a:gd name="T10" fmla="*/ 681 w 1678"/>
              <a:gd name="T11" fmla="*/ 875 h 1419"/>
              <a:gd name="T12" fmla="*/ 414 w 1678"/>
              <a:gd name="T13" fmla="*/ 724 h 1419"/>
              <a:gd name="T14" fmla="*/ 300 w 1678"/>
              <a:gd name="T15" fmla="*/ 623 h 1419"/>
              <a:gd name="T16" fmla="*/ 128 w 1678"/>
              <a:gd name="T17" fmla="*/ 441 h 1419"/>
              <a:gd name="T18" fmla="*/ 54 w 1678"/>
              <a:gd name="T19" fmla="*/ 111 h 1419"/>
              <a:gd name="T20" fmla="*/ 192 w 1678"/>
              <a:gd name="T21" fmla="*/ 215 h 1419"/>
              <a:gd name="T22" fmla="*/ 268 w 1678"/>
              <a:gd name="T23" fmla="*/ 305 h 1419"/>
              <a:gd name="T24" fmla="*/ 205 w 1678"/>
              <a:gd name="T25" fmla="*/ 361 h 1419"/>
              <a:gd name="T26" fmla="*/ 395 w 1678"/>
              <a:gd name="T27" fmla="*/ 394 h 1419"/>
              <a:gd name="T28" fmla="*/ 481 w 1678"/>
              <a:gd name="T29" fmla="*/ 516 h 1419"/>
              <a:gd name="T30" fmla="*/ 483 w 1678"/>
              <a:gd name="T31" fmla="*/ 435 h 1419"/>
              <a:gd name="T32" fmla="*/ 555 w 1678"/>
              <a:gd name="T33" fmla="*/ 386 h 1419"/>
              <a:gd name="T34" fmla="*/ 521 w 1678"/>
              <a:gd name="T35" fmla="*/ 335 h 1419"/>
              <a:gd name="T36" fmla="*/ 614 w 1678"/>
              <a:gd name="T37" fmla="*/ 356 h 1419"/>
              <a:gd name="T38" fmla="*/ 686 w 1678"/>
              <a:gd name="T39" fmla="*/ 432 h 1419"/>
              <a:gd name="T40" fmla="*/ 732 w 1678"/>
              <a:gd name="T41" fmla="*/ 485 h 1419"/>
              <a:gd name="T42" fmla="*/ 862 w 1678"/>
              <a:gd name="T43" fmla="*/ 499 h 1419"/>
              <a:gd name="T44" fmla="*/ 898 w 1678"/>
              <a:gd name="T45" fmla="*/ 462 h 1419"/>
              <a:gd name="T46" fmla="*/ 997 w 1678"/>
              <a:gd name="T47" fmla="*/ 453 h 1419"/>
              <a:gd name="T48" fmla="*/ 1006 w 1678"/>
              <a:gd name="T49" fmla="*/ 554 h 1419"/>
              <a:gd name="T50" fmla="*/ 1028 w 1678"/>
              <a:gd name="T51" fmla="*/ 573 h 1419"/>
              <a:gd name="T52" fmla="*/ 1037 w 1678"/>
              <a:gd name="T53" fmla="*/ 478 h 1419"/>
              <a:gd name="T54" fmla="*/ 1096 w 1678"/>
              <a:gd name="T55" fmla="*/ 381 h 1419"/>
              <a:gd name="T56" fmla="*/ 1021 w 1678"/>
              <a:gd name="T57" fmla="*/ 271 h 1419"/>
              <a:gd name="T58" fmla="*/ 1005 w 1678"/>
              <a:gd name="T59" fmla="*/ 162 h 1419"/>
              <a:gd name="T60" fmla="*/ 1027 w 1678"/>
              <a:gd name="T61" fmla="*/ 83 h 1419"/>
              <a:gd name="T62" fmla="*/ 1092 w 1678"/>
              <a:gd name="T63" fmla="*/ 5 h 1419"/>
              <a:gd name="T64" fmla="*/ 1162 w 1678"/>
              <a:gd name="T65" fmla="*/ 113 h 1419"/>
              <a:gd name="T66" fmla="*/ 1183 w 1678"/>
              <a:gd name="T67" fmla="*/ 247 h 1419"/>
              <a:gd name="T68" fmla="*/ 1207 w 1678"/>
              <a:gd name="T69" fmla="*/ 302 h 1419"/>
              <a:gd name="T70" fmla="*/ 1252 w 1678"/>
              <a:gd name="T71" fmla="*/ 333 h 1419"/>
              <a:gd name="T72" fmla="*/ 1270 w 1678"/>
              <a:gd name="T73" fmla="*/ 409 h 1419"/>
              <a:gd name="T74" fmla="*/ 1337 w 1678"/>
              <a:gd name="T75" fmla="*/ 371 h 1419"/>
              <a:gd name="T76" fmla="*/ 1356 w 1678"/>
              <a:gd name="T77" fmla="*/ 486 h 1419"/>
              <a:gd name="T78" fmla="*/ 1400 w 1678"/>
              <a:gd name="T79" fmla="*/ 571 h 1419"/>
              <a:gd name="T80" fmla="*/ 1438 w 1678"/>
              <a:gd name="T81" fmla="*/ 481 h 1419"/>
              <a:gd name="T82" fmla="*/ 1476 w 1678"/>
              <a:gd name="T83" fmla="*/ 352 h 1419"/>
              <a:gd name="T84" fmla="*/ 1539 w 1678"/>
              <a:gd name="T85" fmla="*/ 271 h 1419"/>
              <a:gd name="T86" fmla="*/ 1620 w 1678"/>
              <a:gd name="T87" fmla="*/ 319 h 1419"/>
              <a:gd name="T88" fmla="*/ 1647 w 1678"/>
              <a:gd name="T89" fmla="*/ 373 h 1419"/>
              <a:gd name="T90" fmla="*/ 1632 w 1678"/>
              <a:gd name="T91" fmla="*/ 430 h 1419"/>
              <a:gd name="T92" fmla="*/ 1634 w 1678"/>
              <a:gd name="T93" fmla="*/ 485 h 1419"/>
              <a:gd name="T94" fmla="*/ 1597 w 1678"/>
              <a:gd name="T95" fmla="*/ 673 h 1419"/>
              <a:gd name="T96" fmla="*/ 1566 w 1678"/>
              <a:gd name="T97" fmla="*/ 673 h 1419"/>
              <a:gd name="T98" fmla="*/ 1508 w 1678"/>
              <a:gd name="T99" fmla="*/ 693 h 1419"/>
              <a:gd name="T100" fmla="*/ 1443 w 1678"/>
              <a:gd name="T101" fmla="*/ 679 h 1419"/>
              <a:gd name="T102" fmla="*/ 1438 w 1678"/>
              <a:gd name="T103" fmla="*/ 769 h 1419"/>
              <a:gd name="T104" fmla="*/ 1414 w 1678"/>
              <a:gd name="T105" fmla="*/ 824 h 1419"/>
              <a:gd name="T106" fmla="*/ 1402 w 1678"/>
              <a:gd name="T107" fmla="*/ 897 h 1419"/>
              <a:gd name="T108" fmla="*/ 1271 w 1678"/>
              <a:gd name="T109" fmla="*/ 1007 h 1419"/>
              <a:gd name="T110" fmla="*/ 1221 w 1678"/>
              <a:gd name="T111" fmla="*/ 1031 h 1419"/>
              <a:gd name="T112" fmla="*/ 1188 w 1678"/>
              <a:gd name="T113" fmla="*/ 1113 h 1419"/>
              <a:gd name="T114" fmla="*/ 1102 w 1678"/>
              <a:gd name="T115" fmla="*/ 1219 h 1419"/>
              <a:gd name="T116" fmla="*/ 1043 w 1678"/>
              <a:gd name="T117" fmla="*/ 1332 h 1419"/>
              <a:gd name="T118" fmla="*/ 1007 w 1678"/>
              <a:gd name="T119" fmla="*/ 1419 h 141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78" h="1419">
                <a:moveTo>
                  <a:pt x="988" y="1417"/>
                </a:moveTo>
                <a:cubicBezTo>
                  <a:pt x="987" y="1416"/>
                  <a:pt x="972" y="1414"/>
                  <a:pt x="954" y="1413"/>
                </a:cubicBezTo>
                <a:cubicBezTo>
                  <a:pt x="937" y="1411"/>
                  <a:pt x="921" y="1409"/>
                  <a:pt x="920" y="1409"/>
                </a:cubicBezTo>
                <a:cubicBezTo>
                  <a:pt x="919" y="1408"/>
                  <a:pt x="904" y="1406"/>
                  <a:pt x="886" y="1405"/>
                </a:cubicBezTo>
                <a:cubicBezTo>
                  <a:pt x="869" y="1403"/>
                  <a:pt x="853" y="1401"/>
                  <a:pt x="852" y="1401"/>
                </a:cubicBezTo>
                <a:cubicBezTo>
                  <a:pt x="851" y="1400"/>
                  <a:pt x="838" y="1398"/>
                  <a:pt x="824" y="1397"/>
                </a:cubicBezTo>
                <a:cubicBezTo>
                  <a:pt x="810" y="1395"/>
                  <a:pt x="790" y="1393"/>
                  <a:pt x="780" y="1392"/>
                </a:cubicBezTo>
                <a:cubicBezTo>
                  <a:pt x="742" y="1388"/>
                  <a:pt x="729" y="1387"/>
                  <a:pt x="684" y="1382"/>
                </a:cubicBezTo>
                <a:cubicBezTo>
                  <a:pt x="638" y="1378"/>
                  <a:pt x="631" y="1376"/>
                  <a:pt x="634" y="1371"/>
                </a:cubicBezTo>
                <a:cubicBezTo>
                  <a:pt x="635" y="1370"/>
                  <a:pt x="637" y="1351"/>
                  <a:pt x="638" y="1331"/>
                </a:cubicBezTo>
                <a:cubicBezTo>
                  <a:pt x="640" y="1310"/>
                  <a:pt x="642" y="1290"/>
                  <a:pt x="642" y="1287"/>
                </a:cubicBezTo>
                <a:cubicBezTo>
                  <a:pt x="643" y="1283"/>
                  <a:pt x="644" y="1265"/>
                  <a:pt x="646" y="1247"/>
                </a:cubicBezTo>
                <a:cubicBezTo>
                  <a:pt x="647" y="1228"/>
                  <a:pt x="649" y="1208"/>
                  <a:pt x="650" y="1203"/>
                </a:cubicBezTo>
                <a:cubicBezTo>
                  <a:pt x="651" y="1197"/>
                  <a:pt x="653" y="1180"/>
                  <a:pt x="654" y="1165"/>
                </a:cubicBezTo>
                <a:cubicBezTo>
                  <a:pt x="657" y="1131"/>
                  <a:pt x="660" y="1099"/>
                  <a:pt x="662" y="1075"/>
                </a:cubicBezTo>
                <a:cubicBezTo>
                  <a:pt x="663" y="1065"/>
                  <a:pt x="665" y="1048"/>
                  <a:pt x="666" y="1037"/>
                </a:cubicBezTo>
                <a:cubicBezTo>
                  <a:pt x="672" y="965"/>
                  <a:pt x="674" y="948"/>
                  <a:pt x="678" y="909"/>
                </a:cubicBezTo>
                <a:cubicBezTo>
                  <a:pt x="680" y="895"/>
                  <a:pt x="681" y="880"/>
                  <a:pt x="681" y="875"/>
                </a:cubicBezTo>
                <a:cubicBezTo>
                  <a:pt x="682" y="868"/>
                  <a:pt x="677" y="863"/>
                  <a:pt x="650" y="849"/>
                </a:cubicBezTo>
                <a:cubicBezTo>
                  <a:pt x="610" y="828"/>
                  <a:pt x="535" y="789"/>
                  <a:pt x="476" y="757"/>
                </a:cubicBezTo>
                <a:cubicBezTo>
                  <a:pt x="451" y="744"/>
                  <a:pt x="423" y="729"/>
                  <a:pt x="414" y="724"/>
                </a:cubicBezTo>
                <a:cubicBezTo>
                  <a:pt x="399" y="716"/>
                  <a:pt x="390" y="706"/>
                  <a:pt x="360" y="656"/>
                </a:cubicBezTo>
                <a:cubicBezTo>
                  <a:pt x="345" y="632"/>
                  <a:pt x="345" y="632"/>
                  <a:pt x="345" y="632"/>
                </a:cubicBezTo>
                <a:cubicBezTo>
                  <a:pt x="300" y="623"/>
                  <a:pt x="300" y="623"/>
                  <a:pt x="300" y="623"/>
                </a:cubicBezTo>
                <a:cubicBezTo>
                  <a:pt x="254" y="613"/>
                  <a:pt x="254" y="613"/>
                  <a:pt x="254" y="613"/>
                </a:cubicBezTo>
                <a:cubicBezTo>
                  <a:pt x="232" y="583"/>
                  <a:pt x="232" y="583"/>
                  <a:pt x="232" y="583"/>
                </a:cubicBezTo>
                <a:cubicBezTo>
                  <a:pt x="219" y="566"/>
                  <a:pt x="173" y="502"/>
                  <a:pt x="128" y="441"/>
                </a:cubicBezTo>
                <a:cubicBezTo>
                  <a:pt x="83" y="379"/>
                  <a:pt x="36" y="314"/>
                  <a:pt x="23" y="297"/>
                </a:cubicBezTo>
                <a:cubicBezTo>
                  <a:pt x="11" y="279"/>
                  <a:pt x="0" y="263"/>
                  <a:pt x="0" y="261"/>
                </a:cubicBezTo>
                <a:cubicBezTo>
                  <a:pt x="0" y="257"/>
                  <a:pt x="52" y="114"/>
                  <a:pt x="54" y="111"/>
                </a:cubicBezTo>
                <a:cubicBezTo>
                  <a:pt x="59" y="105"/>
                  <a:pt x="98" y="140"/>
                  <a:pt x="114" y="165"/>
                </a:cubicBezTo>
                <a:cubicBezTo>
                  <a:pt x="124" y="181"/>
                  <a:pt x="154" y="206"/>
                  <a:pt x="173" y="215"/>
                </a:cubicBezTo>
                <a:cubicBezTo>
                  <a:pt x="181" y="218"/>
                  <a:pt x="185" y="218"/>
                  <a:pt x="192" y="215"/>
                </a:cubicBezTo>
                <a:cubicBezTo>
                  <a:pt x="200" y="211"/>
                  <a:pt x="203" y="212"/>
                  <a:pt x="218" y="224"/>
                </a:cubicBezTo>
                <a:cubicBezTo>
                  <a:pt x="228" y="232"/>
                  <a:pt x="239" y="244"/>
                  <a:pt x="243" y="250"/>
                </a:cubicBezTo>
                <a:cubicBezTo>
                  <a:pt x="253" y="263"/>
                  <a:pt x="268" y="298"/>
                  <a:pt x="268" y="305"/>
                </a:cubicBezTo>
                <a:cubicBezTo>
                  <a:pt x="268" y="316"/>
                  <a:pt x="258" y="322"/>
                  <a:pt x="236" y="325"/>
                </a:cubicBezTo>
                <a:cubicBezTo>
                  <a:pt x="214" y="327"/>
                  <a:pt x="196" y="336"/>
                  <a:pt x="196" y="344"/>
                </a:cubicBezTo>
                <a:cubicBezTo>
                  <a:pt x="196" y="346"/>
                  <a:pt x="200" y="354"/>
                  <a:pt x="205" y="361"/>
                </a:cubicBezTo>
                <a:cubicBezTo>
                  <a:pt x="212" y="372"/>
                  <a:pt x="220" y="376"/>
                  <a:pt x="254" y="386"/>
                </a:cubicBezTo>
                <a:cubicBezTo>
                  <a:pt x="317" y="405"/>
                  <a:pt x="329" y="407"/>
                  <a:pt x="358" y="403"/>
                </a:cubicBezTo>
                <a:cubicBezTo>
                  <a:pt x="372" y="400"/>
                  <a:pt x="389" y="396"/>
                  <a:pt x="395" y="394"/>
                </a:cubicBezTo>
                <a:cubicBezTo>
                  <a:pt x="404" y="389"/>
                  <a:pt x="406" y="390"/>
                  <a:pt x="412" y="399"/>
                </a:cubicBezTo>
                <a:cubicBezTo>
                  <a:pt x="415" y="404"/>
                  <a:pt x="429" y="423"/>
                  <a:pt x="442" y="440"/>
                </a:cubicBezTo>
                <a:cubicBezTo>
                  <a:pt x="473" y="481"/>
                  <a:pt x="484" y="501"/>
                  <a:pt x="481" y="516"/>
                </a:cubicBezTo>
                <a:cubicBezTo>
                  <a:pt x="480" y="526"/>
                  <a:pt x="481" y="527"/>
                  <a:pt x="484" y="523"/>
                </a:cubicBezTo>
                <a:cubicBezTo>
                  <a:pt x="486" y="519"/>
                  <a:pt x="487" y="501"/>
                  <a:pt x="486" y="476"/>
                </a:cubicBezTo>
                <a:cubicBezTo>
                  <a:pt x="483" y="435"/>
                  <a:pt x="483" y="435"/>
                  <a:pt x="483" y="435"/>
                </a:cubicBezTo>
                <a:cubicBezTo>
                  <a:pt x="525" y="414"/>
                  <a:pt x="525" y="414"/>
                  <a:pt x="525" y="414"/>
                </a:cubicBezTo>
                <a:cubicBezTo>
                  <a:pt x="550" y="402"/>
                  <a:pt x="568" y="390"/>
                  <a:pt x="569" y="386"/>
                </a:cubicBezTo>
                <a:cubicBezTo>
                  <a:pt x="571" y="380"/>
                  <a:pt x="570" y="380"/>
                  <a:pt x="555" y="386"/>
                </a:cubicBezTo>
                <a:cubicBezTo>
                  <a:pt x="546" y="390"/>
                  <a:pt x="529" y="396"/>
                  <a:pt x="517" y="399"/>
                </a:cubicBezTo>
                <a:cubicBezTo>
                  <a:pt x="498" y="404"/>
                  <a:pt x="495" y="404"/>
                  <a:pt x="485" y="396"/>
                </a:cubicBezTo>
                <a:cubicBezTo>
                  <a:pt x="458" y="376"/>
                  <a:pt x="481" y="338"/>
                  <a:pt x="521" y="335"/>
                </a:cubicBezTo>
                <a:cubicBezTo>
                  <a:pt x="530" y="334"/>
                  <a:pt x="546" y="331"/>
                  <a:pt x="557" y="327"/>
                </a:cubicBezTo>
                <a:cubicBezTo>
                  <a:pt x="569" y="323"/>
                  <a:pt x="583" y="321"/>
                  <a:pt x="589" y="322"/>
                </a:cubicBezTo>
                <a:cubicBezTo>
                  <a:pt x="602" y="323"/>
                  <a:pt x="613" y="338"/>
                  <a:pt x="614" y="356"/>
                </a:cubicBezTo>
                <a:cubicBezTo>
                  <a:pt x="615" y="363"/>
                  <a:pt x="618" y="375"/>
                  <a:pt x="622" y="382"/>
                </a:cubicBezTo>
                <a:cubicBezTo>
                  <a:pt x="632" y="401"/>
                  <a:pt x="662" y="430"/>
                  <a:pt x="673" y="431"/>
                </a:cubicBezTo>
                <a:cubicBezTo>
                  <a:pt x="678" y="431"/>
                  <a:pt x="684" y="432"/>
                  <a:pt x="686" y="432"/>
                </a:cubicBezTo>
                <a:cubicBezTo>
                  <a:pt x="688" y="433"/>
                  <a:pt x="692" y="434"/>
                  <a:pt x="695" y="434"/>
                </a:cubicBezTo>
                <a:cubicBezTo>
                  <a:pt x="697" y="434"/>
                  <a:pt x="707" y="446"/>
                  <a:pt x="716" y="460"/>
                </a:cubicBezTo>
                <a:cubicBezTo>
                  <a:pt x="732" y="485"/>
                  <a:pt x="732" y="485"/>
                  <a:pt x="732" y="485"/>
                </a:cubicBezTo>
                <a:cubicBezTo>
                  <a:pt x="757" y="488"/>
                  <a:pt x="757" y="488"/>
                  <a:pt x="757" y="488"/>
                </a:cubicBezTo>
                <a:cubicBezTo>
                  <a:pt x="770" y="489"/>
                  <a:pt x="793" y="491"/>
                  <a:pt x="808" y="491"/>
                </a:cubicBezTo>
                <a:cubicBezTo>
                  <a:pt x="822" y="491"/>
                  <a:pt x="847" y="494"/>
                  <a:pt x="862" y="499"/>
                </a:cubicBezTo>
                <a:cubicBezTo>
                  <a:pt x="878" y="503"/>
                  <a:pt x="890" y="507"/>
                  <a:pt x="890" y="507"/>
                </a:cubicBezTo>
                <a:cubicBezTo>
                  <a:pt x="890" y="507"/>
                  <a:pt x="890" y="500"/>
                  <a:pt x="891" y="492"/>
                </a:cubicBezTo>
                <a:cubicBezTo>
                  <a:pt x="891" y="484"/>
                  <a:pt x="895" y="470"/>
                  <a:pt x="898" y="462"/>
                </a:cubicBezTo>
                <a:cubicBezTo>
                  <a:pt x="901" y="453"/>
                  <a:pt x="904" y="442"/>
                  <a:pt x="904" y="436"/>
                </a:cubicBezTo>
                <a:cubicBezTo>
                  <a:pt x="904" y="426"/>
                  <a:pt x="905" y="426"/>
                  <a:pt x="923" y="428"/>
                </a:cubicBezTo>
                <a:cubicBezTo>
                  <a:pt x="945" y="431"/>
                  <a:pt x="970" y="439"/>
                  <a:pt x="997" y="453"/>
                </a:cubicBezTo>
                <a:cubicBezTo>
                  <a:pt x="1009" y="459"/>
                  <a:pt x="1019" y="464"/>
                  <a:pt x="1020" y="465"/>
                </a:cubicBezTo>
                <a:cubicBezTo>
                  <a:pt x="1021" y="466"/>
                  <a:pt x="1006" y="520"/>
                  <a:pt x="998" y="546"/>
                </a:cubicBezTo>
                <a:cubicBezTo>
                  <a:pt x="997" y="549"/>
                  <a:pt x="1001" y="552"/>
                  <a:pt x="1006" y="554"/>
                </a:cubicBezTo>
                <a:cubicBezTo>
                  <a:pt x="1011" y="556"/>
                  <a:pt x="1017" y="564"/>
                  <a:pt x="1020" y="571"/>
                </a:cubicBezTo>
                <a:cubicBezTo>
                  <a:pt x="1025" y="585"/>
                  <a:pt x="1025" y="585"/>
                  <a:pt x="1025" y="585"/>
                </a:cubicBezTo>
                <a:cubicBezTo>
                  <a:pt x="1028" y="573"/>
                  <a:pt x="1028" y="573"/>
                  <a:pt x="1028" y="573"/>
                </a:cubicBezTo>
                <a:cubicBezTo>
                  <a:pt x="1030" y="565"/>
                  <a:pt x="1029" y="556"/>
                  <a:pt x="1025" y="549"/>
                </a:cubicBezTo>
                <a:cubicBezTo>
                  <a:pt x="1021" y="541"/>
                  <a:pt x="1018" y="526"/>
                  <a:pt x="1018" y="509"/>
                </a:cubicBezTo>
                <a:cubicBezTo>
                  <a:pt x="1018" y="481"/>
                  <a:pt x="1022" y="474"/>
                  <a:pt x="1037" y="478"/>
                </a:cubicBezTo>
                <a:cubicBezTo>
                  <a:pt x="1051" y="481"/>
                  <a:pt x="1079" y="467"/>
                  <a:pt x="1092" y="449"/>
                </a:cubicBezTo>
                <a:cubicBezTo>
                  <a:pt x="1102" y="436"/>
                  <a:pt x="1104" y="429"/>
                  <a:pt x="1104" y="410"/>
                </a:cubicBezTo>
                <a:cubicBezTo>
                  <a:pt x="1104" y="393"/>
                  <a:pt x="1102" y="386"/>
                  <a:pt x="1096" y="381"/>
                </a:cubicBezTo>
                <a:cubicBezTo>
                  <a:pt x="1087" y="372"/>
                  <a:pt x="1085" y="343"/>
                  <a:pt x="1093" y="335"/>
                </a:cubicBezTo>
                <a:cubicBezTo>
                  <a:pt x="1100" y="328"/>
                  <a:pt x="1075" y="306"/>
                  <a:pt x="1053" y="299"/>
                </a:cubicBezTo>
                <a:cubicBezTo>
                  <a:pt x="1039" y="294"/>
                  <a:pt x="1033" y="289"/>
                  <a:pt x="1021" y="271"/>
                </a:cubicBezTo>
                <a:cubicBezTo>
                  <a:pt x="1010" y="253"/>
                  <a:pt x="1008" y="246"/>
                  <a:pt x="1008" y="226"/>
                </a:cubicBezTo>
                <a:cubicBezTo>
                  <a:pt x="1008" y="213"/>
                  <a:pt x="1010" y="199"/>
                  <a:pt x="1012" y="195"/>
                </a:cubicBezTo>
                <a:cubicBezTo>
                  <a:pt x="1015" y="189"/>
                  <a:pt x="1014" y="182"/>
                  <a:pt x="1005" y="162"/>
                </a:cubicBezTo>
                <a:cubicBezTo>
                  <a:pt x="995" y="138"/>
                  <a:pt x="995" y="138"/>
                  <a:pt x="995" y="138"/>
                </a:cubicBezTo>
                <a:cubicBezTo>
                  <a:pt x="1002" y="115"/>
                  <a:pt x="1002" y="115"/>
                  <a:pt x="1002" y="115"/>
                </a:cubicBezTo>
                <a:cubicBezTo>
                  <a:pt x="1009" y="96"/>
                  <a:pt x="1013" y="91"/>
                  <a:pt x="1027" y="83"/>
                </a:cubicBezTo>
                <a:cubicBezTo>
                  <a:pt x="1042" y="75"/>
                  <a:pt x="1043" y="73"/>
                  <a:pt x="1039" y="65"/>
                </a:cubicBezTo>
                <a:cubicBezTo>
                  <a:pt x="1036" y="57"/>
                  <a:pt x="1037" y="53"/>
                  <a:pt x="1049" y="39"/>
                </a:cubicBezTo>
                <a:cubicBezTo>
                  <a:pt x="1080" y="0"/>
                  <a:pt x="1077" y="2"/>
                  <a:pt x="1092" y="5"/>
                </a:cubicBezTo>
                <a:cubicBezTo>
                  <a:pt x="1101" y="7"/>
                  <a:pt x="1106" y="11"/>
                  <a:pt x="1110" y="18"/>
                </a:cubicBezTo>
                <a:cubicBezTo>
                  <a:pt x="1112" y="24"/>
                  <a:pt x="1121" y="35"/>
                  <a:pt x="1129" y="42"/>
                </a:cubicBezTo>
                <a:cubicBezTo>
                  <a:pt x="1156" y="66"/>
                  <a:pt x="1160" y="75"/>
                  <a:pt x="1162" y="113"/>
                </a:cubicBezTo>
                <a:cubicBezTo>
                  <a:pt x="1163" y="148"/>
                  <a:pt x="1164" y="150"/>
                  <a:pt x="1184" y="183"/>
                </a:cubicBezTo>
                <a:cubicBezTo>
                  <a:pt x="1209" y="224"/>
                  <a:pt x="1211" y="247"/>
                  <a:pt x="1190" y="239"/>
                </a:cubicBezTo>
                <a:cubicBezTo>
                  <a:pt x="1182" y="236"/>
                  <a:pt x="1182" y="236"/>
                  <a:pt x="1183" y="247"/>
                </a:cubicBezTo>
                <a:cubicBezTo>
                  <a:pt x="1184" y="254"/>
                  <a:pt x="1183" y="267"/>
                  <a:pt x="1180" y="275"/>
                </a:cubicBezTo>
                <a:cubicBezTo>
                  <a:pt x="1175" y="291"/>
                  <a:pt x="1175" y="292"/>
                  <a:pt x="1183" y="299"/>
                </a:cubicBezTo>
                <a:cubicBezTo>
                  <a:pt x="1191" y="305"/>
                  <a:pt x="1195" y="305"/>
                  <a:pt x="1207" y="302"/>
                </a:cubicBezTo>
                <a:cubicBezTo>
                  <a:pt x="1222" y="298"/>
                  <a:pt x="1236" y="300"/>
                  <a:pt x="1266" y="313"/>
                </a:cubicBezTo>
                <a:cubicBezTo>
                  <a:pt x="1279" y="318"/>
                  <a:pt x="1280" y="320"/>
                  <a:pt x="1276" y="325"/>
                </a:cubicBezTo>
                <a:cubicBezTo>
                  <a:pt x="1273" y="328"/>
                  <a:pt x="1262" y="331"/>
                  <a:pt x="1252" y="333"/>
                </a:cubicBezTo>
                <a:cubicBezTo>
                  <a:pt x="1224" y="336"/>
                  <a:pt x="1222" y="343"/>
                  <a:pt x="1240" y="370"/>
                </a:cubicBezTo>
                <a:cubicBezTo>
                  <a:pt x="1255" y="392"/>
                  <a:pt x="1258" y="402"/>
                  <a:pt x="1260" y="435"/>
                </a:cubicBezTo>
                <a:cubicBezTo>
                  <a:pt x="1261" y="452"/>
                  <a:pt x="1267" y="435"/>
                  <a:pt x="1270" y="409"/>
                </a:cubicBezTo>
                <a:cubicBezTo>
                  <a:pt x="1275" y="367"/>
                  <a:pt x="1280" y="354"/>
                  <a:pt x="1296" y="348"/>
                </a:cubicBezTo>
                <a:cubicBezTo>
                  <a:pt x="1310" y="342"/>
                  <a:pt x="1310" y="342"/>
                  <a:pt x="1310" y="342"/>
                </a:cubicBezTo>
                <a:cubicBezTo>
                  <a:pt x="1337" y="371"/>
                  <a:pt x="1337" y="371"/>
                  <a:pt x="1337" y="371"/>
                </a:cubicBezTo>
                <a:cubicBezTo>
                  <a:pt x="1356" y="392"/>
                  <a:pt x="1365" y="406"/>
                  <a:pt x="1368" y="417"/>
                </a:cubicBezTo>
                <a:cubicBezTo>
                  <a:pt x="1374" y="442"/>
                  <a:pt x="1373" y="458"/>
                  <a:pt x="1364" y="467"/>
                </a:cubicBezTo>
                <a:cubicBezTo>
                  <a:pt x="1360" y="471"/>
                  <a:pt x="1356" y="480"/>
                  <a:pt x="1356" y="486"/>
                </a:cubicBezTo>
                <a:cubicBezTo>
                  <a:pt x="1356" y="498"/>
                  <a:pt x="1363" y="523"/>
                  <a:pt x="1368" y="527"/>
                </a:cubicBezTo>
                <a:cubicBezTo>
                  <a:pt x="1369" y="528"/>
                  <a:pt x="1376" y="538"/>
                  <a:pt x="1384" y="550"/>
                </a:cubicBezTo>
                <a:cubicBezTo>
                  <a:pt x="1391" y="561"/>
                  <a:pt x="1398" y="571"/>
                  <a:pt x="1400" y="571"/>
                </a:cubicBezTo>
                <a:cubicBezTo>
                  <a:pt x="1406" y="571"/>
                  <a:pt x="1421" y="557"/>
                  <a:pt x="1424" y="549"/>
                </a:cubicBezTo>
                <a:cubicBezTo>
                  <a:pt x="1426" y="544"/>
                  <a:pt x="1429" y="529"/>
                  <a:pt x="1430" y="516"/>
                </a:cubicBezTo>
                <a:cubicBezTo>
                  <a:pt x="1431" y="503"/>
                  <a:pt x="1435" y="487"/>
                  <a:pt x="1438" y="481"/>
                </a:cubicBezTo>
                <a:cubicBezTo>
                  <a:pt x="1441" y="474"/>
                  <a:pt x="1447" y="456"/>
                  <a:pt x="1452" y="440"/>
                </a:cubicBezTo>
                <a:cubicBezTo>
                  <a:pt x="1456" y="425"/>
                  <a:pt x="1465" y="404"/>
                  <a:pt x="1472" y="394"/>
                </a:cubicBezTo>
                <a:cubicBezTo>
                  <a:pt x="1486" y="373"/>
                  <a:pt x="1487" y="364"/>
                  <a:pt x="1476" y="352"/>
                </a:cubicBezTo>
                <a:cubicBezTo>
                  <a:pt x="1466" y="342"/>
                  <a:pt x="1455" y="294"/>
                  <a:pt x="1459" y="281"/>
                </a:cubicBezTo>
                <a:cubicBezTo>
                  <a:pt x="1464" y="264"/>
                  <a:pt x="1472" y="259"/>
                  <a:pt x="1495" y="259"/>
                </a:cubicBezTo>
                <a:cubicBezTo>
                  <a:pt x="1511" y="259"/>
                  <a:pt x="1522" y="262"/>
                  <a:pt x="1539" y="271"/>
                </a:cubicBezTo>
                <a:cubicBezTo>
                  <a:pt x="1551" y="277"/>
                  <a:pt x="1565" y="283"/>
                  <a:pt x="1569" y="283"/>
                </a:cubicBezTo>
                <a:cubicBezTo>
                  <a:pt x="1574" y="283"/>
                  <a:pt x="1583" y="289"/>
                  <a:pt x="1590" y="296"/>
                </a:cubicBezTo>
                <a:cubicBezTo>
                  <a:pt x="1597" y="304"/>
                  <a:pt x="1611" y="314"/>
                  <a:pt x="1620" y="319"/>
                </a:cubicBezTo>
                <a:cubicBezTo>
                  <a:pt x="1637" y="327"/>
                  <a:pt x="1652" y="341"/>
                  <a:pt x="1652" y="348"/>
                </a:cubicBezTo>
                <a:cubicBezTo>
                  <a:pt x="1652" y="350"/>
                  <a:pt x="1649" y="354"/>
                  <a:pt x="1646" y="356"/>
                </a:cubicBezTo>
                <a:cubicBezTo>
                  <a:pt x="1640" y="361"/>
                  <a:pt x="1640" y="362"/>
                  <a:pt x="1647" y="373"/>
                </a:cubicBezTo>
                <a:cubicBezTo>
                  <a:pt x="1652" y="379"/>
                  <a:pt x="1657" y="391"/>
                  <a:pt x="1658" y="399"/>
                </a:cubicBezTo>
                <a:cubicBezTo>
                  <a:pt x="1661" y="412"/>
                  <a:pt x="1660" y="414"/>
                  <a:pt x="1649" y="418"/>
                </a:cubicBezTo>
                <a:cubicBezTo>
                  <a:pt x="1642" y="420"/>
                  <a:pt x="1635" y="426"/>
                  <a:pt x="1632" y="430"/>
                </a:cubicBezTo>
                <a:cubicBezTo>
                  <a:pt x="1630" y="435"/>
                  <a:pt x="1624" y="439"/>
                  <a:pt x="1620" y="439"/>
                </a:cubicBezTo>
                <a:cubicBezTo>
                  <a:pt x="1609" y="439"/>
                  <a:pt x="1610" y="446"/>
                  <a:pt x="1622" y="460"/>
                </a:cubicBezTo>
                <a:cubicBezTo>
                  <a:pt x="1628" y="466"/>
                  <a:pt x="1633" y="478"/>
                  <a:pt x="1634" y="485"/>
                </a:cubicBezTo>
                <a:cubicBezTo>
                  <a:pt x="1636" y="494"/>
                  <a:pt x="1641" y="501"/>
                  <a:pt x="1650" y="507"/>
                </a:cubicBezTo>
                <a:cubicBezTo>
                  <a:pt x="1678" y="526"/>
                  <a:pt x="1678" y="567"/>
                  <a:pt x="1650" y="615"/>
                </a:cubicBezTo>
                <a:cubicBezTo>
                  <a:pt x="1617" y="672"/>
                  <a:pt x="1614" y="675"/>
                  <a:pt x="1597" y="673"/>
                </a:cubicBezTo>
                <a:cubicBezTo>
                  <a:pt x="1588" y="672"/>
                  <a:pt x="1577" y="668"/>
                  <a:pt x="1571" y="665"/>
                </a:cubicBezTo>
                <a:cubicBezTo>
                  <a:pt x="1560" y="658"/>
                  <a:pt x="1560" y="658"/>
                  <a:pt x="1560" y="658"/>
                </a:cubicBezTo>
                <a:cubicBezTo>
                  <a:pt x="1566" y="673"/>
                  <a:pt x="1566" y="673"/>
                  <a:pt x="1566" y="673"/>
                </a:cubicBezTo>
                <a:cubicBezTo>
                  <a:pt x="1573" y="689"/>
                  <a:pt x="1569" y="697"/>
                  <a:pt x="1555" y="692"/>
                </a:cubicBezTo>
                <a:cubicBezTo>
                  <a:pt x="1540" y="687"/>
                  <a:pt x="1534" y="688"/>
                  <a:pt x="1528" y="693"/>
                </a:cubicBezTo>
                <a:cubicBezTo>
                  <a:pt x="1522" y="698"/>
                  <a:pt x="1519" y="698"/>
                  <a:pt x="1508" y="693"/>
                </a:cubicBezTo>
                <a:cubicBezTo>
                  <a:pt x="1500" y="690"/>
                  <a:pt x="1491" y="683"/>
                  <a:pt x="1488" y="679"/>
                </a:cubicBezTo>
                <a:cubicBezTo>
                  <a:pt x="1483" y="672"/>
                  <a:pt x="1480" y="671"/>
                  <a:pt x="1466" y="673"/>
                </a:cubicBezTo>
                <a:cubicBezTo>
                  <a:pt x="1457" y="674"/>
                  <a:pt x="1447" y="677"/>
                  <a:pt x="1443" y="679"/>
                </a:cubicBezTo>
                <a:cubicBezTo>
                  <a:pt x="1437" y="683"/>
                  <a:pt x="1437" y="684"/>
                  <a:pt x="1450" y="697"/>
                </a:cubicBezTo>
                <a:cubicBezTo>
                  <a:pt x="1464" y="709"/>
                  <a:pt x="1465" y="711"/>
                  <a:pt x="1462" y="727"/>
                </a:cubicBezTo>
                <a:cubicBezTo>
                  <a:pt x="1460" y="739"/>
                  <a:pt x="1453" y="751"/>
                  <a:pt x="1438" y="769"/>
                </a:cubicBezTo>
                <a:cubicBezTo>
                  <a:pt x="1426" y="783"/>
                  <a:pt x="1415" y="799"/>
                  <a:pt x="1414" y="805"/>
                </a:cubicBezTo>
                <a:cubicBezTo>
                  <a:pt x="1412" y="810"/>
                  <a:pt x="1409" y="815"/>
                  <a:pt x="1407" y="815"/>
                </a:cubicBezTo>
                <a:cubicBezTo>
                  <a:pt x="1404" y="815"/>
                  <a:pt x="1407" y="819"/>
                  <a:pt x="1414" y="824"/>
                </a:cubicBezTo>
                <a:cubicBezTo>
                  <a:pt x="1423" y="831"/>
                  <a:pt x="1425" y="835"/>
                  <a:pt x="1424" y="849"/>
                </a:cubicBezTo>
                <a:cubicBezTo>
                  <a:pt x="1423" y="857"/>
                  <a:pt x="1420" y="869"/>
                  <a:pt x="1416" y="875"/>
                </a:cubicBezTo>
                <a:cubicBezTo>
                  <a:pt x="1412" y="880"/>
                  <a:pt x="1406" y="890"/>
                  <a:pt x="1402" y="897"/>
                </a:cubicBezTo>
                <a:cubicBezTo>
                  <a:pt x="1397" y="903"/>
                  <a:pt x="1386" y="922"/>
                  <a:pt x="1376" y="939"/>
                </a:cubicBezTo>
                <a:cubicBezTo>
                  <a:pt x="1356" y="975"/>
                  <a:pt x="1349" y="979"/>
                  <a:pt x="1310" y="979"/>
                </a:cubicBezTo>
                <a:cubicBezTo>
                  <a:pt x="1282" y="979"/>
                  <a:pt x="1274" y="984"/>
                  <a:pt x="1271" y="1007"/>
                </a:cubicBezTo>
                <a:cubicBezTo>
                  <a:pt x="1270" y="1020"/>
                  <a:pt x="1270" y="1021"/>
                  <a:pt x="1252" y="1020"/>
                </a:cubicBezTo>
                <a:cubicBezTo>
                  <a:pt x="1242" y="1020"/>
                  <a:pt x="1229" y="1019"/>
                  <a:pt x="1223" y="1018"/>
                </a:cubicBezTo>
                <a:cubicBezTo>
                  <a:pt x="1207" y="1014"/>
                  <a:pt x="1206" y="1021"/>
                  <a:pt x="1221" y="1031"/>
                </a:cubicBezTo>
                <a:cubicBezTo>
                  <a:pt x="1228" y="1036"/>
                  <a:pt x="1235" y="1040"/>
                  <a:pt x="1236" y="1041"/>
                </a:cubicBezTo>
                <a:cubicBezTo>
                  <a:pt x="1240" y="1044"/>
                  <a:pt x="1240" y="1076"/>
                  <a:pt x="1236" y="1088"/>
                </a:cubicBezTo>
                <a:cubicBezTo>
                  <a:pt x="1231" y="1104"/>
                  <a:pt x="1216" y="1112"/>
                  <a:pt x="1188" y="1113"/>
                </a:cubicBezTo>
                <a:cubicBezTo>
                  <a:pt x="1157" y="1114"/>
                  <a:pt x="1158" y="1114"/>
                  <a:pt x="1165" y="1124"/>
                </a:cubicBezTo>
                <a:cubicBezTo>
                  <a:pt x="1171" y="1132"/>
                  <a:pt x="1170" y="1133"/>
                  <a:pt x="1157" y="1147"/>
                </a:cubicBezTo>
                <a:cubicBezTo>
                  <a:pt x="1136" y="1166"/>
                  <a:pt x="1113" y="1197"/>
                  <a:pt x="1102" y="1219"/>
                </a:cubicBezTo>
                <a:cubicBezTo>
                  <a:pt x="1097" y="1228"/>
                  <a:pt x="1089" y="1240"/>
                  <a:pt x="1084" y="1245"/>
                </a:cubicBezTo>
                <a:cubicBezTo>
                  <a:pt x="1074" y="1254"/>
                  <a:pt x="1064" y="1271"/>
                  <a:pt x="1064" y="1281"/>
                </a:cubicBezTo>
                <a:cubicBezTo>
                  <a:pt x="1064" y="1285"/>
                  <a:pt x="1055" y="1308"/>
                  <a:pt x="1043" y="1332"/>
                </a:cubicBezTo>
                <a:cubicBezTo>
                  <a:pt x="1026" y="1369"/>
                  <a:pt x="1023" y="1379"/>
                  <a:pt x="1023" y="1397"/>
                </a:cubicBezTo>
                <a:cubicBezTo>
                  <a:pt x="1024" y="1419"/>
                  <a:pt x="1024" y="1419"/>
                  <a:pt x="1024" y="1419"/>
                </a:cubicBezTo>
                <a:cubicBezTo>
                  <a:pt x="1007" y="1419"/>
                  <a:pt x="1007" y="1419"/>
                  <a:pt x="1007" y="1419"/>
                </a:cubicBezTo>
                <a:cubicBezTo>
                  <a:pt x="997" y="1419"/>
                  <a:pt x="989" y="1418"/>
                  <a:pt x="988" y="1417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30"/>
          <p:cNvSpPr/>
          <p:nvPr userDrawn="1">
            <p:custDataLst>
              <p:tags r:id="rId77"/>
            </p:custDataLst>
          </p:nvPr>
        </p:nvSpPr>
        <p:spPr bwMode="grayWhite">
          <a:xfrm>
            <a:off x="4690432" y="-771636"/>
            <a:ext cx="98425" cy="134938"/>
          </a:xfrm>
          <a:custGeom>
            <a:gdLst>
              <a:gd name="T0" fmla="*/ 22 w 68"/>
              <a:gd name="T1" fmla="*/ 86 h 94"/>
              <a:gd name="T2" fmla="*/ 23 w 68"/>
              <a:gd name="T3" fmla="*/ 10 h 94"/>
              <a:gd name="T4" fmla="*/ 55 w 68"/>
              <a:gd name="T5" fmla="*/ 12 h 94"/>
              <a:gd name="T6" fmla="*/ 45 w 68"/>
              <a:gd name="T7" fmla="*/ 85 h 94"/>
              <a:gd name="T8" fmla="*/ 22 w 68"/>
              <a:gd name="T9" fmla="*/ 86 h 9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" h="94">
                <a:moveTo>
                  <a:pt x="22" y="86"/>
                </a:moveTo>
                <a:cubicBezTo>
                  <a:pt x="0" y="73"/>
                  <a:pt x="1" y="33"/>
                  <a:pt x="23" y="10"/>
                </a:cubicBezTo>
                <a:cubicBezTo>
                  <a:pt x="32" y="0"/>
                  <a:pt x="42" y="0"/>
                  <a:pt x="55" y="12"/>
                </a:cubicBezTo>
                <a:cubicBezTo>
                  <a:pt x="68" y="23"/>
                  <a:pt x="62" y="69"/>
                  <a:pt x="45" y="85"/>
                </a:cubicBezTo>
                <a:cubicBezTo>
                  <a:pt x="35" y="94"/>
                  <a:pt x="35" y="94"/>
                  <a:pt x="22" y="86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31"/>
          <p:cNvSpPr/>
          <p:nvPr userDrawn="1">
            <p:custDataLst>
              <p:tags r:id="rId78"/>
            </p:custDataLst>
          </p:nvPr>
        </p:nvSpPr>
        <p:spPr bwMode="grayWhite">
          <a:xfrm>
            <a:off x="4411032" y="-830373"/>
            <a:ext cx="163513" cy="130175"/>
          </a:xfrm>
          <a:custGeom>
            <a:gdLst>
              <a:gd name="T0" fmla="*/ 9 w 114"/>
              <a:gd name="T1" fmla="*/ 82 h 90"/>
              <a:gd name="T2" fmla="*/ 33 w 114"/>
              <a:gd name="T3" fmla="*/ 12 h 90"/>
              <a:gd name="T4" fmla="*/ 84 w 114"/>
              <a:gd name="T5" fmla="*/ 1 h 90"/>
              <a:gd name="T6" fmla="*/ 109 w 114"/>
              <a:gd name="T7" fmla="*/ 13 h 90"/>
              <a:gd name="T8" fmla="*/ 101 w 114"/>
              <a:gd name="T9" fmla="*/ 45 h 90"/>
              <a:gd name="T10" fmla="*/ 35 w 114"/>
              <a:gd name="T11" fmla="*/ 89 h 90"/>
              <a:gd name="T12" fmla="*/ 9 w 114"/>
              <a:gd name="T13" fmla="*/ 82 h 9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" h="90">
                <a:moveTo>
                  <a:pt x="9" y="82"/>
                </a:moveTo>
                <a:cubicBezTo>
                  <a:pt x="0" y="65"/>
                  <a:pt x="13" y="25"/>
                  <a:pt x="33" y="12"/>
                </a:cubicBezTo>
                <a:cubicBezTo>
                  <a:pt x="48" y="1"/>
                  <a:pt x="53" y="0"/>
                  <a:pt x="84" y="1"/>
                </a:cubicBezTo>
                <a:cubicBezTo>
                  <a:pt x="102" y="2"/>
                  <a:pt x="105" y="3"/>
                  <a:pt x="109" y="13"/>
                </a:cubicBezTo>
                <a:cubicBezTo>
                  <a:pt x="114" y="24"/>
                  <a:pt x="113" y="27"/>
                  <a:pt x="101" y="45"/>
                </a:cubicBezTo>
                <a:cubicBezTo>
                  <a:pt x="85" y="71"/>
                  <a:pt x="61" y="87"/>
                  <a:pt x="35" y="89"/>
                </a:cubicBezTo>
                <a:cubicBezTo>
                  <a:pt x="17" y="90"/>
                  <a:pt x="13" y="89"/>
                  <a:pt x="9" y="82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32"/>
          <p:cNvSpPr/>
          <p:nvPr userDrawn="1">
            <p:custDataLst>
              <p:tags r:id="rId79"/>
            </p:custDataLst>
          </p:nvPr>
        </p:nvSpPr>
        <p:spPr bwMode="grayWhite">
          <a:xfrm>
            <a:off x="4161794" y="-1305036"/>
            <a:ext cx="514350" cy="469900"/>
          </a:xfrm>
          <a:custGeom>
            <a:gdLst>
              <a:gd name="T0" fmla="*/ 93 w 358"/>
              <a:gd name="T1" fmla="*/ 325 h 327"/>
              <a:gd name="T2" fmla="*/ 86 w 358"/>
              <a:gd name="T3" fmla="*/ 305 h 327"/>
              <a:gd name="T4" fmla="*/ 81 w 358"/>
              <a:gd name="T5" fmla="*/ 281 h 327"/>
              <a:gd name="T6" fmla="*/ 54 w 358"/>
              <a:gd name="T7" fmla="*/ 276 h 327"/>
              <a:gd name="T8" fmla="*/ 26 w 358"/>
              <a:gd name="T9" fmla="*/ 237 h 327"/>
              <a:gd name="T10" fmla="*/ 43 w 358"/>
              <a:gd name="T11" fmla="*/ 191 h 327"/>
              <a:gd name="T12" fmla="*/ 59 w 358"/>
              <a:gd name="T13" fmla="*/ 26 h 327"/>
              <a:gd name="T14" fmla="*/ 78 w 358"/>
              <a:gd name="T15" fmla="*/ 2 h 327"/>
              <a:gd name="T16" fmla="*/ 101 w 358"/>
              <a:gd name="T17" fmla="*/ 11 h 327"/>
              <a:gd name="T18" fmla="*/ 117 w 358"/>
              <a:gd name="T19" fmla="*/ 40 h 327"/>
              <a:gd name="T20" fmla="*/ 136 w 358"/>
              <a:gd name="T21" fmla="*/ 57 h 327"/>
              <a:gd name="T22" fmla="*/ 182 w 358"/>
              <a:gd name="T23" fmla="*/ 81 h 327"/>
              <a:gd name="T24" fmla="*/ 241 w 358"/>
              <a:gd name="T25" fmla="*/ 121 h 327"/>
              <a:gd name="T26" fmla="*/ 266 w 358"/>
              <a:gd name="T27" fmla="*/ 145 h 327"/>
              <a:gd name="T28" fmla="*/ 276 w 358"/>
              <a:gd name="T29" fmla="*/ 167 h 327"/>
              <a:gd name="T30" fmla="*/ 286 w 358"/>
              <a:gd name="T31" fmla="*/ 190 h 327"/>
              <a:gd name="T32" fmla="*/ 307 w 358"/>
              <a:gd name="T33" fmla="*/ 194 h 327"/>
              <a:gd name="T34" fmla="*/ 343 w 358"/>
              <a:gd name="T35" fmla="*/ 203 h 327"/>
              <a:gd name="T36" fmla="*/ 356 w 358"/>
              <a:gd name="T37" fmla="*/ 229 h 327"/>
              <a:gd name="T38" fmla="*/ 335 w 358"/>
              <a:gd name="T39" fmla="*/ 263 h 327"/>
              <a:gd name="T40" fmla="*/ 302 w 358"/>
              <a:gd name="T41" fmla="*/ 264 h 327"/>
              <a:gd name="T42" fmla="*/ 269 w 358"/>
              <a:gd name="T43" fmla="*/ 258 h 327"/>
              <a:gd name="T44" fmla="*/ 246 w 358"/>
              <a:gd name="T45" fmla="*/ 251 h 327"/>
              <a:gd name="T46" fmla="*/ 239 w 358"/>
              <a:gd name="T47" fmla="*/ 234 h 327"/>
              <a:gd name="T48" fmla="*/ 196 w 358"/>
              <a:gd name="T49" fmla="*/ 213 h 327"/>
              <a:gd name="T50" fmla="*/ 190 w 358"/>
              <a:gd name="T51" fmla="*/ 227 h 327"/>
              <a:gd name="T52" fmla="*/ 171 w 358"/>
              <a:gd name="T53" fmla="*/ 269 h 327"/>
              <a:gd name="T54" fmla="*/ 151 w 358"/>
              <a:gd name="T55" fmla="*/ 291 h 327"/>
              <a:gd name="T56" fmla="*/ 119 w 358"/>
              <a:gd name="T57" fmla="*/ 325 h 327"/>
              <a:gd name="T58" fmla="*/ 93 w 358"/>
              <a:gd name="T59" fmla="*/ 325 h 32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358" h="327">
                <a:moveTo>
                  <a:pt x="93" y="325"/>
                </a:moveTo>
                <a:cubicBezTo>
                  <a:pt x="88" y="324"/>
                  <a:pt x="86" y="320"/>
                  <a:pt x="86" y="305"/>
                </a:cubicBezTo>
                <a:cubicBezTo>
                  <a:pt x="86" y="295"/>
                  <a:pt x="84" y="284"/>
                  <a:pt x="81" y="281"/>
                </a:cubicBezTo>
                <a:cubicBezTo>
                  <a:pt x="79" y="279"/>
                  <a:pt x="67" y="276"/>
                  <a:pt x="54" y="276"/>
                </a:cubicBezTo>
                <a:cubicBezTo>
                  <a:pt x="7" y="275"/>
                  <a:pt x="0" y="265"/>
                  <a:pt x="26" y="237"/>
                </a:cubicBezTo>
                <a:cubicBezTo>
                  <a:pt x="41" y="220"/>
                  <a:pt x="44" y="213"/>
                  <a:pt x="43" y="191"/>
                </a:cubicBezTo>
                <a:cubicBezTo>
                  <a:pt x="41" y="112"/>
                  <a:pt x="43" y="87"/>
                  <a:pt x="59" y="26"/>
                </a:cubicBezTo>
                <a:cubicBezTo>
                  <a:pt x="63" y="7"/>
                  <a:pt x="65" y="5"/>
                  <a:pt x="78" y="2"/>
                </a:cubicBezTo>
                <a:cubicBezTo>
                  <a:pt x="90" y="0"/>
                  <a:pt x="93" y="1"/>
                  <a:pt x="101" y="11"/>
                </a:cubicBezTo>
                <a:cubicBezTo>
                  <a:pt x="106" y="17"/>
                  <a:pt x="113" y="30"/>
                  <a:pt x="117" y="40"/>
                </a:cubicBezTo>
                <a:cubicBezTo>
                  <a:pt x="123" y="54"/>
                  <a:pt x="126" y="57"/>
                  <a:pt x="136" y="57"/>
                </a:cubicBezTo>
                <a:cubicBezTo>
                  <a:pt x="144" y="57"/>
                  <a:pt x="160" y="65"/>
                  <a:pt x="182" y="81"/>
                </a:cubicBezTo>
                <a:cubicBezTo>
                  <a:pt x="201" y="94"/>
                  <a:pt x="227" y="112"/>
                  <a:pt x="241" y="121"/>
                </a:cubicBezTo>
                <a:cubicBezTo>
                  <a:pt x="255" y="131"/>
                  <a:pt x="266" y="141"/>
                  <a:pt x="266" y="145"/>
                </a:cubicBezTo>
                <a:cubicBezTo>
                  <a:pt x="266" y="148"/>
                  <a:pt x="271" y="158"/>
                  <a:pt x="276" y="167"/>
                </a:cubicBezTo>
                <a:cubicBezTo>
                  <a:pt x="281" y="175"/>
                  <a:pt x="286" y="186"/>
                  <a:pt x="286" y="190"/>
                </a:cubicBezTo>
                <a:cubicBezTo>
                  <a:pt x="286" y="196"/>
                  <a:pt x="289" y="196"/>
                  <a:pt x="307" y="194"/>
                </a:cubicBezTo>
                <a:cubicBezTo>
                  <a:pt x="326" y="192"/>
                  <a:pt x="330" y="193"/>
                  <a:pt x="343" y="203"/>
                </a:cubicBezTo>
                <a:cubicBezTo>
                  <a:pt x="356" y="213"/>
                  <a:pt x="358" y="216"/>
                  <a:pt x="356" y="229"/>
                </a:cubicBezTo>
                <a:cubicBezTo>
                  <a:pt x="354" y="249"/>
                  <a:pt x="352" y="254"/>
                  <a:pt x="335" y="263"/>
                </a:cubicBezTo>
                <a:cubicBezTo>
                  <a:pt x="320" y="271"/>
                  <a:pt x="320" y="271"/>
                  <a:pt x="302" y="264"/>
                </a:cubicBezTo>
                <a:cubicBezTo>
                  <a:pt x="291" y="259"/>
                  <a:pt x="279" y="257"/>
                  <a:pt x="269" y="258"/>
                </a:cubicBezTo>
                <a:cubicBezTo>
                  <a:pt x="258" y="259"/>
                  <a:pt x="253" y="258"/>
                  <a:pt x="246" y="251"/>
                </a:cubicBezTo>
                <a:cubicBezTo>
                  <a:pt x="241" y="246"/>
                  <a:pt x="238" y="238"/>
                  <a:pt x="239" y="234"/>
                </a:cubicBezTo>
                <a:cubicBezTo>
                  <a:pt x="241" y="224"/>
                  <a:pt x="205" y="205"/>
                  <a:pt x="196" y="213"/>
                </a:cubicBezTo>
                <a:cubicBezTo>
                  <a:pt x="193" y="215"/>
                  <a:pt x="190" y="222"/>
                  <a:pt x="190" y="227"/>
                </a:cubicBezTo>
                <a:cubicBezTo>
                  <a:pt x="190" y="241"/>
                  <a:pt x="183" y="257"/>
                  <a:pt x="171" y="269"/>
                </a:cubicBezTo>
                <a:cubicBezTo>
                  <a:pt x="165" y="275"/>
                  <a:pt x="156" y="285"/>
                  <a:pt x="151" y="291"/>
                </a:cubicBezTo>
                <a:cubicBezTo>
                  <a:pt x="139" y="308"/>
                  <a:pt x="123" y="324"/>
                  <a:pt x="119" y="325"/>
                </a:cubicBezTo>
                <a:cubicBezTo>
                  <a:pt x="109" y="327"/>
                  <a:pt x="99" y="327"/>
                  <a:pt x="93" y="325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33"/>
          <p:cNvSpPr/>
          <p:nvPr userDrawn="1">
            <p:custDataLst>
              <p:tags r:id="rId80"/>
            </p:custDataLst>
          </p:nvPr>
        </p:nvSpPr>
        <p:spPr bwMode="grayWhite">
          <a:xfrm>
            <a:off x="3410906" y="-1976549"/>
            <a:ext cx="223838" cy="242888"/>
          </a:xfrm>
          <a:custGeom>
            <a:gdLst>
              <a:gd name="T0" fmla="*/ 90 w 156"/>
              <a:gd name="T1" fmla="*/ 162 h 169"/>
              <a:gd name="T2" fmla="*/ 42 w 156"/>
              <a:gd name="T3" fmla="*/ 131 h 169"/>
              <a:gd name="T4" fmla="*/ 27 w 156"/>
              <a:gd name="T5" fmla="*/ 120 h 169"/>
              <a:gd name="T6" fmla="*/ 0 w 156"/>
              <a:gd name="T7" fmla="*/ 95 h 169"/>
              <a:gd name="T8" fmla="*/ 71 w 156"/>
              <a:gd name="T9" fmla="*/ 0 h 169"/>
              <a:gd name="T10" fmla="*/ 129 w 156"/>
              <a:gd name="T11" fmla="*/ 60 h 169"/>
              <a:gd name="T12" fmla="*/ 156 w 156"/>
              <a:gd name="T13" fmla="*/ 137 h 169"/>
              <a:gd name="T14" fmla="*/ 141 w 156"/>
              <a:gd name="T15" fmla="*/ 158 h 169"/>
              <a:gd name="T16" fmla="*/ 90 w 156"/>
              <a:gd name="T17" fmla="*/ 162 h 16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6" h="169">
                <a:moveTo>
                  <a:pt x="90" y="162"/>
                </a:moveTo>
                <a:cubicBezTo>
                  <a:pt x="76" y="158"/>
                  <a:pt x="59" y="147"/>
                  <a:pt x="42" y="131"/>
                </a:cubicBezTo>
                <a:cubicBezTo>
                  <a:pt x="36" y="125"/>
                  <a:pt x="29" y="120"/>
                  <a:pt x="27" y="120"/>
                </a:cubicBezTo>
                <a:cubicBezTo>
                  <a:pt x="19" y="120"/>
                  <a:pt x="0" y="102"/>
                  <a:pt x="0" y="95"/>
                </a:cubicBezTo>
                <a:cubicBezTo>
                  <a:pt x="0" y="85"/>
                  <a:pt x="64" y="0"/>
                  <a:pt x="71" y="0"/>
                </a:cubicBezTo>
                <a:cubicBezTo>
                  <a:pt x="81" y="0"/>
                  <a:pt x="118" y="38"/>
                  <a:pt x="129" y="60"/>
                </a:cubicBezTo>
                <a:cubicBezTo>
                  <a:pt x="145" y="93"/>
                  <a:pt x="156" y="125"/>
                  <a:pt x="156" y="137"/>
                </a:cubicBezTo>
                <a:cubicBezTo>
                  <a:pt x="156" y="145"/>
                  <a:pt x="152" y="150"/>
                  <a:pt x="141" y="158"/>
                </a:cubicBezTo>
                <a:cubicBezTo>
                  <a:pt x="125" y="168"/>
                  <a:pt x="112" y="169"/>
                  <a:pt x="90" y="162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Freeform 34"/>
          <p:cNvSpPr/>
          <p:nvPr userDrawn="1">
            <p:custDataLst>
              <p:tags r:id="rId81"/>
            </p:custDataLst>
          </p:nvPr>
        </p:nvSpPr>
        <p:spPr bwMode="grayWhite">
          <a:xfrm>
            <a:off x="3964944" y="-2725849"/>
            <a:ext cx="1857376" cy="1849438"/>
          </a:xfrm>
          <a:custGeom>
            <a:gdLst>
              <a:gd name="T0" fmla="*/ 1070 w 1292"/>
              <a:gd name="T1" fmla="*/ 1274 h 1288"/>
              <a:gd name="T2" fmla="*/ 940 w 1292"/>
              <a:gd name="T3" fmla="*/ 1225 h 1288"/>
              <a:gd name="T4" fmla="*/ 911 w 1292"/>
              <a:gd name="T5" fmla="*/ 1166 h 1288"/>
              <a:gd name="T6" fmla="*/ 837 w 1292"/>
              <a:gd name="T7" fmla="*/ 1122 h 1288"/>
              <a:gd name="T8" fmla="*/ 730 w 1292"/>
              <a:gd name="T9" fmla="*/ 1106 h 1288"/>
              <a:gd name="T10" fmla="*/ 645 w 1292"/>
              <a:gd name="T11" fmla="*/ 1138 h 1288"/>
              <a:gd name="T12" fmla="*/ 595 w 1292"/>
              <a:gd name="T13" fmla="*/ 1021 h 1288"/>
              <a:gd name="T14" fmla="*/ 717 w 1292"/>
              <a:gd name="T15" fmla="*/ 988 h 1288"/>
              <a:gd name="T16" fmla="*/ 763 w 1292"/>
              <a:gd name="T17" fmla="*/ 933 h 1288"/>
              <a:gd name="T18" fmla="*/ 740 w 1292"/>
              <a:gd name="T19" fmla="*/ 867 h 1288"/>
              <a:gd name="T20" fmla="*/ 780 w 1292"/>
              <a:gd name="T21" fmla="*/ 746 h 1288"/>
              <a:gd name="T22" fmla="*/ 683 w 1292"/>
              <a:gd name="T23" fmla="*/ 619 h 1288"/>
              <a:gd name="T24" fmla="*/ 627 w 1292"/>
              <a:gd name="T25" fmla="*/ 587 h 1288"/>
              <a:gd name="T26" fmla="*/ 596 w 1292"/>
              <a:gd name="T27" fmla="*/ 569 h 1288"/>
              <a:gd name="T28" fmla="*/ 547 w 1292"/>
              <a:gd name="T29" fmla="*/ 542 h 1288"/>
              <a:gd name="T30" fmla="*/ 488 w 1292"/>
              <a:gd name="T31" fmla="*/ 460 h 1288"/>
              <a:gd name="T32" fmla="*/ 442 w 1292"/>
              <a:gd name="T33" fmla="*/ 490 h 1288"/>
              <a:gd name="T34" fmla="*/ 315 w 1292"/>
              <a:gd name="T35" fmla="*/ 503 h 1288"/>
              <a:gd name="T36" fmla="*/ 145 w 1292"/>
              <a:gd name="T37" fmla="*/ 477 h 1288"/>
              <a:gd name="T38" fmla="*/ 19 w 1292"/>
              <a:gd name="T39" fmla="*/ 390 h 1288"/>
              <a:gd name="T40" fmla="*/ 83 w 1292"/>
              <a:gd name="T41" fmla="*/ 372 h 1288"/>
              <a:gd name="T42" fmla="*/ 1 w 1292"/>
              <a:gd name="T43" fmla="*/ 283 h 1288"/>
              <a:gd name="T44" fmla="*/ 192 w 1292"/>
              <a:gd name="T45" fmla="*/ 31 h 1288"/>
              <a:gd name="T46" fmla="*/ 156 w 1292"/>
              <a:gd name="T47" fmla="*/ 113 h 1288"/>
              <a:gd name="T48" fmla="*/ 159 w 1292"/>
              <a:gd name="T49" fmla="*/ 242 h 1288"/>
              <a:gd name="T50" fmla="*/ 180 w 1292"/>
              <a:gd name="T51" fmla="*/ 198 h 1288"/>
              <a:gd name="T52" fmla="*/ 184 w 1292"/>
              <a:gd name="T53" fmla="*/ 113 h 1288"/>
              <a:gd name="T54" fmla="*/ 242 w 1292"/>
              <a:gd name="T55" fmla="*/ 31 h 1288"/>
              <a:gd name="T56" fmla="*/ 373 w 1292"/>
              <a:gd name="T57" fmla="*/ 143 h 1288"/>
              <a:gd name="T58" fmla="*/ 433 w 1292"/>
              <a:gd name="T59" fmla="*/ 157 h 1288"/>
              <a:gd name="T60" fmla="*/ 543 w 1292"/>
              <a:gd name="T61" fmla="*/ 130 h 1288"/>
              <a:gd name="T62" fmla="*/ 609 w 1292"/>
              <a:gd name="T63" fmla="*/ 198 h 1288"/>
              <a:gd name="T64" fmla="*/ 666 w 1292"/>
              <a:gd name="T65" fmla="*/ 251 h 1288"/>
              <a:gd name="T66" fmla="*/ 744 w 1292"/>
              <a:gd name="T67" fmla="*/ 254 h 1288"/>
              <a:gd name="T68" fmla="*/ 809 w 1292"/>
              <a:gd name="T69" fmla="*/ 305 h 1288"/>
              <a:gd name="T70" fmla="*/ 868 w 1292"/>
              <a:gd name="T71" fmla="*/ 369 h 1288"/>
              <a:gd name="T72" fmla="*/ 949 w 1292"/>
              <a:gd name="T73" fmla="*/ 408 h 1288"/>
              <a:gd name="T74" fmla="*/ 991 w 1292"/>
              <a:gd name="T75" fmla="*/ 469 h 1288"/>
              <a:gd name="T76" fmla="*/ 938 w 1292"/>
              <a:gd name="T77" fmla="*/ 496 h 1288"/>
              <a:gd name="T78" fmla="*/ 998 w 1292"/>
              <a:gd name="T79" fmla="*/ 580 h 1288"/>
              <a:gd name="T80" fmla="*/ 1084 w 1292"/>
              <a:gd name="T81" fmla="*/ 599 h 1288"/>
              <a:gd name="T82" fmla="*/ 1167 w 1292"/>
              <a:gd name="T83" fmla="*/ 642 h 1288"/>
              <a:gd name="T84" fmla="*/ 1201 w 1292"/>
              <a:gd name="T85" fmla="*/ 673 h 1288"/>
              <a:gd name="T86" fmla="*/ 1274 w 1292"/>
              <a:gd name="T87" fmla="*/ 664 h 1288"/>
              <a:gd name="T88" fmla="*/ 1278 w 1292"/>
              <a:gd name="T89" fmla="*/ 758 h 1288"/>
              <a:gd name="T90" fmla="*/ 1253 w 1292"/>
              <a:gd name="T91" fmla="*/ 838 h 1288"/>
              <a:gd name="T92" fmla="*/ 1255 w 1292"/>
              <a:gd name="T93" fmla="*/ 909 h 1288"/>
              <a:gd name="T94" fmla="*/ 1157 w 1292"/>
              <a:gd name="T95" fmla="*/ 871 h 1288"/>
              <a:gd name="T96" fmla="*/ 1051 w 1292"/>
              <a:gd name="T97" fmla="*/ 801 h 1288"/>
              <a:gd name="T98" fmla="*/ 1041 w 1292"/>
              <a:gd name="T99" fmla="*/ 825 h 1288"/>
              <a:gd name="T100" fmla="*/ 1039 w 1292"/>
              <a:gd name="T101" fmla="*/ 881 h 1288"/>
              <a:gd name="T102" fmla="*/ 1158 w 1292"/>
              <a:gd name="T103" fmla="*/ 953 h 1288"/>
              <a:gd name="T104" fmla="*/ 1205 w 1292"/>
              <a:gd name="T105" fmla="*/ 1001 h 1288"/>
              <a:gd name="T106" fmla="*/ 1271 w 1292"/>
              <a:gd name="T107" fmla="*/ 1130 h 1288"/>
              <a:gd name="T108" fmla="*/ 1105 w 1292"/>
              <a:gd name="T109" fmla="*/ 1126 h 1288"/>
              <a:gd name="T110" fmla="*/ 1085 w 1292"/>
              <a:gd name="T111" fmla="*/ 1147 h 1288"/>
              <a:gd name="T112" fmla="*/ 1239 w 1292"/>
              <a:gd name="T113" fmla="*/ 1240 h 1288"/>
              <a:gd name="T114" fmla="*/ 1214 w 1292"/>
              <a:gd name="T115" fmla="*/ 1288 h 1288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292" h="1288">
                <a:moveTo>
                  <a:pt x="1190" y="1287"/>
                </a:moveTo>
                <a:cubicBezTo>
                  <a:pt x="1189" y="1286"/>
                  <a:pt x="1164" y="1285"/>
                  <a:pt x="1134" y="1284"/>
                </a:cubicBezTo>
                <a:cubicBezTo>
                  <a:pt x="1090" y="1282"/>
                  <a:pt x="1077" y="1280"/>
                  <a:pt x="1070" y="1274"/>
                </a:cubicBezTo>
                <a:cubicBezTo>
                  <a:pt x="1066" y="1271"/>
                  <a:pt x="1056" y="1263"/>
                  <a:pt x="1049" y="1257"/>
                </a:cubicBezTo>
                <a:cubicBezTo>
                  <a:pt x="1039" y="1248"/>
                  <a:pt x="1033" y="1246"/>
                  <a:pt x="1017" y="1247"/>
                </a:cubicBezTo>
                <a:cubicBezTo>
                  <a:pt x="995" y="1248"/>
                  <a:pt x="982" y="1245"/>
                  <a:pt x="940" y="1225"/>
                </a:cubicBezTo>
                <a:cubicBezTo>
                  <a:pt x="915" y="1213"/>
                  <a:pt x="911" y="1210"/>
                  <a:pt x="907" y="1196"/>
                </a:cubicBezTo>
                <a:cubicBezTo>
                  <a:pt x="902" y="1183"/>
                  <a:pt x="902" y="1180"/>
                  <a:pt x="908" y="1177"/>
                </a:cubicBezTo>
                <a:cubicBezTo>
                  <a:pt x="916" y="1173"/>
                  <a:pt x="918" y="1166"/>
                  <a:pt x="911" y="1166"/>
                </a:cubicBezTo>
                <a:cubicBezTo>
                  <a:pt x="909" y="1166"/>
                  <a:pt x="898" y="1159"/>
                  <a:pt x="887" y="1152"/>
                </a:cubicBezTo>
                <a:cubicBezTo>
                  <a:pt x="876" y="1144"/>
                  <a:pt x="862" y="1137"/>
                  <a:pt x="855" y="1136"/>
                </a:cubicBezTo>
                <a:cubicBezTo>
                  <a:pt x="847" y="1134"/>
                  <a:pt x="841" y="1129"/>
                  <a:pt x="837" y="1122"/>
                </a:cubicBezTo>
                <a:cubicBezTo>
                  <a:pt x="828" y="1104"/>
                  <a:pt x="808" y="1092"/>
                  <a:pt x="785" y="1090"/>
                </a:cubicBezTo>
                <a:cubicBezTo>
                  <a:pt x="768" y="1088"/>
                  <a:pt x="764" y="1089"/>
                  <a:pt x="756" y="1097"/>
                </a:cubicBezTo>
                <a:cubicBezTo>
                  <a:pt x="750" y="1103"/>
                  <a:pt x="743" y="1106"/>
                  <a:pt x="730" y="1106"/>
                </a:cubicBezTo>
                <a:cubicBezTo>
                  <a:pt x="715" y="1106"/>
                  <a:pt x="710" y="1108"/>
                  <a:pt x="696" y="1122"/>
                </a:cubicBezTo>
                <a:cubicBezTo>
                  <a:pt x="678" y="1138"/>
                  <a:pt x="678" y="1138"/>
                  <a:pt x="678" y="1138"/>
                </a:cubicBezTo>
                <a:cubicBezTo>
                  <a:pt x="645" y="1138"/>
                  <a:pt x="645" y="1138"/>
                  <a:pt x="645" y="1138"/>
                </a:cubicBezTo>
                <a:cubicBezTo>
                  <a:pt x="590" y="1138"/>
                  <a:pt x="578" y="1127"/>
                  <a:pt x="572" y="1078"/>
                </a:cubicBezTo>
                <a:cubicBezTo>
                  <a:pt x="571" y="1061"/>
                  <a:pt x="572" y="1058"/>
                  <a:pt x="583" y="1048"/>
                </a:cubicBezTo>
                <a:cubicBezTo>
                  <a:pt x="592" y="1039"/>
                  <a:pt x="595" y="1033"/>
                  <a:pt x="595" y="1021"/>
                </a:cubicBezTo>
                <a:cubicBezTo>
                  <a:pt x="595" y="1011"/>
                  <a:pt x="597" y="1005"/>
                  <a:pt x="602" y="1002"/>
                </a:cubicBezTo>
                <a:cubicBezTo>
                  <a:pt x="606" y="1000"/>
                  <a:pt x="630" y="998"/>
                  <a:pt x="657" y="998"/>
                </a:cubicBezTo>
                <a:cubicBezTo>
                  <a:pt x="700" y="997"/>
                  <a:pt x="705" y="996"/>
                  <a:pt x="717" y="988"/>
                </a:cubicBezTo>
                <a:cubicBezTo>
                  <a:pt x="734" y="975"/>
                  <a:pt x="753" y="966"/>
                  <a:pt x="763" y="966"/>
                </a:cubicBezTo>
                <a:cubicBezTo>
                  <a:pt x="771" y="966"/>
                  <a:pt x="772" y="964"/>
                  <a:pt x="769" y="957"/>
                </a:cubicBezTo>
                <a:cubicBezTo>
                  <a:pt x="766" y="946"/>
                  <a:pt x="764" y="937"/>
                  <a:pt x="763" y="933"/>
                </a:cubicBezTo>
                <a:cubicBezTo>
                  <a:pt x="763" y="932"/>
                  <a:pt x="756" y="926"/>
                  <a:pt x="747" y="920"/>
                </a:cubicBezTo>
                <a:cubicBezTo>
                  <a:pt x="731" y="909"/>
                  <a:pt x="730" y="908"/>
                  <a:pt x="732" y="893"/>
                </a:cubicBezTo>
                <a:cubicBezTo>
                  <a:pt x="733" y="885"/>
                  <a:pt x="737" y="873"/>
                  <a:pt x="740" y="867"/>
                </a:cubicBezTo>
                <a:cubicBezTo>
                  <a:pt x="743" y="861"/>
                  <a:pt x="755" y="837"/>
                  <a:pt x="767" y="815"/>
                </a:cubicBezTo>
                <a:cubicBezTo>
                  <a:pt x="787" y="774"/>
                  <a:pt x="787" y="774"/>
                  <a:pt x="787" y="774"/>
                </a:cubicBezTo>
                <a:cubicBezTo>
                  <a:pt x="780" y="746"/>
                  <a:pt x="780" y="746"/>
                  <a:pt x="780" y="746"/>
                </a:cubicBezTo>
                <a:cubicBezTo>
                  <a:pt x="772" y="719"/>
                  <a:pt x="749" y="682"/>
                  <a:pt x="729" y="665"/>
                </a:cubicBezTo>
                <a:cubicBezTo>
                  <a:pt x="725" y="662"/>
                  <a:pt x="718" y="653"/>
                  <a:pt x="713" y="645"/>
                </a:cubicBezTo>
                <a:cubicBezTo>
                  <a:pt x="707" y="636"/>
                  <a:pt x="695" y="625"/>
                  <a:pt x="683" y="619"/>
                </a:cubicBezTo>
                <a:cubicBezTo>
                  <a:pt x="667" y="610"/>
                  <a:pt x="663" y="605"/>
                  <a:pt x="660" y="594"/>
                </a:cubicBezTo>
                <a:cubicBezTo>
                  <a:pt x="657" y="581"/>
                  <a:pt x="656" y="580"/>
                  <a:pt x="645" y="581"/>
                </a:cubicBezTo>
                <a:cubicBezTo>
                  <a:pt x="638" y="582"/>
                  <a:pt x="630" y="585"/>
                  <a:pt x="627" y="587"/>
                </a:cubicBezTo>
                <a:cubicBezTo>
                  <a:pt x="624" y="590"/>
                  <a:pt x="614" y="596"/>
                  <a:pt x="605" y="601"/>
                </a:cubicBezTo>
                <a:cubicBezTo>
                  <a:pt x="590" y="608"/>
                  <a:pt x="587" y="608"/>
                  <a:pt x="583" y="604"/>
                </a:cubicBezTo>
                <a:cubicBezTo>
                  <a:pt x="576" y="596"/>
                  <a:pt x="582" y="581"/>
                  <a:pt x="596" y="569"/>
                </a:cubicBezTo>
                <a:cubicBezTo>
                  <a:pt x="609" y="558"/>
                  <a:pt x="609" y="558"/>
                  <a:pt x="601" y="552"/>
                </a:cubicBezTo>
                <a:cubicBezTo>
                  <a:pt x="591" y="544"/>
                  <a:pt x="586" y="544"/>
                  <a:pt x="571" y="552"/>
                </a:cubicBezTo>
                <a:cubicBezTo>
                  <a:pt x="555" y="560"/>
                  <a:pt x="547" y="557"/>
                  <a:pt x="547" y="542"/>
                </a:cubicBezTo>
                <a:cubicBezTo>
                  <a:pt x="547" y="535"/>
                  <a:pt x="550" y="530"/>
                  <a:pt x="555" y="527"/>
                </a:cubicBezTo>
                <a:cubicBezTo>
                  <a:pt x="563" y="524"/>
                  <a:pt x="562" y="522"/>
                  <a:pt x="544" y="505"/>
                </a:cubicBezTo>
                <a:cubicBezTo>
                  <a:pt x="512" y="473"/>
                  <a:pt x="493" y="459"/>
                  <a:pt x="488" y="460"/>
                </a:cubicBezTo>
                <a:cubicBezTo>
                  <a:pt x="485" y="461"/>
                  <a:pt x="483" y="468"/>
                  <a:pt x="483" y="476"/>
                </a:cubicBezTo>
                <a:cubicBezTo>
                  <a:pt x="483" y="490"/>
                  <a:pt x="483" y="490"/>
                  <a:pt x="483" y="490"/>
                </a:cubicBezTo>
                <a:cubicBezTo>
                  <a:pt x="442" y="490"/>
                  <a:pt x="442" y="490"/>
                  <a:pt x="442" y="490"/>
                </a:cubicBezTo>
                <a:cubicBezTo>
                  <a:pt x="420" y="491"/>
                  <a:pt x="389" y="491"/>
                  <a:pt x="375" y="491"/>
                </a:cubicBezTo>
                <a:cubicBezTo>
                  <a:pt x="352" y="490"/>
                  <a:pt x="348" y="491"/>
                  <a:pt x="349" y="497"/>
                </a:cubicBezTo>
                <a:cubicBezTo>
                  <a:pt x="349" y="503"/>
                  <a:pt x="344" y="503"/>
                  <a:pt x="315" y="503"/>
                </a:cubicBezTo>
                <a:cubicBezTo>
                  <a:pt x="296" y="503"/>
                  <a:pt x="262" y="501"/>
                  <a:pt x="239" y="500"/>
                </a:cubicBezTo>
                <a:cubicBezTo>
                  <a:pt x="213" y="498"/>
                  <a:pt x="192" y="498"/>
                  <a:pt x="183" y="501"/>
                </a:cubicBezTo>
                <a:cubicBezTo>
                  <a:pt x="165" y="505"/>
                  <a:pt x="152" y="497"/>
                  <a:pt x="145" y="477"/>
                </a:cubicBezTo>
                <a:cubicBezTo>
                  <a:pt x="141" y="465"/>
                  <a:pt x="139" y="464"/>
                  <a:pt x="129" y="465"/>
                </a:cubicBezTo>
                <a:cubicBezTo>
                  <a:pt x="82" y="469"/>
                  <a:pt x="79" y="468"/>
                  <a:pt x="67" y="460"/>
                </a:cubicBezTo>
                <a:cubicBezTo>
                  <a:pt x="41" y="440"/>
                  <a:pt x="19" y="409"/>
                  <a:pt x="19" y="390"/>
                </a:cubicBezTo>
                <a:cubicBezTo>
                  <a:pt x="19" y="384"/>
                  <a:pt x="23" y="382"/>
                  <a:pt x="38" y="380"/>
                </a:cubicBezTo>
                <a:cubicBezTo>
                  <a:pt x="48" y="379"/>
                  <a:pt x="64" y="378"/>
                  <a:pt x="73" y="378"/>
                </a:cubicBezTo>
                <a:cubicBezTo>
                  <a:pt x="87" y="378"/>
                  <a:pt x="88" y="377"/>
                  <a:pt x="83" y="372"/>
                </a:cubicBezTo>
                <a:cubicBezTo>
                  <a:pt x="74" y="364"/>
                  <a:pt x="52" y="358"/>
                  <a:pt x="33" y="358"/>
                </a:cubicBezTo>
                <a:cubicBezTo>
                  <a:pt x="21" y="358"/>
                  <a:pt x="15" y="356"/>
                  <a:pt x="13" y="351"/>
                </a:cubicBezTo>
                <a:cubicBezTo>
                  <a:pt x="6" y="333"/>
                  <a:pt x="0" y="300"/>
                  <a:pt x="1" y="283"/>
                </a:cubicBezTo>
                <a:cubicBezTo>
                  <a:pt x="6" y="200"/>
                  <a:pt x="8" y="191"/>
                  <a:pt x="25" y="141"/>
                </a:cubicBezTo>
                <a:cubicBezTo>
                  <a:pt x="50" y="68"/>
                  <a:pt x="69" y="34"/>
                  <a:pt x="91" y="21"/>
                </a:cubicBezTo>
                <a:cubicBezTo>
                  <a:pt x="127" y="0"/>
                  <a:pt x="185" y="6"/>
                  <a:pt x="192" y="31"/>
                </a:cubicBezTo>
                <a:cubicBezTo>
                  <a:pt x="194" y="41"/>
                  <a:pt x="193" y="45"/>
                  <a:pt x="181" y="58"/>
                </a:cubicBezTo>
                <a:cubicBezTo>
                  <a:pt x="173" y="67"/>
                  <a:pt x="166" y="80"/>
                  <a:pt x="165" y="88"/>
                </a:cubicBezTo>
                <a:cubicBezTo>
                  <a:pt x="163" y="97"/>
                  <a:pt x="159" y="108"/>
                  <a:pt x="156" y="113"/>
                </a:cubicBezTo>
                <a:cubicBezTo>
                  <a:pt x="149" y="124"/>
                  <a:pt x="139" y="165"/>
                  <a:pt x="142" y="171"/>
                </a:cubicBezTo>
                <a:cubicBezTo>
                  <a:pt x="143" y="173"/>
                  <a:pt x="145" y="188"/>
                  <a:pt x="145" y="204"/>
                </a:cubicBezTo>
                <a:cubicBezTo>
                  <a:pt x="147" y="237"/>
                  <a:pt x="148" y="242"/>
                  <a:pt x="159" y="242"/>
                </a:cubicBezTo>
                <a:cubicBezTo>
                  <a:pt x="164" y="242"/>
                  <a:pt x="167" y="238"/>
                  <a:pt x="169" y="231"/>
                </a:cubicBezTo>
                <a:cubicBezTo>
                  <a:pt x="171" y="225"/>
                  <a:pt x="175" y="216"/>
                  <a:pt x="178" y="212"/>
                </a:cubicBezTo>
                <a:cubicBezTo>
                  <a:pt x="184" y="206"/>
                  <a:pt x="184" y="204"/>
                  <a:pt x="180" y="198"/>
                </a:cubicBezTo>
                <a:cubicBezTo>
                  <a:pt x="170" y="184"/>
                  <a:pt x="166" y="171"/>
                  <a:pt x="165" y="152"/>
                </a:cubicBezTo>
                <a:cubicBezTo>
                  <a:pt x="165" y="137"/>
                  <a:pt x="167" y="131"/>
                  <a:pt x="173" y="126"/>
                </a:cubicBezTo>
                <a:cubicBezTo>
                  <a:pt x="178" y="123"/>
                  <a:pt x="183" y="116"/>
                  <a:pt x="184" y="113"/>
                </a:cubicBezTo>
                <a:cubicBezTo>
                  <a:pt x="186" y="109"/>
                  <a:pt x="189" y="106"/>
                  <a:pt x="191" y="106"/>
                </a:cubicBezTo>
                <a:cubicBezTo>
                  <a:pt x="193" y="106"/>
                  <a:pt x="195" y="102"/>
                  <a:pt x="195" y="97"/>
                </a:cubicBezTo>
                <a:cubicBezTo>
                  <a:pt x="195" y="83"/>
                  <a:pt x="226" y="40"/>
                  <a:pt x="242" y="31"/>
                </a:cubicBezTo>
                <a:cubicBezTo>
                  <a:pt x="260" y="21"/>
                  <a:pt x="298" y="14"/>
                  <a:pt x="310" y="18"/>
                </a:cubicBezTo>
                <a:cubicBezTo>
                  <a:pt x="317" y="21"/>
                  <a:pt x="324" y="31"/>
                  <a:pt x="348" y="76"/>
                </a:cubicBezTo>
                <a:cubicBezTo>
                  <a:pt x="364" y="104"/>
                  <a:pt x="375" y="135"/>
                  <a:pt x="373" y="143"/>
                </a:cubicBezTo>
                <a:cubicBezTo>
                  <a:pt x="370" y="155"/>
                  <a:pt x="385" y="174"/>
                  <a:pt x="396" y="174"/>
                </a:cubicBezTo>
                <a:cubicBezTo>
                  <a:pt x="401" y="174"/>
                  <a:pt x="412" y="172"/>
                  <a:pt x="420" y="169"/>
                </a:cubicBezTo>
                <a:cubicBezTo>
                  <a:pt x="433" y="166"/>
                  <a:pt x="435" y="164"/>
                  <a:pt x="433" y="157"/>
                </a:cubicBezTo>
                <a:cubicBezTo>
                  <a:pt x="429" y="144"/>
                  <a:pt x="453" y="124"/>
                  <a:pt x="481" y="118"/>
                </a:cubicBezTo>
                <a:cubicBezTo>
                  <a:pt x="504" y="113"/>
                  <a:pt x="507" y="113"/>
                  <a:pt x="519" y="121"/>
                </a:cubicBezTo>
                <a:cubicBezTo>
                  <a:pt x="527" y="126"/>
                  <a:pt x="538" y="130"/>
                  <a:pt x="543" y="130"/>
                </a:cubicBezTo>
                <a:cubicBezTo>
                  <a:pt x="556" y="130"/>
                  <a:pt x="573" y="144"/>
                  <a:pt x="577" y="158"/>
                </a:cubicBezTo>
                <a:cubicBezTo>
                  <a:pt x="581" y="171"/>
                  <a:pt x="591" y="182"/>
                  <a:pt x="599" y="182"/>
                </a:cubicBezTo>
                <a:cubicBezTo>
                  <a:pt x="604" y="182"/>
                  <a:pt x="607" y="186"/>
                  <a:pt x="609" y="198"/>
                </a:cubicBezTo>
                <a:cubicBezTo>
                  <a:pt x="611" y="206"/>
                  <a:pt x="613" y="214"/>
                  <a:pt x="615" y="214"/>
                </a:cubicBezTo>
                <a:cubicBezTo>
                  <a:pt x="617" y="214"/>
                  <a:pt x="629" y="223"/>
                  <a:pt x="641" y="236"/>
                </a:cubicBezTo>
                <a:cubicBezTo>
                  <a:pt x="659" y="254"/>
                  <a:pt x="664" y="256"/>
                  <a:pt x="666" y="251"/>
                </a:cubicBezTo>
                <a:cubicBezTo>
                  <a:pt x="667" y="247"/>
                  <a:pt x="670" y="238"/>
                  <a:pt x="673" y="230"/>
                </a:cubicBezTo>
                <a:cubicBezTo>
                  <a:pt x="680" y="216"/>
                  <a:pt x="683" y="216"/>
                  <a:pt x="718" y="228"/>
                </a:cubicBezTo>
                <a:cubicBezTo>
                  <a:pt x="733" y="233"/>
                  <a:pt x="736" y="237"/>
                  <a:pt x="744" y="254"/>
                </a:cubicBezTo>
                <a:cubicBezTo>
                  <a:pt x="749" y="266"/>
                  <a:pt x="757" y="276"/>
                  <a:pt x="763" y="280"/>
                </a:cubicBezTo>
                <a:cubicBezTo>
                  <a:pt x="769" y="284"/>
                  <a:pt x="777" y="291"/>
                  <a:pt x="779" y="295"/>
                </a:cubicBezTo>
                <a:cubicBezTo>
                  <a:pt x="787" y="311"/>
                  <a:pt x="797" y="314"/>
                  <a:pt x="809" y="305"/>
                </a:cubicBezTo>
                <a:cubicBezTo>
                  <a:pt x="822" y="295"/>
                  <a:pt x="831" y="297"/>
                  <a:pt x="855" y="314"/>
                </a:cubicBezTo>
                <a:cubicBezTo>
                  <a:pt x="870" y="325"/>
                  <a:pt x="872" y="328"/>
                  <a:pt x="869" y="337"/>
                </a:cubicBezTo>
                <a:cubicBezTo>
                  <a:pt x="862" y="365"/>
                  <a:pt x="862" y="370"/>
                  <a:pt x="868" y="369"/>
                </a:cubicBezTo>
                <a:cubicBezTo>
                  <a:pt x="871" y="368"/>
                  <a:pt x="876" y="363"/>
                  <a:pt x="880" y="357"/>
                </a:cubicBezTo>
                <a:cubicBezTo>
                  <a:pt x="890" y="341"/>
                  <a:pt x="902" y="342"/>
                  <a:pt x="922" y="363"/>
                </a:cubicBezTo>
                <a:cubicBezTo>
                  <a:pt x="940" y="382"/>
                  <a:pt x="949" y="396"/>
                  <a:pt x="949" y="408"/>
                </a:cubicBezTo>
                <a:cubicBezTo>
                  <a:pt x="950" y="430"/>
                  <a:pt x="952" y="432"/>
                  <a:pt x="965" y="439"/>
                </a:cubicBezTo>
                <a:cubicBezTo>
                  <a:pt x="973" y="442"/>
                  <a:pt x="982" y="451"/>
                  <a:pt x="985" y="457"/>
                </a:cubicBezTo>
                <a:cubicBezTo>
                  <a:pt x="991" y="469"/>
                  <a:pt x="991" y="469"/>
                  <a:pt x="991" y="469"/>
                </a:cubicBezTo>
                <a:cubicBezTo>
                  <a:pt x="973" y="480"/>
                  <a:pt x="973" y="480"/>
                  <a:pt x="973" y="480"/>
                </a:cubicBezTo>
                <a:cubicBezTo>
                  <a:pt x="958" y="489"/>
                  <a:pt x="953" y="490"/>
                  <a:pt x="945" y="486"/>
                </a:cubicBezTo>
                <a:cubicBezTo>
                  <a:pt x="933" y="481"/>
                  <a:pt x="930" y="484"/>
                  <a:pt x="938" y="496"/>
                </a:cubicBezTo>
                <a:cubicBezTo>
                  <a:pt x="944" y="505"/>
                  <a:pt x="944" y="522"/>
                  <a:pt x="937" y="538"/>
                </a:cubicBezTo>
                <a:cubicBezTo>
                  <a:pt x="934" y="547"/>
                  <a:pt x="947" y="559"/>
                  <a:pt x="967" y="565"/>
                </a:cubicBezTo>
                <a:cubicBezTo>
                  <a:pt x="975" y="567"/>
                  <a:pt x="989" y="574"/>
                  <a:pt x="998" y="580"/>
                </a:cubicBezTo>
                <a:cubicBezTo>
                  <a:pt x="1006" y="586"/>
                  <a:pt x="1019" y="591"/>
                  <a:pt x="1027" y="591"/>
                </a:cubicBezTo>
                <a:cubicBezTo>
                  <a:pt x="1035" y="592"/>
                  <a:pt x="1046" y="594"/>
                  <a:pt x="1051" y="596"/>
                </a:cubicBezTo>
                <a:cubicBezTo>
                  <a:pt x="1057" y="598"/>
                  <a:pt x="1072" y="600"/>
                  <a:pt x="1084" y="599"/>
                </a:cubicBezTo>
                <a:cubicBezTo>
                  <a:pt x="1108" y="597"/>
                  <a:pt x="1108" y="597"/>
                  <a:pt x="1108" y="597"/>
                </a:cubicBezTo>
                <a:cubicBezTo>
                  <a:pt x="1129" y="619"/>
                  <a:pt x="1129" y="619"/>
                  <a:pt x="1129" y="619"/>
                </a:cubicBezTo>
                <a:cubicBezTo>
                  <a:pt x="1148" y="639"/>
                  <a:pt x="1152" y="642"/>
                  <a:pt x="1167" y="642"/>
                </a:cubicBezTo>
                <a:cubicBezTo>
                  <a:pt x="1176" y="642"/>
                  <a:pt x="1185" y="643"/>
                  <a:pt x="1188" y="643"/>
                </a:cubicBezTo>
                <a:cubicBezTo>
                  <a:pt x="1191" y="643"/>
                  <a:pt x="1194" y="649"/>
                  <a:pt x="1196" y="657"/>
                </a:cubicBezTo>
                <a:cubicBezTo>
                  <a:pt x="1197" y="664"/>
                  <a:pt x="1199" y="671"/>
                  <a:pt x="1201" y="673"/>
                </a:cubicBezTo>
                <a:cubicBezTo>
                  <a:pt x="1202" y="674"/>
                  <a:pt x="1216" y="671"/>
                  <a:pt x="1231" y="666"/>
                </a:cubicBezTo>
                <a:cubicBezTo>
                  <a:pt x="1259" y="656"/>
                  <a:pt x="1259" y="656"/>
                  <a:pt x="1259" y="656"/>
                </a:cubicBezTo>
                <a:cubicBezTo>
                  <a:pt x="1274" y="664"/>
                  <a:pt x="1274" y="664"/>
                  <a:pt x="1274" y="664"/>
                </a:cubicBezTo>
                <a:cubicBezTo>
                  <a:pt x="1288" y="673"/>
                  <a:pt x="1289" y="674"/>
                  <a:pt x="1290" y="694"/>
                </a:cubicBezTo>
                <a:cubicBezTo>
                  <a:pt x="1292" y="720"/>
                  <a:pt x="1290" y="729"/>
                  <a:pt x="1279" y="741"/>
                </a:cubicBezTo>
                <a:cubicBezTo>
                  <a:pt x="1272" y="750"/>
                  <a:pt x="1271" y="751"/>
                  <a:pt x="1278" y="758"/>
                </a:cubicBezTo>
                <a:cubicBezTo>
                  <a:pt x="1283" y="764"/>
                  <a:pt x="1284" y="767"/>
                  <a:pt x="1280" y="775"/>
                </a:cubicBezTo>
                <a:cubicBezTo>
                  <a:pt x="1278" y="781"/>
                  <a:pt x="1277" y="791"/>
                  <a:pt x="1278" y="799"/>
                </a:cubicBezTo>
                <a:cubicBezTo>
                  <a:pt x="1281" y="817"/>
                  <a:pt x="1267" y="838"/>
                  <a:pt x="1253" y="838"/>
                </a:cubicBezTo>
                <a:cubicBezTo>
                  <a:pt x="1244" y="838"/>
                  <a:pt x="1243" y="839"/>
                  <a:pt x="1245" y="847"/>
                </a:cubicBezTo>
                <a:cubicBezTo>
                  <a:pt x="1250" y="860"/>
                  <a:pt x="1263" y="885"/>
                  <a:pt x="1267" y="888"/>
                </a:cubicBezTo>
                <a:cubicBezTo>
                  <a:pt x="1275" y="893"/>
                  <a:pt x="1271" y="901"/>
                  <a:pt x="1255" y="909"/>
                </a:cubicBezTo>
                <a:cubicBezTo>
                  <a:pt x="1238" y="917"/>
                  <a:pt x="1238" y="917"/>
                  <a:pt x="1224" y="910"/>
                </a:cubicBezTo>
                <a:cubicBezTo>
                  <a:pt x="1216" y="905"/>
                  <a:pt x="1201" y="900"/>
                  <a:pt x="1191" y="897"/>
                </a:cubicBezTo>
                <a:cubicBezTo>
                  <a:pt x="1174" y="893"/>
                  <a:pt x="1169" y="889"/>
                  <a:pt x="1157" y="871"/>
                </a:cubicBezTo>
                <a:cubicBezTo>
                  <a:pt x="1142" y="848"/>
                  <a:pt x="1114" y="822"/>
                  <a:pt x="1105" y="822"/>
                </a:cubicBezTo>
                <a:cubicBezTo>
                  <a:pt x="1102" y="822"/>
                  <a:pt x="1097" y="819"/>
                  <a:pt x="1094" y="816"/>
                </a:cubicBezTo>
                <a:cubicBezTo>
                  <a:pt x="1078" y="801"/>
                  <a:pt x="1051" y="791"/>
                  <a:pt x="1051" y="801"/>
                </a:cubicBezTo>
                <a:cubicBezTo>
                  <a:pt x="1051" y="803"/>
                  <a:pt x="1046" y="806"/>
                  <a:pt x="1041" y="809"/>
                </a:cubicBezTo>
                <a:cubicBezTo>
                  <a:pt x="1030" y="814"/>
                  <a:pt x="1030" y="814"/>
                  <a:pt x="1030" y="814"/>
                </a:cubicBezTo>
                <a:cubicBezTo>
                  <a:pt x="1041" y="825"/>
                  <a:pt x="1041" y="825"/>
                  <a:pt x="1041" y="825"/>
                </a:cubicBezTo>
                <a:cubicBezTo>
                  <a:pt x="1054" y="839"/>
                  <a:pt x="1054" y="857"/>
                  <a:pt x="1041" y="864"/>
                </a:cubicBezTo>
                <a:cubicBezTo>
                  <a:pt x="1034" y="867"/>
                  <a:pt x="1033" y="870"/>
                  <a:pt x="1035" y="876"/>
                </a:cubicBezTo>
                <a:cubicBezTo>
                  <a:pt x="1037" y="880"/>
                  <a:pt x="1039" y="882"/>
                  <a:pt x="1039" y="881"/>
                </a:cubicBezTo>
                <a:cubicBezTo>
                  <a:pt x="1039" y="876"/>
                  <a:pt x="1068" y="889"/>
                  <a:pt x="1074" y="897"/>
                </a:cubicBezTo>
                <a:cubicBezTo>
                  <a:pt x="1076" y="901"/>
                  <a:pt x="1086" y="912"/>
                  <a:pt x="1095" y="922"/>
                </a:cubicBezTo>
                <a:cubicBezTo>
                  <a:pt x="1110" y="940"/>
                  <a:pt x="1116" y="942"/>
                  <a:pt x="1158" y="953"/>
                </a:cubicBezTo>
                <a:cubicBezTo>
                  <a:pt x="1170" y="957"/>
                  <a:pt x="1175" y="960"/>
                  <a:pt x="1177" y="967"/>
                </a:cubicBezTo>
                <a:cubicBezTo>
                  <a:pt x="1178" y="973"/>
                  <a:pt x="1183" y="979"/>
                  <a:pt x="1187" y="982"/>
                </a:cubicBezTo>
                <a:cubicBezTo>
                  <a:pt x="1192" y="984"/>
                  <a:pt x="1200" y="993"/>
                  <a:pt x="1205" y="1001"/>
                </a:cubicBezTo>
                <a:cubicBezTo>
                  <a:pt x="1210" y="1010"/>
                  <a:pt x="1228" y="1030"/>
                  <a:pt x="1243" y="1046"/>
                </a:cubicBezTo>
                <a:cubicBezTo>
                  <a:pt x="1271" y="1075"/>
                  <a:pt x="1271" y="1075"/>
                  <a:pt x="1271" y="1075"/>
                </a:cubicBezTo>
                <a:cubicBezTo>
                  <a:pt x="1271" y="1130"/>
                  <a:pt x="1271" y="1130"/>
                  <a:pt x="1271" y="1130"/>
                </a:cubicBezTo>
                <a:cubicBezTo>
                  <a:pt x="1270" y="1161"/>
                  <a:pt x="1268" y="1187"/>
                  <a:pt x="1267" y="1188"/>
                </a:cubicBezTo>
                <a:cubicBezTo>
                  <a:pt x="1262" y="1190"/>
                  <a:pt x="1190" y="1167"/>
                  <a:pt x="1151" y="1151"/>
                </a:cubicBezTo>
                <a:cubicBezTo>
                  <a:pt x="1133" y="1143"/>
                  <a:pt x="1112" y="1131"/>
                  <a:pt x="1105" y="1126"/>
                </a:cubicBezTo>
                <a:cubicBezTo>
                  <a:pt x="1093" y="1116"/>
                  <a:pt x="1082" y="1114"/>
                  <a:pt x="1058" y="1117"/>
                </a:cubicBezTo>
                <a:cubicBezTo>
                  <a:pt x="1051" y="1118"/>
                  <a:pt x="1056" y="1125"/>
                  <a:pt x="1066" y="1129"/>
                </a:cubicBezTo>
                <a:cubicBezTo>
                  <a:pt x="1072" y="1132"/>
                  <a:pt x="1081" y="1140"/>
                  <a:pt x="1085" y="1147"/>
                </a:cubicBezTo>
                <a:cubicBezTo>
                  <a:pt x="1091" y="1158"/>
                  <a:pt x="1097" y="1163"/>
                  <a:pt x="1123" y="1172"/>
                </a:cubicBezTo>
                <a:cubicBezTo>
                  <a:pt x="1139" y="1179"/>
                  <a:pt x="1172" y="1197"/>
                  <a:pt x="1196" y="1212"/>
                </a:cubicBezTo>
                <a:cubicBezTo>
                  <a:pt x="1239" y="1240"/>
                  <a:pt x="1239" y="1240"/>
                  <a:pt x="1239" y="1240"/>
                </a:cubicBezTo>
                <a:cubicBezTo>
                  <a:pt x="1238" y="1264"/>
                  <a:pt x="1238" y="1264"/>
                  <a:pt x="1238" y="1264"/>
                </a:cubicBezTo>
                <a:cubicBezTo>
                  <a:pt x="1237" y="1288"/>
                  <a:pt x="1237" y="1288"/>
                  <a:pt x="1237" y="1288"/>
                </a:cubicBezTo>
                <a:cubicBezTo>
                  <a:pt x="1214" y="1288"/>
                  <a:pt x="1214" y="1288"/>
                  <a:pt x="1214" y="1288"/>
                </a:cubicBezTo>
                <a:cubicBezTo>
                  <a:pt x="1202" y="1288"/>
                  <a:pt x="1191" y="1288"/>
                  <a:pt x="1190" y="1287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35"/>
          <p:cNvSpPr/>
          <p:nvPr userDrawn="1">
            <p:custDataLst>
              <p:tags r:id="rId82"/>
            </p:custDataLst>
          </p:nvPr>
        </p:nvSpPr>
        <p:spPr bwMode="grayWhite">
          <a:xfrm>
            <a:off x="4809494" y="-952611"/>
            <a:ext cx="74613" cy="69850"/>
          </a:xfrm>
          <a:custGeom>
            <a:gdLst>
              <a:gd name="T0" fmla="*/ 20 w 51"/>
              <a:gd name="T1" fmla="*/ 37 h 48"/>
              <a:gd name="T2" fmla="*/ 7 w 51"/>
              <a:gd name="T3" fmla="*/ 8 h 48"/>
              <a:gd name="T4" fmla="*/ 36 w 51"/>
              <a:gd name="T5" fmla="*/ 11 h 48"/>
              <a:gd name="T6" fmla="*/ 42 w 51"/>
              <a:gd name="T7" fmla="*/ 42 h 48"/>
              <a:gd name="T8" fmla="*/ 20 w 51"/>
              <a:gd name="T9" fmla="*/ 37 h 48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" h="48">
                <a:moveTo>
                  <a:pt x="20" y="37"/>
                </a:moveTo>
                <a:cubicBezTo>
                  <a:pt x="5" y="27"/>
                  <a:pt x="0" y="17"/>
                  <a:pt x="7" y="8"/>
                </a:cubicBezTo>
                <a:cubicBezTo>
                  <a:pt x="14" y="0"/>
                  <a:pt x="22" y="1"/>
                  <a:pt x="36" y="11"/>
                </a:cubicBezTo>
                <a:cubicBezTo>
                  <a:pt x="48" y="20"/>
                  <a:pt x="51" y="33"/>
                  <a:pt x="42" y="42"/>
                </a:cubicBezTo>
                <a:cubicBezTo>
                  <a:pt x="36" y="48"/>
                  <a:pt x="36" y="48"/>
                  <a:pt x="20" y="37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36"/>
          <p:cNvSpPr/>
          <p:nvPr userDrawn="1">
            <p:custDataLst>
              <p:tags r:id="rId83"/>
            </p:custDataLst>
          </p:nvPr>
        </p:nvSpPr>
        <p:spPr bwMode="grayWhite">
          <a:xfrm>
            <a:off x="4888869" y="-1000236"/>
            <a:ext cx="60325" cy="41275"/>
          </a:xfrm>
          <a:custGeom>
            <a:gdLst>
              <a:gd name="T0" fmla="*/ 9 w 42"/>
              <a:gd name="T1" fmla="*/ 26 h 29"/>
              <a:gd name="T2" fmla="*/ 1 w 42"/>
              <a:gd name="T3" fmla="*/ 13 h 29"/>
              <a:gd name="T4" fmla="*/ 12 w 42"/>
              <a:gd name="T5" fmla="*/ 1 h 29"/>
              <a:gd name="T6" fmla="*/ 38 w 42"/>
              <a:gd name="T7" fmla="*/ 22 h 29"/>
              <a:gd name="T8" fmla="*/ 9 w 42"/>
              <a:gd name="T9" fmla="*/ 26 h 2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" h="28">
                <a:moveTo>
                  <a:pt x="9" y="26"/>
                </a:moveTo>
                <a:cubicBezTo>
                  <a:pt x="2" y="24"/>
                  <a:pt x="0" y="22"/>
                  <a:pt x="1" y="13"/>
                </a:cubicBezTo>
                <a:cubicBezTo>
                  <a:pt x="2" y="5"/>
                  <a:pt x="5" y="2"/>
                  <a:pt x="12" y="1"/>
                </a:cubicBezTo>
                <a:cubicBezTo>
                  <a:pt x="26" y="0"/>
                  <a:pt x="42" y="12"/>
                  <a:pt x="38" y="22"/>
                </a:cubicBezTo>
                <a:cubicBezTo>
                  <a:pt x="35" y="28"/>
                  <a:pt x="28" y="29"/>
                  <a:pt x="9" y="26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Freeform 37"/>
          <p:cNvSpPr/>
          <p:nvPr userDrawn="1">
            <p:custDataLst>
              <p:tags r:id="rId84"/>
            </p:custDataLst>
          </p:nvPr>
        </p:nvSpPr>
        <p:spPr bwMode="grayWhite">
          <a:xfrm>
            <a:off x="4769807" y="-1803511"/>
            <a:ext cx="147638" cy="220663"/>
          </a:xfrm>
          <a:custGeom>
            <a:gdLst>
              <a:gd name="T0" fmla="*/ 27 w 103"/>
              <a:gd name="T1" fmla="*/ 140 h 154"/>
              <a:gd name="T2" fmla="*/ 41 w 103"/>
              <a:gd name="T3" fmla="*/ 9 h 154"/>
              <a:gd name="T4" fmla="*/ 92 w 103"/>
              <a:gd name="T5" fmla="*/ 21 h 154"/>
              <a:gd name="T6" fmla="*/ 103 w 103"/>
              <a:gd name="T7" fmla="*/ 78 h 154"/>
              <a:gd name="T8" fmla="*/ 71 w 103"/>
              <a:gd name="T9" fmla="*/ 145 h 154"/>
              <a:gd name="T10" fmla="*/ 27 w 103"/>
              <a:gd name="T11" fmla="*/ 140 h 15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3" h="154">
                <a:moveTo>
                  <a:pt x="27" y="140"/>
                </a:moveTo>
                <a:cubicBezTo>
                  <a:pt x="0" y="113"/>
                  <a:pt x="9" y="30"/>
                  <a:pt x="41" y="9"/>
                </a:cubicBezTo>
                <a:cubicBezTo>
                  <a:pt x="55" y="0"/>
                  <a:pt x="77" y="5"/>
                  <a:pt x="92" y="21"/>
                </a:cubicBezTo>
                <a:cubicBezTo>
                  <a:pt x="103" y="33"/>
                  <a:pt x="103" y="34"/>
                  <a:pt x="103" y="78"/>
                </a:cubicBezTo>
                <a:cubicBezTo>
                  <a:pt x="103" y="127"/>
                  <a:pt x="101" y="131"/>
                  <a:pt x="71" y="145"/>
                </a:cubicBezTo>
                <a:cubicBezTo>
                  <a:pt x="50" y="154"/>
                  <a:pt x="40" y="153"/>
                  <a:pt x="27" y="140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Freeform 38"/>
          <p:cNvSpPr/>
          <p:nvPr userDrawn="1">
            <p:custDataLst>
              <p:tags r:id="rId85"/>
            </p:custDataLst>
          </p:nvPr>
        </p:nvSpPr>
        <p:spPr bwMode="grayWhite">
          <a:xfrm>
            <a:off x="4934907" y="-1757473"/>
            <a:ext cx="79375" cy="52388"/>
          </a:xfrm>
          <a:custGeom>
            <a:gdLst>
              <a:gd name="T0" fmla="*/ 22 w 55"/>
              <a:gd name="T1" fmla="*/ 35 h 37"/>
              <a:gd name="T2" fmla="*/ 4 w 55"/>
              <a:gd name="T3" fmla="*/ 7 h 37"/>
              <a:gd name="T4" fmla="*/ 47 w 55"/>
              <a:gd name="T5" fmla="*/ 10 h 37"/>
              <a:gd name="T6" fmla="*/ 41 w 55"/>
              <a:gd name="T7" fmla="*/ 33 h 37"/>
              <a:gd name="T8" fmla="*/ 22 w 55"/>
              <a:gd name="T9" fmla="*/ 35 h 3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" h="37">
                <a:moveTo>
                  <a:pt x="22" y="35"/>
                </a:moveTo>
                <a:cubicBezTo>
                  <a:pt x="10" y="29"/>
                  <a:pt x="0" y="14"/>
                  <a:pt x="4" y="7"/>
                </a:cubicBezTo>
                <a:cubicBezTo>
                  <a:pt x="9" y="0"/>
                  <a:pt x="41" y="2"/>
                  <a:pt x="47" y="10"/>
                </a:cubicBezTo>
                <a:cubicBezTo>
                  <a:pt x="55" y="21"/>
                  <a:pt x="53" y="27"/>
                  <a:pt x="41" y="33"/>
                </a:cubicBezTo>
                <a:cubicBezTo>
                  <a:pt x="34" y="37"/>
                  <a:pt x="28" y="37"/>
                  <a:pt x="22" y="35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Freeform 39"/>
          <p:cNvSpPr/>
          <p:nvPr userDrawn="1">
            <p:custDataLst>
              <p:tags r:id="rId86"/>
            </p:custDataLst>
          </p:nvPr>
        </p:nvSpPr>
        <p:spPr bwMode="grayWhite">
          <a:xfrm>
            <a:off x="4617407" y="-1987661"/>
            <a:ext cx="69850" cy="142875"/>
          </a:xfrm>
          <a:custGeom>
            <a:gdLst>
              <a:gd name="T0" fmla="*/ 4 w 49"/>
              <a:gd name="T1" fmla="*/ 89 h 99"/>
              <a:gd name="T2" fmla="*/ 11 w 49"/>
              <a:gd name="T3" fmla="*/ 71 h 99"/>
              <a:gd name="T4" fmla="*/ 23 w 49"/>
              <a:gd name="T5" fmla="*/ 39 h 99"/>
              <a:gd name="T6" fmla="*/ 41 w 49"/>
              <a:gd name="T7" fmla="*/ 0 h 99"/>
              <a:gd name="T8" fmla="*/ 44 w 49"/>
              <a:gd name="T9" fmla="*/ 21 h 99"/>
              <a:gd name="T10" fmla="*/ 41 w 49"/>
              <a:gd name="T11" fmla="*/ 43 h 99"/>
              <a:gd name="T12" fmla="*/ 4 w 49"/>
              <a:gd name="T13" fmla="*/ 89 h 9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9" h="99">
                <a:moveTo>
                  <a:pt x="4" y="89"/>
                </a:moveTo>
                <a:cubicBezTo>
                  <a:pt x="0" y="85"/>
                  <a:pt x="0" y="82"/>
                  <a:pt x="11" y="71"/>
                </a:cubicBezTo>
                <a:cubicBezTo>
                  <a:pt x="17" y="64"/>
                  <a:pt x="21" y="52"/>
                  <a:pt x="23" y="39"/>
                </a:cubicBezTo>
                <a:cubicBezTo>
                  <a:pt x="25" y="19"/>
                  <a:pt x="35" y="0"/>
                  <a:pt x="41" y="0"/>
                </a:cubicBezTo>
                <a:cubicBezTo>
                  <a:pt x="47" y="0"/>
                  <a:pt x="49" y="12"/>
                  <a:pt x="44" y="21"/>
                </a:cubicBezTo>
                <a:cubicBezTo>
                  <a:pt x="42" y="26"/>
                  <a:pt x="40" y="35"/>
                  <a:pt x="41" y="43"/>
                </a:cubicBezTo>
                <a:cubicBezTo>
                  <a:pt x="42" y="64"/>
                  <a:pt x="14" y="99"/>
                  <a:pt x="4" y="89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Freeform 40"/>
          <p:cNvSpPr/>
          <p:nvPr userDrawn="1">
            <p:custDataLst>
              <p:tags r:id="rId87"/>
            </p:custDataLst>
          </p:nvPr>
        </p:nvSpPr>
        <p:spPr bwMode="grayWhite">
          <a:xfrm>
            <a:off x="3298194" y="-2738549"/>
            <a:ext cx="325438" cy="490538"/>
          </a:xfrm>
          <a:custGeom>
            <a:gdLst>
              <a:gd name="T0" fmla="*/ 103 w 226"/>
              <a:gd name="T1" fmla="*/ 326 h 342"/>
              <a:gd name="T2" fmla="*/ 84 w 226"/>
              <a:gd name="T3" fmla="*/ 304 h 342"/>
              <a:gd name="T4" fmla="*/ 38 w 226"/>
              <a:gd name="T5" fmla="*/ 225 h 342"/>
              <a:gd name="T6" fmla="*/ 12 w 226"/>
              <a:gd name="T7" fmla="*/ 192 h 342"/>
              <a:gd name="T8" fmla="*/ 5 w 226"/>
              <a:gd name="T9" fmla="*/ 151 h 342"/>
              <a:gd name="T10" fmla="*/ 21 w 226"/>
              <a:gd name="T11" fmla="*/ 125 h 342"/>
              <a:gd name="T12" fmla="*/ 52 w 226"/>
              <a:gd name="T13" fmla="*/ 134 h 342"/>
              <a:gd name="T14" fmla="*/ 80 w 226"/>
              <a:gd name="T15" fmla="*/ 143 h 342"/>
              <a:gd name="T16" fmla="*/ 91 w 226"/>
              <a:gd name="T17" fmla="*/ 121 h 342"/>
              <a:gd name="T18" fmla="*/ 87 w 226"/>
              <a:gd name="T19" fmla="*/ 97 h 342"/>
              <a:gd name="T20" fmla="*/ 67 w 226"/>
              <a:gd name="T21" fmla="*/ 43 h 342"/>
              <a:gd name="T22" fmla="*/ 93 w 226"/>
              <a:gd name="T23" fmla="*/ 3 h 342"/>
              <a:gd name="T24" fmla="*/ 120 w 226"/>
              <a:gd name="T25" fmla="*/ 15 h 342"/>
              <a:gd name="T26" fmla="*/ 146 w 226"/>
              <a:gd name="T27" fmla="*/ 21 h 342"/>
              <a:gd name="T28" fmla="*/ 209 w 226"/>
              <a:gd name="T29" fmla="*/ 7 h 342"/>
              <a:gd name="T30" fmla="*/ 214 w 226"/>
              <a:gd name="T31" fmla="*/ 33 h 342"/>
              <a:gd name="T32" fmla="*/ 207 w 226"/>
              <a:gd name="T33" fmla="*/ 56 h 342"/>
              <a:gd name="T34" fmla="*/ 207 w 226"/>
              <a:gd name="T35" fmla="*/ 64 h 342"/>
              <a:gd name="T36" fmla="*/ 196 w 226"/>
              <a:gd name="T37" fmla="*/ 99 h 342"/>
              <a:gd name="T38" fmla="*/ 178 w 226"/>
              <a:gd name="T39" fmla="*/ 123 h 342"/>
              <a:gd name="T40" fmla="*/ 190 w 226"/>
              <a:gd name="T41" fmla="*/ 131 h 342"/>
              <a:gd name="T42" fmla="*/ 202 w 226"/>
              <a:gd name="T43" fmla="*/ 146 h 342"/>
              <a:gd name="T44" fmla="*/ 208 w 226"/>
              <a:gd name="T45" fmla="*/ 167 h 342"/>
              <a:gd name="T46" fmla="*/ 225 w 226"/>
              <a:gd name="T47" fmla="*/ 225 h 342"/>
              <a:gd name="T48" fmla="*/ 217 w 226"/>
              <a:gd name="T49" fmla="*/ 270 h 342"/>
              <a:gd name="T50" fmla="*/ 172 w 226"/>
              <a:gd name="T51" fmla="*/ 303 h 342"/>
              <a:gd name="T52" fmla="*/ 168 w 226"/>
              <a:gd name="T53" fmla="*/ 306 h 342"/>
              <a:gd name="T54" fmla="*/ 136 w 226"/>
              <a:gd name="T55" fmla="*/ 337 h 342"/>
              <a:gd name="T56" fmla="*/ 103 w 226"/>
              <a:gd name="T57" fmla="*/ 326 h 342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6" h="342">
                <a:moveTo>
                  <a:pt x="103" y="326"/>
                </a:moveTo>
                <a:cubicBezTo>
                  <a:pt x="93" y="318"/>
                  <a:pt x="84" y="308"/>
                  <a:pt x="84" y="304"/>
                </a:cubicBezTo>
                <a:cubicBezTo>
                  <a:pt x="80" y="261"/>
                  <a:pt x="74" y="250"/>
                  <a:pt x="38" y="225"/>
                </a:cubicBezTo>
                <a:cubicBezTo>
                  <a:pt x="31" y="220"/>
                  <a:pt x="19" y="205"/>
                  <a:pt x="12" y="192"/>
                </a:cubicBezTo>
                <a:cubicBezTo>
                  <a:pt x="0" y="169"/>
                  <a:pt x="0" y="168"/>
                  <a:pt x="5" y="151"/>
                </a:cubicBezTo>
                <a:cubicBezTo>
                  <a:pt x="8" y="141"/>
                  <a:pt x="15" y="129"/>
                  <a:pt x="21" y="125"/>
                </a:cubicBezTo>
                <a:cubicBezTo>
                  <a:pt x="30" y="118"/>
                  <a:pt x="31" y="118"/>
                  <a:pt x="52" y="134"/>
                </a:cubicBezTo>
                <a:cubicBezTo>
                  <a:pt x="72" y="150"/>
                  <a:pt x="74" y="150"/>
                  <a:pt x="80" y="143"/>
                </a:cubicBezTo>
                <a:cubicBezTo>
                  <a:pt x="84" y="139"/>
                  <a:pt x="88" y="129"/>
                  <a:pt x="91" y="121"/>
                </a:cubicBezTo>
                <a:cubicBezTo>
                  <a:pt x="94" y="108"/>
                  <a:pt x="94" y="104"/>
                  <a:pt x="87" y="97"/>
                </a:cubicBezTo>
                <a:cubicBezTo>
                  <a:pt x="68" y="76"/>
                  <a:pt x="63" y="63"/>
                  <a:pt x="67" y="43"/>
                </a:cubicBezTo>
                <a:cubicBezTo>
                  <a:pt x="72" y="22"/>
                  <a:pt x="84" y="3"/>
                  <a:pt x="93" y="3"/>
                </a:cubicBezTo>
                <a:cubicBezTo>
                  <a:pt x="96" y="3"/>
                  <a:pt x="109" y="8"/>
                  <a:pt x="120" y="15"/>
                </a:cubicBezTo>
                <a:cubicBezTo>
                  <a:pt x="138" y="25"/>
                  <a:pt x="142" y="26"/>
                  <a:pt x="146" y="21"/>
                </a:cubicBezTo>
                <a:cubicBezTo>
                  <a:pt x="156" y="9"/>
                  <a:pt x="200" y="0"/>
                  <a:pt x="209" y="7"/>
                </a:cubicBezTo>
                <a:cubicBezTo>
                  <a:pt x="212" y="10"/>
                  <a:pt x="214" y="21"/>
                  <a:pt x="214" y="33"/>
                </a:cubicBezTo>
                <a:cubicBezTo>
                  <a:pt x="214" y="49"/>
                  <a:pt x="213" y="54"/>
                  <a:pt x="207" y="56"/>
                </a:cubicBezTo>
                <a:cubicBezTo>
                  <a:pt x="200" y="59"/>
                  <a:pt x="200" y="59"/>
                  <a:pt x="207" y="64"/>
                </a:cubicBezTo>
                <a:cubicBezTo>
                  <a:pt x="217" y="72"/>
                  <a:pt x="216" y="76"/>
                  <a:pt x="196" y="99"/>
                </a:cubicBezTo>
                <a:cubicBezTo>
                  <a:pt x="186" y="110"/>
                  <a:pt x="178" y="121"/>
                  <a:pt x="178" y="123"/>
                </a:cubicBezTo>
                <a:cubicBezTo>
                  <a:pt x="178" y="125"/>
                  <a:pt x="184" y="129"/>
                  <a:pt x="190" y="131"/>
                </a:cubicBezTo>
                <a:cubicBezTo>
                  <a:pt x="199" y="134"/>
                  <a:pt x="202" y="138"/>
                  <a:pt x="202" y="146"/>
                </a:cubicBezTo>
                <a:cubicBezTo>
                  <a:pt x="202" y="152"/>
                  <a:pt x="205" y="161"/>
                  <a:pt x="208" y="167"/>
                </a:cubicBezTo>
                <a:cubicBezTo>
                  <a:pt x="220" y="187"/>
                  <a:pt x="223" y="197"/>
                  <a:pt x="225" y="225"/>
                </a:cubicBezTo>
                <a:cubicBezTo>
                  <a:pt x="226" y="251"/>
                  <a:pt x="226" y="256"/>
                  <a:pt x="217" y="270"/>
                </a:cubicBezTo>
                <a:cubicBezTo>
                  <a:pt x="206" y="286"/>
                  <a:pt x="184" y="303"/>
                  <a:pt x="172" y="303"/>
                </a:cubicBezTo>
                <a:cubicBezTo>
                  <a:pt x="169" y="303"/>
                  <a:pt x="167" y="304"/>
                  <a:pt x="168" y="306"/>
                </a:cubicBezTo>
                <a:cubicBezTo>
                  <a:pt x="172" y="313"/>
                  <a:pt x="151" y="333"/>
                  <a:pt x="136" y="337"/>
                </a:cubicBezTo>
                <a:cubicBezTo>
                  <a:pt x="123" y="342"/>
                  <a:pt x="121" y="341"/>
                  <a:pt x="103" y="326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Freeform 41"/>
          <p:cNvSpPr/>
          <p:nvPr userDrawn="1">
            <p:custDataLst>
              <p:tags r:id="rId88"/>
            </p:custDataLst>
          </p:nvPr>
        </p:nvSpPr>
        <p:spPr bwMode="grayWhite">
          <a:xfrm>
            <a:off x="3650619" y="-2770299"/>
            <a:ext cx="306388" cy="403225"/>
          </a:xfrm>
          <a:custGeom>
            <a:gdLst>
              <a:gd name="T0" fmla="*/ 24 w 213"/>
              <a:gd name="T1" fmla="*/ 272 h 281"/>
              <a:gd name="T2" fmla="*/ 13 w 213"/>
              <a:gd name="T3" fmla="*/ 247 h 281"/>
              <a:gd name="T4" fmla="*/ 9 w 213"/>
              <a:gd name="T5" fmla="*/ 218 h 281"/>
              <a:gd name="T6" fmla="*/ 21 w 213"/>
              <a:gd name="T7" fmla="*/ 70 h 281"/>
              <a:gd name="T8" fmla="*/ 32 w 213"/>
              <a:gd name="T9" fmla="*/ 36 h 281"/>
              <a:gd name="T10" fmla="*/ 92 w 213"/>
              <a:gd name="T11" fmla="*/ 2 h 281"/>
              <a:gd name="T12" fmla="*/ 124 w 213"/>
              <a:gd name="T13" fmla="*/ 8 h 281"/>
              <a:gd name="T14" fmla="*/ 149 w 213"/>
              <a:gd name="T15" fmla="*/ 17 h 281"/>
              <a:gd name="T16" fmla="*/ 200 w 213"/>
              <a:gd name="T17" fmla="*/ 39 h 281"/>
              <a:gd name="T18" fmla="*/ 207 w 213"/>
              <a:gd name="T19" fmla="*/ 62 h 281"/>
              <a:gd name="T20" fmla="*/ 194 w 213"/>
              <a:gd name="T21" fmla="*/ 81 h 281"/>
              <a:gd name="T22" fmla="*/ 187 w 213"/>
              <a:gd name="T23" fmla="*/ 99 h 281"/>
              <a:gd name="T24" fmla="*/ 171 w 213"/>
              <a:gd name="T25" fmla="*/ 131 h 281"/>
              <a:gd name="T26" fmla="*/ 153 w 213"/>
              <a:gd name="T27" fmla="*/ 174 h 281"/>
              <a:gd name="T28" fmla="*/ 143 w 213"/>
              <a:gd name="T29" fmla="*/ 199 h 281"/>
              <a:gd name="T30" fmla="*/ 113 w 213"/>
              <a:gd name="T31" fmla="*/ 202 h 281"/>
              <a:gd name="T32" fmla="*/ 85 w 213"/>
              <a:gd name="T33" fmla="*/ 207 h 281"/>
              <a:gd name="T34" fmla="*/ 77 w 213"/>
              <a:gd name="T35" fmla="*/ 263 h 281"/>
              <a:gd name="T36" fmla="*/ 44 w 213"/>
              <a:gd name="T37" fmla="*/ 281 h 281"/>
              <a:gd name="T38" fmla="*/ 24 w 213"/>
              <a:gd name="T39" fmla="*/ 272 h 281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13" h="281">
                <a:moveTo>
                  <a:pt x="24" y="272"/>
                </a:moveTo>
                <a:cubicBezTo>
                  <a:pt x="15" y="266"/>
                  <a:pt x="13" y="261"/>
                  <a:pt x="13" y="247"/>
                </a:cubicBezTo>
                <a:cubicBezTo>
                  <a:pt x="13" y="237"/>
                  <a:pt x="11" y="224"/>
                  <a:pt x="9" y="218"/>
                </a:cubicBezTo>
                <a:cubicBezTo>
                  <a:pt x="0" y="193"/>
                  <a:pt x="7" y="102"/>
                  <a:pt x="21" y="70"/>
                </a:cubicBezTo>
                <a:cubicBezTo>
                  <a:pt x="25" y="60"/>
                  <a:pt x="30" y="44"/>
                  <a:pt x="32" y="36"/>
                </a:cubicBezTo>
                <a:cubicBezTo>
                  <a:pt x="35" y="15"/>
                  <a:pt x="47" y="8"/>
                  <a:pt x="92" y="2"/>
                </a:cubicBezTo>
                <a:cubicBezTo>
                  <a:pt x="104" y="0"/>
                  <a:pt x="112" y="2"/>
                  <a:pt x="124" y="8"/>
                </a:cubicBezTo>
                <a:cubicBezTo>
                  <a:pt x="133" y="13"/>
                  <a:pt x="145" y="17"/>
                  <a:pt x="149" y="17"/>
                </a:cubicBezTo>
                <a:cubicBezTo>
                  <a:pt x="161" y="17"/>
                  <a:pt x="184" y="27"/>
                  <a:pt x="200" y="39"/>
                </a:cubicBezTo>
                <a:cubicBezTo>
                  <a:pt x="213" y="49"/>
                  <a:pt x="213" y="49"/>
                  <a:pt x="207" y="62"/>
                </a:cubicBezTo>
                <a:cubicBezTo>
                  <a:pt x="203" y="69"/>
                  <a:pt x="198" y="77"/>
                  <a:pt x="194" y="81"/>
                </a:cubicBezTo>
                <a:cubicBezTo>
                  <a:pt x="191" y="85"/>
                  <a:pt x="188" y="93"/>
                  <a:pt x="187" y="99"/>
                </a:cubicBezTo>
                <a:cubicBezTo>
                  <a:pt x="186" y="105"/>
                  <a:pt x="179" y="120"/>
                  <a:pt x="171" y="131"/>
                </a:cubicBezTo>
                <a:cubicBezTo>
                  <a:pt x="164" y="142"/>
                  <a:pt x="156" y="161"/>
                  <a:pt x="153" y="174"/>
                </a:cubicBezTo>
                <a:cubicBezTo>
                  <a:pt x="150" y="187"/>
                  <a:pt x="146" y="198"/>
                  <a:pt x="143" y="199"/>
                </a:cubicBezTo>
                <a:cubicBezTo>
                  <a:pt x="141" y="199"/>
                  <a:pt x="128" y="201"/>
                  <a:pt x="113" y="202"/>
                </a:cubicBezTo>
                <a:cubicBezTo>
                  <a:pt x="99" y="203"/>
                  <a:pt x="86" y="206"/>
                  <a:pt x="85" y="207"/>
                </a:cubicBezTo>
                <a:cubicBezTo>
                  <a:pt x="82" y="210"/>
                  <a:pt x="79" y="239"/>
                  <a:pt x="77" y="263"/>
                </a:cubicBezTo>
                <a:cubicBezTo>
                  <a:pt x="77" y="270"/>
                  <a:pt x="56" y="281"/>
                  <a:pt x="44" y="281"/>
                </a:cubicBezTo>
                <a:cubicBezTo>
                  <a:pt x="39" y="281"/>
                  <a:pt x="29" y="277"/>
                  <a:pt x="24" y="272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Freeform 42"/>
          <p:cNvSpPr/>
          <p:nvPr userDrawn="1">
            <p:custDataLst>
              <p:tags r:id="rId89"/>
            </p:custDataLst>
          </p:nvPr>
        </p:nvSpPr>
        <p:spPr bwMode="grayWhite">
          <a:xfrm>
            <a:off x="4452307" y="-2717911"/>
            <a:ext cx="250825" cy="173038"/>
          </a:xfrm>
          <a:custGeom>
            <a:gdLst>
              <a:gd name="T0" fmla="*/ 45 w 175"/>
              <a:gd name="T1" fmla="*/ 103 h 120"/>
              <a:gd name="T2" fmla="*/ 2 w 175"/>
              <a:gd name="T3" fmla="*/ 9 h 120"/>
              <a:gd name="T4" fmla="*/ 103 w 175"/>
              <a:gd name="T5" fmla="*/ 11 h 120"/>
              <a:gd name="T6" fmla="*/ 168 w 175"/>
              <a:gd name="T7" fmla="*/ 78 h 120"/>
              <a:gd name="T8" fmla="*/ 134 w 175"/>
              <a:gd name="T9" fmla="*/ 99 h 120"/>
              <a:gd name="T10" fmla="*/ 92 w 175"/>
              <a:gd name="T11" fmla="*/ 107 h 120"/>
              <a:gd name="T12" fmla="*/ 45 w 175"/>
              <a:gd name="T13" fmla="*/ 103 h 12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5" h="120">
                <a:moveTo>
                  <a:pt x="45" y="103"/>
                </a:moveTo>
                <a:cubicBezTo>
                  <a:pt x="26" y="72"/>
                  <a:pt x="0" y="15"/>
                  <a:pt x="2" y="9"/>
                </a:cubicBezTo>
                <a:cubicBezTo>
                  <a:pt x="5" y="0"/>
                  <a:pt x="86" y="1"/>
                  <a:pt x="103" y="11"/>
                </a:cubicBezTo>
                <a:cubicBezTo>
                  <a:pt x="126" y="23"/>
                  <a:pt x="154" y="53"/>
                  <a:pt x="168" y="78"/>
                </a:cubicBezTo>
                <a:cubicBezTo>
                  <a:pt x="175" y="93"/>
                  <a:pt x="164" y="100"/>
                  <a:pt x="134" y="99"/>
                </a:cubicBezTo>
                <a:cubicBezTo>
                  <a:pt x="115" y="98"/>
                  <a:pt x="105" y="100"/>
                  <a:pt x="92" y="107"/>
                </a:cubicBezTo>
                <a:cubicBezTo>
                  <a:pt x="68" y="120"/>
                  <a:pt x="55" y="118"/>
                  <a:pt x="45" y="103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Freeform 43"/>
          <p:cNvSpPr/>
          <p:nvPr userDrawn="1">
            <p:custDataLst>
              <p:tags r:id="rId90"/>
            </p:custDataLst>
          </p:nvPr>
        </p:nvSpPr>
        <p:spPr bwMode="grayWhite">
          <a:xfrm>
            <a:off x="3655381" y="-3337037"/>
            <a:ext cx="844550" cy="509588"/>
          </a:xfrm>
          <a:custGeom>
            <a:gdLst>
              <a:gd name="T0" fmla="*/ 200 w 587"/>
              <a:gd name="T1" fmla="*/ 344 h 354"/>
              <a:gd name="T2" fmla="*/ 172 w 587"/>
              <a:gd name="T3" fmla="*/ 335 h 354"/>
              <a:gd name="T4" fmla="*/ 144 w 587"/>
              <a:gd name="T5" fmla="*/ 299 h 354"/>
              <a:gd name="T6" fmla="*/ 139 w 587"/>
              <a:gd name="T7" fmla="*/ 267 h 354"/>
              <a:gd name="T8" fmla="*/ 135 w 587"/>
              <a:gd name="T9" fmla="*/ 209 h 354"/>
              <a:gd name="T10" fmla="*/ 140 w 587"/>
              <a:gd name="T11" fmla="*/ 179 h 354"/>
              <a:gd name="T12" fmla="*/ 130 w 587"/>
              <a:gd name="T13" fmla="*/ 143 h 354"/>
              <a:gd name="T14" fmla="*/ 117 w 587"/>
              <a:gd name="T15" fmla="*/ 121 h 354"/>
              <a:gd name="T16" fmla="*/ 86 w 587"/>
              <a:gd name="T17" fmla="*/ 110 h 354"/>
              <a:gd name="T18" fmla="*/ 50 w 587"/>
              <a:gd name="T19" fmla="*/ 105 h 354"/>
              <a:gd name="T20" fmla="*/ 1 w 587"/>
              <a:gd name="T21" fmla="*/ 43 h 354"/>
              <a:gd name="T22" fmla="*/ 3 w 587"/>
              <a:gd name="T23" fmla="*/ 20 h 354"/>
              <a:gd name="T24" fmla="*/ 49 w 587"/>
              <a:gd name="T25" fmla="*/ 4 h 354"/>
              <a:gd name="T26" fmla="*/ 108 w 587"/>
              <a:gd name="T27" fmla="*/ 42 h 354"/>
              <a:gd name="T28" fmla="*/ 148 w 587"/>
              <a:gd name="T29" fmla="*/ 53 h 354"/>
              <a:gd name="T30" fmla="*/ 194 w 587"/>
              <a:gd name="T31" fmla="*/ 79 h 354"/>
              <a:gd name="T32" fmla="*/ 204 w 587"/>
              <a:gd name="T33" fmla="*/ 94 h 354"/>
              <a:gd name="T34" fmla="*/ 217 w 587"/>
              <a:gd name="T35" fmla="*/ 133 h 354"/>
              <a:gd name="T36" fmla="*/ 225 w 587"/>
              <a:gd name="T37" fmla="*/ 163 h 354"/>
              <a:gd name="T38" fmla="*/ 238 w 587"/>
              <a:gd name="T39" fmla="*/ 185 h 354"/>
              <a:gd name="T40" fmla="*/ 255 w 587"/>
              <a:gd name="T41" fmla="*/ 196 h 354"/>
              <a:gd name="T42" fmla="*/ 306 w 587"/>
              <a:gd name="T43" fmla="*/ 205 h 354"/>
              <a:gd name="T44" fmla="*/ 340 w 587"/>
              <a:gd name="T45" fmla="*/ 212 h 354"/>
              <a:gd name="T46" fmla="*/ 363 w 587"/>
              <a:gd name="T47" fmla="*/ 201 h 354"/>
              <a:gd name="T48" fmla="*/ 389 w 587"/>
              <a:gd name="T49" fmla="*/ 191 h 354"/>
              <a:gd name="T50" fmla="*/ 410 w 587"/>
              <a:gd name="T51" fmla="*/ 176 h 354"/>
              <a:gd name="T52" fmla="*/ 460 w 587"/>
              <a:gd name="T53" fmla="*/ 163 h 354"/>
              <a:gd name="T54" fmla="*/ 536 w 587"/>
              <a:gd name="T55" fmla="*/ 185 h 354"/>
              <a:gd name="T56" fmla="*/ 574 w 587"/>
              <a:gd name="T57" fmla="*/ 249 h 354"/>
              <a:gd name="T58" fmla="*/ 575 w 587"/>
              <a:gd name="T59" fmla="*/ 266 h 354"/>
              <a:gd name="T60" fmla="*/ 573 w 587"/>
              <a:gd name="T61" fmla="*/ 285 h 354"/>
              <a:gd name="T62" fmla="*/ 565 w 587"/>
              <a:gd name="T63" fmla="*/ 307 h 354"/>
              <a:gd name="T64" fmla="*/ 545 w 587"/>
              <a:gd name="T65" fmla="*/ 330 h 354"/>
              <a:gd name="T66" fmla="*/ 456 w 587"/>
              <a:gd name="T67" fmla="*/ 330 h 354"/>
              <a:gd name="T68" fmla="*/ 446 w 587"/>
              <a:gd name="T69" fmla="*/ 327 h 354"/>
              <a:gd name="T70" fmla="*/ 422 w 587"/>
              <a:gd name="T71" fmla="*/ 341 h 354"/>
              <a:gd name="T72" fmla="*/ 344 w 587"/>
              <a:gd name="T73" fmla="*/ 352 h 354"/>
              <a:gd name="T74" fmla="*/ 260 w 587"/>
              <a:gd name="T75" fmla="*/ 335 h 354"/>
              <a:gd name="T76" fmla="*/ 238 w 587"/>
              <a:gd name="T77" fmla="*/ 341 h 354"/>
              <a:gd name="T78" fmla="*/ 220 w 587"/>
              <a:gd name="T79" fmla="*/ 354 h 354"/>
              <a:gd name="T80" fmla="*/ 200 w 587"/>
              <a:gd name="T81" fmla="*/ 344 h 35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87" h="354">
                <a:moveTo>
                  <a:pt x="200" y="344"/>
                </a:moveTo>
                <a:cubicBezTo>
                  <a:pt x="191" y="339"/>
                  <a:pt x="179" y="335"/>
                  <a:pt x="172" y="335"/>
                </a:cubicBezTo>
                <a:cubicBezTo>
                  <a:pt x="151" y="335"/>
                  <a:pt x="145" y="327"/>
                  <a:pt x="144" y="299"/>
                </a:cubicBezTo>
                <a:cubicBezTo>
                  <a:pt x="143" y="286"/>
                  <a:pt x="141" y="272"/>
                  <a:pt x="139" y="267"/>
                </a:cubicBezTo>
                <a:cubicBezTo>
                  <a:pt x="132" y="256"/>
                  <a:pt x="130" y="218"/>
                  <a:pt x="135" y="209"/>
                </a:cubicBezTo>
                <a:cubicBezTo>
                  <a:pt x="137" y="205"/>
                  <a:pt x="140" y="191"/>
                  <a:pt x="140" y="179"/>
                </a:cubicBezTo>
                <a:cubicBezTo>
                  <a:pt x="141" y="160"/>
                  <a:pt x="139" y="154"/>
                  <a:pt x="130" y="143"/>
                </a:cubicBezTo>
                <a:cubicBezTo>
                  <a:pt x="124" y="135"/>
                  <a:pt x="118" y="125"/>
                  <a:pt x="117" y="121"/>
                </a:cubicBezTo>
                <a:cubicBezTo>
                  <a:pt x="116" y="114"/>
                  <a:pt x="112" y="112"/>
                  <a:pt x="86" y="110"/>
                </a:cubicBezTo>
                <a:cubicBezTo>
                  <a:pt x="70" y="109"/>
                  <a:pt x="53" y="106"/>
                  <a:pt x="50" y="105"/>
                </a:cubicBezTo>
                <a:cubicBezTo>
                  <a:pt x="41" y="101"/>
                  <a:pt x="4" y="54"/>
                  <a:pt x="1" y="43"/>
                </a:cubicBezTo>
                <a:cubicBezTo>
                  <a:pt x="0" y="38"/>
                  <a:pt x="1" y="28"/>
                  <a:pt x="3" y="20"/>
                </a:cubicBezTo>
                <a:cubicBezTo>
                  <a:pt x="7" y="4"/>
                  <a:pt x="17" y="0"/>
                  <a:pt x="49" y="4"/>
                </a:cubicBezTo>
                <a:cubicBezTo>
                  <a:pt x="82" y="8"/>
                  <a:pt x="101" y="20"/>
                  <a:pt x="108" y="42"/>
                </a:cubicBezTo>
                <a:cubicBezTo>
                  <a:pt x="111" y="52"/>
                  <a:pt x="121" y="55"/>
                  <a:pt x="148" y="53"/>
                </a:cubicBezTo>
                <a:cubicBezTo>
                  <a:pt x="180" y="51"/>
                  <a:pt x="194" y="58"/>
                  <a:pt x="194" y="79"/>
                </a:cubicBezTo>
                <a:cubicBezTo>
                  <a:pt x="194" y="86"/>
                  <a:pt x="197" y="91"/>
                  <a:pt x="204" y="94"/>
                </a:cubicBezTo>
                <a:cubicBezTo>
                  <a:pt x="220" y="101"/>
                  <a:pt x="224" y="114"/>
                  <a:pt x="217" y="133"/>
                </a:cubicBezTo>
                <a:cubicBezTo>
                  <a:pt x="211" y="149"/>
                  <a:pt x="211" y="150"/>
                  <a:pt x="225" y="163"/>
                </a:cubicBezTo>
                <a:cubicBezTo>
                  <a:pt x="232" y="170"/>
                  <a:pt x="238" y="180"/>
                  <a:pt x="238" y="185"/>
                </a:cubicBezTo>
                <a:cubicBezTo>
                  <a:pt x="238" y="192"/>
                  <a:pt x="241" y="194"/>
                  <a:pt x="255" y="196"/>
                </a:cubicBezTo>
                <a:cubicBezTo>
                  <a:pt x="264" y="197"/>
                  <a:pt x="287" y="202"/>
                  <a:pt x="306" y="205"/>
                </a:cubicBezTo>
                <a:cubicBezTo>
                  <a:pt x="340" y="212"/>
                  <a:pt x="340" y="212"/>
                  <a:pt x="340" y="212"/>
                </a:cubicBezTo>
                <a:cubicBezTo>
                  <a:pt x="363" y="201"/>
                  <a:pt x="363" y="201"/>
                  <a:pt x="363" y="201"/>
                </a:cubicBezTo>
                <a:cubicBezTo>
                  <a:pt x="375" y="195"/>
                  <a:pt x="387" y="191"/>
                  <a:pt x="389" y="191"/>
                </a:cubicBezTo>
                <a:cubicBezTo>
                  <a:pt x="391" y="191"/>
                  <a:pt x="401" y="184"/>
                  <a:pt x="410" y="176"/>
                </a:cubicBezTo>
                <a:cubicBezTo>
                  <a:pt x="427" y="162"/>
                  <a:pt x="428" y="162"/>
                  <a:pt x="460" y="163"/>
                </a:cubicBezTo>
                <a:cubicBezTo>
                  <a:pt x="497" y="164"/>
                  <a:pt x="509" y="167"/>
                  <a:pt x="536" y="185"/>
                </a:cubicBezTo>
                <a:cubicBezTo>
                  <a:pt x="569" y="206"/>
                  <a:pt x="587" y="236"/>
                  <a:pt x="574" y="249"/>
                </a:cubicBezTo>
                <a:cubicBezTo>
                  <a:pt x="572" y="252"/>
                  <a:pt x="572" y="257"/>
                  <a:pt x="575" y="266"/>
                </a:cubicBezTo>
                <a:cubicBezTo>
                  <a:pt x="579" y="276"/>
                  <a:pt x="579" y="279"/>
                  <a:pt x="573" y="285"/>
                </a:cubicBezTo>
                <a:cubicBezTo>
                  <a:pt x="570" y="289"/>
                  <a:pt x="566" y="299"/>
                  <a:pt x="565" y="307"/>
                </a:cubicBezTo>
                <a:cubicBezTo>
                  <a:pt x="564" y="319"/>
                  <a:pt x="561" y="322"/>
                  <a:pt x="545" y="330"/>
                </a:cubicBezTo>
                <a:cubicBezTo>
                  <a:pt x="511" y="347"/>
                  <a:pt x="463" y="347"/>
                  <a:pt x="456" y="330"/>
                </a:cubicBezTo>
                <a:cubicBezTo>
                  <a:pt x="452" y="323"/>
                  <a:pt x="451" y="322"/>
                  <a:pt x="446" y="327"/>
                </a:cubicBezTo>
                <a:cubicBezTo>
                  <a:pt x="443" y="330"/>
                  <a:pt x="432" y="337"/>
                  <a:pt x="422" y="341"/>
                </a:cubicBezTo>
                <a:cubicBezTo>
                  <a:pt x="407" y="349"/>
                  <a:pt x="396" y="350"/>
                  <a:pt x="344" y="352"/>
                </a:cubicBezTo>
                <a:cubicBezTo>
                  <a:pt x="280" y="353"/>
                  <a:pt x="265" y="350"/>
                  <a:pt x="260" y="335"/>
                </a:cubicBezTo>
                <a:cubicBezTo>
                  <a:pt x="257" y="324"/>
                  <a:pt x="254" y="324"/>
                  <a:pt x="238" y="341"/>
                </a:cubicBezTo>
                <a:cubicBezTo>
                  <a:pt x="231" y="348"/>
                  <a:pt x="223" y="354"/>
                  <a:pt x="220" y="354"/>
                </a:cubicBezTo>
                <a:cubicBezTo>
                  <a:pt x="218" y="354"/>
                  <a:pt x="209" y="350"/>
                  <a:pt x="200" y="344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Freeform 44"/>
          <p:cNvSpPr/>
          <p:nvPr userDrawn="1">
            <p:custDataLst>
              <p:tags r:id="rId91"/>
            </p:custDataLst>
          </p:nvPr>
        </p:nvSpPr>
        <p:spPr bwMode="grayWhite">
          <a:xfrm>
            <a:off x="3642681" y="-3059224"/>
            <a:ext cx="173038" cy="204788"/>
          </a:xfrm>
          <a:custGeom>
            <a:gdLst>
              <a:gd name="T0" fmla="*/ 73 w 120"/>
              <a:gd name="T1" fmla="*/ 139 h 143"/>
              <a:gd name="T2" fmla="*/ 9 w 120"/>
              <a:gd name="T3" fmla="*/ 95 h 143"/>
              <a:gd name="T4" fmla="*/ 19 w 120"/>
              <a:gd name="T5" fmla="*/ 41 h 143"/>
              <a:gd name="T6" fmla="*/ 50 w 120"/>
              <a:gd name="T7" fmla="*/ 6 h 143"/>
              <a:gd name="T8" fmla="*/ 104 w 120"/>
              <a:gd name="T9" fmla="*/ 18 h 143"/>
              <a:gd name="T10" fmla="*/ 118 w 120"/>
              <a:gd name="T11" fmla="*/ 74 h 143"/>
              <a:gd name="T12" fmla="*/ 110 w 120"/>
              <a:gd name="T13" fmla="*/ 131 h 143"/>
              <a:gd name="T14" fmla="*/ 73 w 120"/>
              <a:gd name="T15" fmla="*/ 139 h 143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0" h="143">
                <a:moveTo>
                  <a:pt x="73" y="139"/>
                </a:moveTo>
                <a:cubicBezTo>
                  <a:pt x="65" y="137"/>
                  <a:pt x="21" y="106"/>
                  <a:pt x="9" y="95"/>
                </a:cubicBezTo>
                <a:cubicBezTo>
                  <a:pt x="0" y="85"/>
                  <a:pt x="2" y="73"/>
                  <a:pt x="19" y="41"/>
                </a:cubicBezTo>
                <a:cubicBezTo>
                  <a:pt x="32" y="16"/>
                  <a:pt x="37" y="11"/>
                  <a:pt x="50" y="6"/>
                </a:cubicBezTo>
                <a:cubicBezTo>
                  <a:pt x="68" y="0"/>
                  <a:pt x="87" y="4"/>
                  <a:pt x="104" y="18"/>
                </a:cubicBezTo>
                <a:cubicBezTo>
                  <a:pt x="114" y="27"/>
                  <a:pt x="115" y="30"/>
                  <a:pt x="118" y="74"/>
                </a:cubicBezTo>
                <a:cubicBezTo>
                  <a:pt x="120" y="121"/>
                  <a:pt x="120" y="121"/>
                  <a:pt x="110" y="131"/>
                </a:cubicBezTo>
                <a:cubicBezTo>
                  <a:pt x="100" y="141"/>
                  <a:pt x="91" y="143"/>
                  <a:pt x="73" y="139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Freeform 45"/>
          <p:cNvSpPr/>
          <p:nvPr userDrawn="1">
            <p:custDataLst>
              <p:tags r:id="rId92"/>
            </p:custDataLst>
          </p:nvPr>
        </p:nvSpPr>
        <p:spPr bwMode="grayWhite">
          <a:xfrm>
            <a:off x="3312481" y="-3273536"/>
            <a:ext cx="306388" cy="320675"/>
          </a:xfrm>
          <a:custGeom>
            <a:gdLst>
              <a:gd name="T0" fmla="*/ 145 w 213"/>
              <a:gd name="T1" fmla="*/ 214 h 223"/>
              <a:gd name="T2" fmla="*/ 108 w 213"/>
              <a:gd name="T3" fmla="*/ 175 h 223"/>
              <a:gd name="T4" fmla="*/ 121 w 213"/>
              <a:gd name="T5" fmla="*/ 157 h 223"/>
              <a:gd name="T6" fmla="*/ 134 w 213"/>
              <a:gd name="T7" fmla="*/ 146 h 223"/>
              <a:gd name="T8" fmla="*/ 97 w 213"/>
              <a:gd name="T9" fmla="*/ 147 h 223"/>
              <a:gd name="T10" fmla="*/ 48 w 213"/>
              <a:gd name="T11" fmla="*/ 120 h 223"/>
              <a:gd name="T12" fmla="*/ 20 w 213"/>
              <a:gd name="T13" fmla="*/ 79 h 223"/>
              <a:gd name="T14" fmla="*/ 0 w 213"/>
              <a:gd name="T15" fmla="*/ 64 h 223"/>
              <a:gd name="T16" fmla="*/ 7 w 213"/>
              <a:gd name="T17" fmla="*/ 50 h 223"/>
              <a:gd name="T18" fmla="*/ 32 w 213"/>
              <a:gd name="T19" fmla="*/ 41 h 223"/>
              <a:gd name="T20" fmla="*/ 64 w 213"/>
              <a:gd name="T21" fmla="*/ 56 h 223"/>
              <a:gd name="T22" fmla="*/ 82 w 213"/>
              <a:gd name="T23" fmla="*/ 80 h 223"/>
              <a:gd name="T24" fmla="*/ 112 w 213"/>
              <a:gd name="T25" fmla="*/ 99 h 223"/>
              <a:gd name="T26" fmla="*/ 125 w 213"/>
              <a:gd name="T27" fmla="*/ 84 h 223"/>
              <a:gd name="T28" fmla="*/ 99 w 213"/>
              <a:gd name="T29" fmla="*/ 47 h 223"/>
              <a:gd name="T30" fmla="*/ 88 w 213"/>
              <a:gd name="T31" fmla="*/ 36 h 223"/>
              <a:gd name="T32" fmla="*/ 108 w 213"/>
              <a:gd name="T33" fmla="*/ 15 h 223"/>
              <a:gd name="T34" fmla="*/ 139 w 213"/>
              <a:gd name="T35" fmla="*/ 1 h 223"/>
              <a:gd name="T36" fmla="*/ 172 w 213"/>
              <a:gd name="T37" fmla="*/ 4 h 223"/>
              <a:gd name="T38" fmla="*/ 203 w 213"/>
              <a:gd name="T39" fmla="*/ 13 h 223"/>
              <a:gd name="T40" fmla="*/ 213 w 213"/>
              <a:gd name="T41" fmla="*/ 19 h 223"/>
              <a:gd name="T42" fmla="*/ 211 w 213"/>
              <a:gd name="T43" fmla="*/ 93 h 223"/>
              <a:gd name="T44" fmla="*/ 204 w 213"/>
              <a:gd name="T45" fmla="*/ 173 h 223"/>
              <a:gd name="T46" fmla="*/ 202 w 213"/>
              <a:gd name="T47" fmla="*/ 192 h 223"/>
              <a:gd name="T48" fmla="*/ 179 w 213"/>
              <a:gd name="T49" fmla="*/ 222 h 223"/>
              <a:gd name="T50" fmla="*/ 145 w 213"/>
              <a:gd name="T51" fmla="*/ 214 h 223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13" h="223">
                <a:moveTo>
                  <a:pt x="145" y="214"/>
                </a:moveTo>
                <a:cubicBezTo>
                  <a:pt x="127" y="206"/>
                  <a:pt x="108" y="186"/>
                  <a:pt x="108" y="175"/>
                </a:cubicBezTo>
                <a:cubicBezTo>
                  <a:pt x="108" y="171"/>
                  <a:pt x="114" y="163"/>
                  <a:pt x="121" y="157"/>
                </a:cubicBezTo>
                <a:cubicBezTo>
                  <a:pt x="134" y="146"/>
                  <a:pt x="134" y="146"/>
                  <a:pt x="134" y="146"/>
                </a:cubicBezTo>
                <a:cubicBezTo>
                  <a:pt x="97" y="147"/>
                  <a:pt x="97" y="147"/>
                  <a:pt x="97" y="147"/>
                </a:cubicBezTo>
                <a:cubicBezTo>
                  <a:pt x="54" y="148"/>
                  <a:pt x="48" y="145"/>
                  <a:pt x="48" y="120"/>
                </a:cubicBezTo>
                <a:cubicBezTo>
                  <a:pt x="48" y="100"/>
                  <a:pt x="43" y="93"/>
                  <a:pt x="20" y="79"/>
                </a:cubicBezTo>
                <a:cubicBezTo>
                  <a:pt x="9" y="72"/>
                  <a:pt x="0" y="66"/>
                  <a:pt x="0" y="64"/>
                </a:cubicBezTo>
                <a:cubicBezTo>
                  <a:pt x="0" y="63"/>
                  <a:pt x="3" y="57"/>
                  <a:pt x="7" y="50"/>
                </a:cubicBezTo>
                <a:cubicBezTo>
                  <a:pt x="13" y="40"/>
                  <a:pt x="15" y="39"/>
                  <a:pt x="32" y="41"/>
                </a:cubicBezTo>
                <a:cubicBezTo>
                  <a:pt x="54" y="44"/>
                  <a:pt x="64" y="49"/>
                  <a:pt x="64" y="56"/>
                </a:cubicBezTo>
                <a:cubicBezTo>
                  <a:pt x="64" y="59"/>
                  <a:pt x="72" y="70"/>
                  <a:pt x="82" y="80"/>
                </a:cubicBezTo>
                <a:cubicBezTo>
                  <a:pt x="95" y="94"/>
                  <a:pt x="103" y="99"/>
                  <a:pt x="112" y="99"/>
                </a:cubicBezTo>
                <a:cubicBezTo>
                  <a:pt x="122" y="99"/>
                  <a:pt x="123" y="97"/>
                  <a:pt x="125" y="84"/>
                </a:cubicBezTo>
                <a:cubicBezTo>
                  <a:pt x="127" y="68"/>
                  <a:pt x="121" y="60"/>
                  <a:pt x="99" y="47"/>
                </a:cubicBezTo>
                <a:cubicBezTo>
                  <a:pt x="93" y="44"/>
                  <a:pt x="88" y="39"/>
                  <a:pt x="88" y="36"/>
                </a:cubicBezTo>
                <a:cubicBezTo>
                  <a:pt x="88" y="33"/>
                  <a:pt x="97" y="24"/>
                  <a:pt x="108" y="15"/>
                </a:cubicBezTo>
                <a:cubicBezTo>
                  <a:pt x="123" y="3"/>
                  <a:pt x="131" y="0"/>
                  <a:pt x="139" y="1"/>
                </a:cubicBezTo>
                <a:cubicBezTo>
                  <a:pt x="145" y="2"/>
                  <a:pt x="160" y="3"/>
                  <a:pt x="172" y="4"/>
                </a:cubicBezTo>
                <a:cubicBezTo>
                  <a:pt x="184" y="6"/>
                  <a:pt x="198" y="9"/>
                  <a:pt x="203" y="13"/>
                </a:cubicBezTo>
                <a:cubicBezTo>
                  <a:pt x="213" y="19"/>
                  <a:pt x="213" y="19"/>
                  <a:pt x="213" y="19"/>
                </a:cubicBezTo>
                <a:cubicBezTo>
                  <a:pt x="211" y="93"/>
                  <a:pt x="211" y="93"/>
                  <a:pt x="211" y="93"/>
                </a:cubicBezTo>
                <a:cubicBezTo>
                  <a:pt x="209" y="137"/>
                  <a:pt x="207" y="170"/>
                  <a:pt x="204" y="173"/>
                </a:cubicBezTo>
                <a:cubicBezTo>
                  <a:pt x="201" y="176"/>
                  <a:pt x="201" y="184"/>
                  <a:pt x="202" y="192"/>
                </a:cubicBezTo>
                <a:cubicBezTo>
                  <a:pt x="206" y="213"/>
                  <a:pt x="199" y="223"/>
                  <a:pt x="179" y="222"/>
                </a:cubicBezTo>
                <a:cubicBezTo>
                  <a:pt x="170" y="222"/>
                  <a:pt x="155" y="218"/>
                  <a:pt x="145" y="214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Freeform 46"/>
          <p:cNvSpPr/>
          <p:nvPr userDrawn="1">
            <p:custDataLst>
              <p:tags r:id="rId93"/>
            </p:custDataLst>
          </p:nvPr>
        </p:nvSpPr>
        <p:spPr bwMode="grayWhite">
          <a:xfrm>
            <a:off x="3023556" y="-3381487"/>
            <a:ext cx="242888" cy="406400"/>
          </a:xfrm>
          <a:custGeom>
            <a:gdLst>
              <a:gd name="T0" fmla="*/ 56 w 168"/>
              <a:gd name="T1" fmla="*/ 264 h 282"/>
              <a:gd name="T2" fmla="*/ 17 w 168"/>
              <a:gd name="T3" fmla="*/ 263 h 282"/>
              <a:gd name="T4" fmla="*/ 6 w 168"/>
              <a:gd name="T5" fmla="*/ 266 h 282"/>
              <a:gd name="T6" fmla="*/ 29 w 168"/>
              <a:gd name="T7" fmla="*/ 173 h 282"/>
              <a:gd name="T8" fmla="*/ 33 w 168"/>
              <a:gd name="T9" fmla="*/ 152 h 282"/>
              <a:gd name="T10" fmla="*/ 60 w 168"/>
              <a:gd name="T11" fmla="*/ 19 h 282"/>
              <a:gd name="T12" fmla="*/ 93 w 168"/>
              <a:gd name="T13" fmla="*/ 35 h 282"/>
              <a:gd name="T14" fmla="*/ 92 w 168"/>
              <a:gd name="T15" fmla="*/ 51 h 282"/>
              <a:gd name="T16" fmla="*/ 90 w 168"/>
              <a:gd name="T17" fmla="*/ 97 h 282"/>
              <a:gd name="T18" fmla="*/ 87 w 168"/>
              <a:gd name="T19" fmla="*/ 120 h 282"/>
              <a:gd name="T20" fmla="*/ 97 w 168"/>
              <a:gd name="T21" fmla="*/ 137 h 282"/>
              <a:gd name="T22" fmla="*/ 124 w 168"/>
              <a:gd name="T23" fmla="*/ 133 h 282"/>
              <a:gd name="T24" fmla="*/ 149 w 168"/>
              <a:gd name="T25" fmla="*/ 136 h 282"/>
              <a:gd name="T26" fmla="*/ 155 w 168"/>
              <a:gd name="T27" fmla="*/ 223 h 282"/>
              <a:gd name="T28" fmla="*/ 141 w 168"/>
              <a:gd name="T29" fmla="*/ 244 h 282"/>
              <a:gd name="T30" fmla="*/ 56 w 168"/>
              <a:gd name="T31" fmla="*/ 264 h 282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68" h="282">
                <a:moveTo>
                  <a:pt x="56" y="264"/>
                </a:moveTo>
                <a:cubicBezTo>
                  <a:pt x="39" y="254"/>
                  <a:pt x="28" y="254"/>
                  <a:pt x="17" y="263"/>
                </a:cubicBezTo>
                <a:cubicBezTo>
                  <a:pt x="14" y="266"/>
                  <a:pt x="9" y="268"/>
                  <a:pt x="6" y="266"/>
                </a:cubicBezTo>
                <a:cubicBezTo>
                  <a:pt x="0" y="262"/>
                  <a:pt x="22" y="171"/>
                  <a:pt x="29" y="173"/>
                </a:cubicBezTo>
                <a:cubicBezTo>
                  <a:pt x="32" y="173"/>
                  <a:pt x="33" y="166"/>
                  <a:pt x="33" y="152"/>
                </a:cubicBezTo>
                <a:cubicBezTo>
                  <a:pt x="33" y="125"/>
                  <a:pt x="52" y="31"/>
                  <a:pt x="60" y="19"/>
                </a:cubicBezTo>
                <a:cubicBezTo>
                  <a:pt x="71" y="0"/>
                  <a:pt x="103" y="15"/>
                  <a:pt x="93" y="35"/>
                </a:cubicBezTo>
                <a:cubicBezTo>
                  <a:pt x="90" y="40"/>
                  <a:pt x="90" y="46"/>
                  <a:pt x="92" y="51"/>
                </a:cubicBezTo>
                <a:cubicBezTo>
                  <a:pt x="96" y="61"/>
                  <a:pt x="95" y="86"/>
                  <a:pt x="90" y="97"/>
                </a:cubicBezTo>
                <a:cubicBezTo>
                  <a:pt x="88" y="100"/>
                  <a:pt x="86" y="111"/>
                  <a:pt x="87" y="120"/>
                </a:cubicBezTo>
                <a:cubicBezTo>
                  <a:pt x="87" y="133"/>
                  <a:pt x="89" y="136"/>
                  <a:pt x="97" y="137"/>
                </a:cubicBezTo>
                <a:cubicBezTo>
                  <a:pt x="102" y="138"/>
                  <a:pt x="114" y="136"/>
                  <a:pt x="124" y="133"/>
                </a:cubicBezTo>
                <a:cubicBezTo>
                  <a:pt x="140" y="129"/>
                  <a:pt x="142" y="129"/>
                  <a:pt x="149" y="136"/>
                </a:cubicBezTo>
                <a:cubicBezTo>
                  <a:pt x="164" y="151"/>
                  <a:pt x="168" y="206"/>
                  <a:pt x="155" y="223"/>
                </a:cubicBezTo>
                <a:cubicBezTo>
                  <a:pt x="152" y="228"/>
                  <a:pt x="145" y="237"/>
                  <a:pt x="141" y="244"/>
                </a:cubicBezTo>
                <a:cubicBezTo>
                  <a:pt x="122" y="274"/>
                  <a:pt x="85" y="282"/>
                  <a:pt x="56" y="264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Freeform 47"/>
          <p:cNvSpPr/>
          <p:nvPr userDrawn="1">
            <p:custDataLst>
              <p:tags r:id="rId94"/>
            </p:custDataLst>
          </p:nvPr>
        </p:nvSpPr>
        <p:spPr bwMode="grayWhite">
          <a:xfrm>
            <a:off x="3256919" y="-3056049"/>
            <a:ext cx="77788" cy="66675"/>
          </a:xfrm>
          <a:custGeom>
            <a:gdLst>
              <a:gd name="T0" fmla="*/ 3 w 54"/>
              <a:gd name="T1" fmla="*/ 37 h 47"/>
              <a:gd name="T2" fmla="*/ 6 w 54"/>
              <a:gd name="T3" fmla="*/ 16 h 47"/>
              <a:gd name="T4" fmla="*/ 13 w 54"/>
              <a:gd name="T5" fmla="*/ 5 h 47"/>
              <a:gd name="T6" fmla="*/ 26 w 54"/>
              <a:gd name="T7" fmla="*/ 2 h 47"/>
              <a:gd name="T8" fmla="*/ 47 w 54"/>
              <a:gd name="T9" fmla="*/ 18 h 47"/>
              <a:gd name="T10" fmla="*/ 52 w 54"/>
              <a:gd name="T11" fmla="*/ 41 h 47"/>
              <a:gd name="T12" fmla="*/ 27 w 54"/>
              <a:gd name="T13" fmla="*/ 46 h 47"/>
              <a:gd name="T14" fmla="*/ 3 w 54"/>
              <a:gd name="T15" fmla="*/ 37 h 4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4" h="47">
                <a:moveTo>
                  <a:pt x="3" y="37"/>
                </a:moveTo>
                <a:cubicBezTo>
                  <a:pt x="0" y="30"/>
                  <a:pt x="1" y="24"/>
                  <a:pt x="6" y="16"/>
                </a:cubicBezTo>
                <a:cubicBezTo>
                  <a:pt x="10" y="10"/>
                  <a:pt x="13" y="5"/>
                  <a:pt x="13" y="5"/>
                </a:cubicBezTo>
                <a:cubicBezTo>
                  <a:pt x="13" y="4"/>
                  <a:pt x="19" y="3"/>
                  <a:pt x="26" y="2"/>
                </a:cubicBezTo>
                <a:cubicBezTo>
                  <a:pt x="38" y="0"/>
                  <a:pt x="39" y="1"/>
                  <a:pt x="47" y="18"/>
                </a:cubicBezTo>
                <a:cubicBezTo>
                  <a:pt x="52" y="30"/>
                  <a:pt x="54" y="38"/>
                  <a:pt x="52" y="41"/>
                </a:cubicBezTo>
                <a:cubicBezTo>
                  <a:pt x="50" y="43"/>
                  <a:pt x="39" y="45"/>
                  <a:pt x="27" y="46"/>
                </a:cubicBezTo>
                <a:cubicBezTo>
                  <a:pt x="8" y="47"/>
                  <a:pt x="6" y="46"/>
                  <a:pt x="3" y="37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Freeform 48"/>
          <p:cNvSpPr/>
          <p:nvPr userDrawn="1">
            <p:custDataLst>
              <p:tags r:id="rId95"/>
            </p:custDataLst>
          </p:nvPr>
        </p:nvSpPr>
        <p:spPr bwMode="grayWhite">
          <a:xfrm>
            <a:off x="3893506" y="-4724512"/>
            <a:ext cx="946150" cy="1576388"/>
          </a:xfrm>
          <a:custGeom>
            <a:gdLst>
              <a:gd name="T0" fmla="*/ 322 w 658"/>
              <a:gd name="T1" fmla="*/ 1044 h 1097"/>
              <a:gd name="T2" fmla="*/ 264 w 658"/>
              <a:gd name="T3" fmla="*/ 1050 h 1097"/>
              <a:gd name="T4" fmla="*/ 224 w 658"/>
              <a:gd name="T5" fmla="*/ 1048 h 1097"/>
              <a:gd name="T6" fmla="*/ 73 w 658"/>
              <a:gd name="T7" fmla="*/ 1054 h 1097"/>
              <a:gd name="T8" fmla="*/ 110 w 658"/>
              <a:gd name="T9" fmla="*/ 949 h 1097"/>
              <a:gd name="T10" fmla="*/ 130 w 658"/>
              <a:gd name="T11" fmla="*/ 849 h 1097"/>
              <a:gd name="T12" fmla="*/ 208 w 658"/>
              <a:gd name="T13" fmla="*/ 913 h 1097"/>
              <a:gd name="T14" fmla="*/ 182 w 658"/>
              <a:gd name="T15" fmla="*/ 835 h 1097"/>
              <a:gd name="T16" fmla="*/ 120 w 658"/>
              <a:gd name="T17" fmla="*/ 794 h 1097"/>
              <a:gd name="T18" fmla="*/ 170 w 658"/>
              <a:gd name="T19" fmla="*/ 708 h 1097"/>
              <a:gd name="T20" fmla="*/ 255 w 658"/>
              <a:gd name="T21" fmla="*/ 720 h 1097"/>
              <a:gd name="T22" fmla="*/ 243 w 658"/>
              <a:gd name="T23" fmla="*/ 699 h 1097"/>
              <a:gd name="T24" fmla="*/ 156 w 658"/>
              <a:gd name="T25" fmla="*/ 580 h 1097"/>
              <a:gd name="T26" fmla="*/ 169 w 658"/>
              <a:gd name="T27" fmla="*/ 487 h 1097"/>
              <a:gd name="T28" fmla="*/ 239 w 658"/>
              <a:gd name="T29" fmla="*/ 520 h 1097"/>
              <a:gd name="T30" fmla="*/ 297 w 658"/>
              <a:gd name="T31" fmla="*/ 445 h 1097"/>
              <a:gd name="T32" fmla="*/ 337 w 658"/>
              <a:gd name="T33" fmla="*/ 396 h 1097"/>
              <a:gd name="T34" fmla="*/ 307 w 658"/>
              <a:gd name="T35" fmla="*/ 377 h 1097"/>
              <a:gd name="T36" fmla="*/ 145 w 658"/>
              <a:gd name="T37" fmla="*/ 432 h 1097"/>
              <a:gd name="T38" fmla="*/ 136 w 658"/>
              <a:gd name="T39" fmla="*/ 411 h 1097"/>
              <a:gd name="T40" fmla="*/ 68 w 658"/>
              <a:gd name="T41" fmla="*/ 391 h 1097"/>
              <a:gd name="T42" fmla="*/ 40 w 658"/>
              <a:gd name="T43" fmla="*/ 357 h 1097"/>
              <a:gd name="T44" fmla="*/ 52 w 658"/>
              <a:gd name="T45" fmla="*/ 301 h 1097"/>
              <a:gd name="T46" fmla="*/ 77 w 658"/>
              <a:gd name="T47" fmla="*/ 220 h 1097"/>
              <a:gd name="T48" fmla="*/ 132 w 658"/>
              <a:gd name="T49" fmla="*/ 175 h 1097"/>
              <a:gd name="T50" fmla="*/ 175 w 658"/>
              <a:gd name="T51" fmla="*/ 144 h 1097"/>
              <a:gd name="T52" fmla="*/ 226 w 658"/>
              <a:gd name="T53" fmla="*/ 115 h 1097"/>
              <a:gd name="T54" fmla="*/ 282 w 658"/>
              <a:gd name="T55" fmla="*/ 50 h 1097"/>
              <a:gd name="T56" fmla="*/ 391 w 658"/>
              <a:gd name="T57" fmla="*/ 18 h 1097"/>
              <a:gd name="T58" fmla="*/ 517 w 658"/>
              <a:gd name="T59" fmla="*/ 3 h 1097"/>
              <a:gd name="T60" fmla="*/ 626 w 658"/>
              <a:gd name="T61" fmla="*/ 42 h 1097"/>
              <a:gd name="T62" fmla="*/ 628 w 658"/>
              <a:gd name="T63" fmla="*/ 186 h 1097"/>
              <a:gd name="T64" fmla="*/ 560 w 658"/>
              <a:gd name="T65" fmla="*/ 267 h 1097"/>
              <a:gd name="T66" fmla="*/ 612 w 658"/>
              <a:gd name="T67" fmla="*/ 216 h 1097"/>
              <a:gd name="T68" fmla="*/ 627 w 658"/>
              <a:gd name="T69" fmla="*/ 280 h 1097"/>
              <a:gd name="T70" fmla="*/ 561 w 658"/>
              <a:gd name="T71" fmla="*/ 433 h 1097"/>
              <a:gd name="T72" fmla="*/ 492 w 658"/>
              <a:gd name="T73" fmla="*/ 560 h 1097"/>
              <a:gd name="T74" fmla="*/ 426 w 658"/>
              <a:gd name="T75" fmla="*/ 609 h 1097"/>
              <a:gd name="T76" fmla="*/ 429 w 658"/>
              <a:gd name="T77" fmla="*/ 665 h 1097"/>
              <a:gd name="T78" fmla="*/ 469 w 658"/>
              <a:gd name="T79" fmla="*/ 681 h 1097"/>
              <a:gd name="T80" fmla="*/ 484 w 658"/>
              <a:gd name="T81" fmla="*/ 769 h 1097"/>
              <a:gd name="T82" fmla="*/ 428 w 658"/>
              <a:gd name="T83" fmla="*/ 833 h 1097"/>
              <a:gd name="T84" fmla="*/ 407 w 658"/>
              <a:gd name="T85" fmla="*/ 905 h 1097"/>
              <a:gd name="T86" fmla="*/ 427 w 658"/>
              <a:gd name="T87" fmla="*/ 972 h 109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58" h="1097">
                <a:moveTo>
                  <a:pt x="338" y="1073"/>
                </a:moveTo>
                <a:cubicBezTo>
                  <a:pt x="337" y="1068"/>
                  <a:pt x="337" y="1063"/>
                  <a:pt x="338" y="1061"/>
                </a:cubicBezTo>
                <a:cubicBezTo>
                  <a:pt x="341" y="1056"/>
                  <a:pt x="335" y="1050"/>
                  <a:pt x="322" y="1044"/>
                </a:cubicBezTo>
                <a:cubicBezTo>
                  <a:pt x="311" y="1038"/>
                  <a:pt x="310" y="1038"/>
                  <a:pt x="301" y="1047"/>
                </a:cubicBezTo>
                <a:cubicBezTo>
                  <a:pt x="294" y="1055"/>
                  <a:pt x="289" y="1057"/>
                  <a:pt x="283" y="1055"/>
                </a:cubicBezTo>
                <a:cubicBezTo>
                  <a:pt x="278" y="1053"/>
                  <a:pt x="270" y="1051"/>
                  <a:pt x="264" y="1050"/>
                </a:cubicBezTo>
                <a:cubicBezTo>
                  <a:pt x="259" y="1049"/>
                  <a:pt x="250" y="1043"/>
                  <a:pt x="245" y="1037"/>
                </a:cubicBezTo>
                <a:cubicBezTo>
                  <a:pt x="238" y="1029"/>
                  <a:pt x="236" y="1028"/>
                  <a:pt x="230" y="1032"/>
                </a:cubicBezTo>
                <a:cubicBezTo>
                  <a:pt x="227" y="1035"/>
                  <a:pt x="224" y="1042"/>
                  <a:pt x="224" y="1048"/>
                </a:cubicBezTo>
                <a:cubicBezTo>
                  <a:pt x="224" y="1062"/>
                  <a:pt x="211" y="1070"/>
                  <a:pt x="195" y="1066"/>
                </a:cubicBezTo>
                <a:cubicBezTo>
                  <a:pt x="189" y="1065"/>
                  <a:pt x="161" y="1063"/>
                  <a:pt x="134" y="1063"/>
                </a:cubicBezTo>
                <a:cubicBezTo>
                  <a:pt x="91" y="1063"/>
                  <a:pt x="83" y="1061"/>
                  <a:pt x="73" y="1054"/>
                </a:cubicBezTo>
                <a:cubicBezTo>
                  <a:pt x="64" y="1047"/>
                  <a:pt x="62" y="1043"/>
                  <a:pt x="61" y="1023"/>
                </a:cubicBezTo>
                <a:cubicBezTo>
                  <a:pt x="60" y="1009"/>
                  <a:pt x="62" y="997"/>
                  <a:pt x="66" y="989"/>
                </a:cubicBezTo>
                <a:cubicBezTo>
                  <a:pt x="76" y="970"/>
                  <a:pt x="99" y="949"/>
                  <a:pt x="110" y="949"/>
                </a:cubicBezTo>
                <a:cubicBezTo>
                  <a:pt x="127" y="949"/>
                  <a:pt x="129" y="939"/>
                  <a:pt x="116" y="926"/>
                </a:cubicBezTo>
                <a:cubicBezTo>
                  <a:pt x="93" y="905"/>
                  <a:pt x="87" y="882"/>
                  <a:pt x="97" y="863"/>
                </a:cubicBezTo>
                <a:cubicBezTo>
                  <a:pt x="103" y="851"/>
                  <a:pt x="108" y="849"/>
                  <a:pt x="130" y="849"/>
                </a:cubicBezTo>
                <a:cubicBezTo>
                  <a:pt x="154" y="849"/>
                  <a:pt x="171" y="860"/>
                  <a:pt x="177" y="883"/>
                </a:cubicBezTo>
                <a:cubicBezTo>
                  <a:pt x="179" y="891"/>
                  <a:pt x="185" y="902"/>
                  <a:pt x="190" y="907"/>
                </a:cubicBezTo>
                <a:cubicBezTo>
                  <a:pt x="198" y="915"/>
                  <a:pt x="202" y="916"/>
                  <a:pt x="208" y="913"/>
                </a:cubicBezTo>
                <a:cubicBezTo>
                  <a:pt x="216" y="908"/>
                  <a:pt x="215" y="907"/>
                  <a:pt x="198" y="890"/>
                </a:cubicBezTo>
                <a:cubicBezTo>
                  <a:pt x="189" y="880"/>
                  <a:pt x="179" y="866"/>
                  <a:pt x="176" y="860"/>
                </a:cubicBezTo>
                <a:cubicBezTo>
                  <a:pt x="172" y="850"/>
                  <a:pt x="172" y="847"/>
                  <a:pt x="182" y="835"/>
                </a:cubicBezTo>
                <a:cubicBezTo>
                  <a:pt x="193" y="821"/>
                  <a:pt x="193" y="821"/>
                  <a:pt x="193" y="821"/>
                </a:cubicBezTo>
                <a:cubicBezTo>
                  <a:pt x="165" y="821"/>
                  <a:pt x="165" y="821"/>
                  <a:pt x="165" y="821"/>
                </a:cubicBezTo>
                <a:cubicBezTo>
                  <a:pt x="131" y="821"/>
                  <a:pt x="120" y="814"/>
                  <a:pt x="120" y="794"/>
                </a:cubicBezTo>
                <a:cubicBezTo>
                  <a:pt x="120" y="787"/>
                  <a:pt x="124" y="773"/>
                  <a:pt x="128" y="764"/>
                </a:cubicBezTo>
                <a:cubicBezTo>
                  <a:pt x="133" y="755"/>
                  <a:pt x="136" y="747"/>
                  <a:pt x="135" y="746"/>
                </a:cubicBezTo>
                <a:cubicBezTo>
                  <a:pt x="128" y="739"/>
                  <a:pt x="146" y="721"/>
                  <a:pt x="170" y="708"/>
                </a:cubicBezTo>
                <a:cubicBezTo>
                  <a:pt x="197" y="695"/>
                  <a:pt x="197" y="695"/>
                  <a:pt x="197" y="695"/>
                </a:cubicBezTo>
                <a:cubicBezTo>
                  <a:pt x="223" y="709"/>
                  <a:pt x="223" y="709"/>
                  <a:pt x="223" y="709"/>
                </a:cubicBezTo>
                <a:cubicBezTo>
                  <a:pt x="257" y="726"/>
                  <a:pt x="255" y="726"/>
                  <a:pt x="255" y="720"/>
                </a:cubicBezTo>
                <a:cubicBezTo>
                  <a:pt x="255" y="717"/>
                  <a:pt x="256" y="711"/>
                  <a:pt x="258" y="708"/>
                </a:cubicBezTo>
                <a:cubicBezTo>
                  <a:pt x="260" y="704"/>
                  <a:pt x="259" y="700"/>
                  <a:pt x="258" y="700"/>
                </a:cubicBezTo>
                <a:cubicBezTo>
                  <a:pt x="256" y="700"/>
                  <a:pt x="249" y="699"/>
                  <a:pt x="243" y="699"/>
                </a:cubicBezTo>
                <a:cubicBezTo>
                  <a:pt x="226" y="697"/>
                  <a:pt x="199" y="667"/>
                  <a:pt x="190" y="640"/>
                </a:cubicBezTo>
                <a:cubicBezTo>
                  <a:pt x="186" y="628"/>
                  <a:pt x="177" y="611"/>
                  <a:pt x="170" y="601"/>
                </a:cubicBezTo>
                <a:cubicBezTo>
                  <a:pt x="162" y="591"/>
                  <a:pt x="156" y="582"/>
                  <a:pt x="156" y="580"/>
                </a:cubicBezTo>
                <a:cubicBezTo>
                  <a:pt x="156" y="579"/>
                  <a:pt x="153" y="576"/>
                  <a:pt x="148" y="575"/>
                </a:cubicBezTo>
                <a:cubicBezTo>
                  <a:pt x="137" y="571"/>
                  <a:pt x="133" y="553"/>
                  <a:pt x="136" y="524"/>
                </a:cubicBezTo>
                <a:cubicBezTo>
                  <a:pt x="139" y="489"/>
                  <a:pt x="143" y="484"/>
                  <a:pt x="169" y="487"/>
                </a:cubicBezTo>
                <a:cubicBezTo>
                  <a:pt x="196" y="489"/>
                  <a:pt x="203" y="494"/>
                  <a:pt x="232" y="533"/>
                </a:cubicBezTo>
                <a:cubicBezTo>
                  <a:pt x="246" y="551"/>
                  <a:pt x="257" y="565"/>
                  <a:pt x="258" y="564"/>
                </a:cubicBezTo>
                <a:cubicBezTo>
                  <a:pt x="263" y="559"/>
                  <a:pt x="252" y="535"/>
                  <a:pt x="239" y="520"/>
                </a:cubicBezTo>
                <a:cubicBezTo>
                  <a:pt x="219" y="498"/>
                  <a:pt x="220" y="486"/>
                  <a:pt x="242" y="474"/>
                </a:cubicBezTo>
                <a:cubicBezTo>
                  <a:pt x="251" y="470"/>
                  <a:pt x="265" y="461"/>
                  <a:pt x="274" y="455"/>
                </a:cubicBezTo>
                <a:cubicBezTo>
                  <a:pt x="283" y="449"/>
                  <a:pt x="293" y="445"/>
                  <a:pt x="297" y="445"/>
                </a:cubicBezTo>
                <a:cubicBezTo>
                  <a:pt x="302" y="445"/>
                  <a:pt x="304" y="442"/>
                  <a:pt x="304" y="436"/>
                </a:cubicBezTo>
                <a:cubicBezTo>
                  <a:pt x="304" y="432"/>
                  <a:pt x="311" y="421"/>
                  <a:pt x="320" y="412"/>
                </a:cubicBezTo>
                <a:cubicBezTo>
                  <a:pt x="337" y="396"/>
                  <a:pt x="337" y="396"/>
                  <a:pt x="337" y="396"/>
                </a:cubicBezTo>
                <a:cubicBezTo>
                  <a:pt x="326" y="384"/>
                  <a:pt x="326" y="384"/>
                  <a:pt x="326" y="384"/>
                </a:cubicBezTo>
                <a:cubicBezTo>
                  <a:pt x="321" y="377"/>
                  <a:pt x="316" y="369"/>
                  <a:pt x="316" y="365"/>
                </a:cubicBezTo>
                <a:cubicBezTo>
                  <a:pt x="316" y="362"/>
                  <a:pt x="312" y="367"/>
                  <a:pt x="307" y="377"/>
                </a:cubicBezTo>
                <a:cubicBezTo>
                  <a:pt x="282" y="425"/>
                  <a:pt x="263" y="442"/>
                  <a:pt x="233" y="443"/>
                </a:cubicBezTo>
                <a:cubicBezTo>
                  <a:pt x="223" y="443"/>
                  <a:pt x="204" y="446"/>
                  <a:pt x="191" y="449"/>
                </a:cubicBezTo>
                <a:cubicBezTo>
                  <a:pt x="159" y="456"/>
                  <a:pt x="147" y="452"/>
                  <a:pt x="145" y="432"/>
                </a:cubicBezTo>
                <a:cubicBezTo>
                  <a:pt x="144" y="424"/>
                  <a:pt x="146" y="411"/>
                  <a:pt x="150" y="403"/>
                </a:cubicBezTo>
                <a:cubicBezTo>
                  <a:pt x="153" y="395"/>
                  <a:pt x="155" y="389"/>
                  <a:pt x="153" y="389"/>
                </a:cubicBezTo>
                <a:cubicBezTo>
                  <a:pt x="149" y="389"/>
                  <a:pt x="136" y="406"/>
                  <a:pt x="136" y="411"/>
                </a:cubicBezTo>
                <a:cubicBezTo>
                  <a:pt x="136" y="414"/>
                  <a:pt x="132" y="421"/>
                  <a:pt x="126" y="426"/>
                </a:cubicBezTo>
                <a:cubicBezTo>
                  <a:pt x="118" y="434"/>
                  <a:pt x="113" y="435"/>
                  <a:pt x="104" y="433"/>
                </a:cubicBezTo>
                <a:cubicBezTo>
                  <a:pt x="78" y="425"/>
                  <a:pt x="58" y="403"/>
                  <a:pt x="68" y="391"/>
                </a:cubicBezTo>
                <a:cubicBezTo>
                  <a:pt x="72" y="386"/>
                  <a:pt x="72" y="385"/>
                  <a:pt x="65" y="385"/>
                </a:cubicBezTo>
                <a:cubicBezTo>
                  <a:pt x="60" y="385"/>
                  <a:pt x="55" y="384"/>
                  <a:pt x="53" y="384"/>
                </a:cubicBezTo>
                <a:cubicBezTo>
                  <a:pt x="47" y="383"/>
                  <a:pt x="40" y="370"/>
                  <a:pt x="40" y="357"/>
                </a:cubicBezTo>
                <a:cubicBezTo>
                  <a:pt x="40" y="346"/>
                  <a:pt x="43" y="341"/>
                  <a:pt x="56" y="329"/>
                </a:cubicBezTo>
                <a:cubicBezTo>
                  <a:pt x="73" y="313"/>
                  <a:pt x="76" y="309"/>
                  <a:pt x="66" y="309"/>
                </a:cubicBezTo>
                <a:cubicBezTo>
                  <a:pt x="63" y="309"/>
                  <a:pt x="57" y="305"/>
                  <a:pt x="52" y="301"/>
                </a:cubicBezTo>
                <a:cubicBezTo>
                  <a:pt x="48" y="296"/>
                  <a:pt x="40" y="293"/>
                  <a:pt x="35" y="293"/>
                </a:cubicBezTo>
                <a:cubicBezTo>
                  <a:pt x="0" y="293"/>
                  <a:pt x="10" y="255"/>
                  <a:pt x="48" y="240"/>
                </a:cubicBezTo>
                <a:cubicBezTo>
                  <a:pt x="56" y="237"/>
                  <a:pt x="69" y="228"/>
                  <a:pt x="77" y="220"/>
                </a:cubicBezTo>
                <a:cubicBezTo>
                  <a:pt x="89" y="207"/>
                  <a:pt x="94" y="205"/>
                  <a:pt x="108" y="205"/>
                </a:cubicBezTo>
                <a:cubicBezTo>
                  <a:pt x="124" y="205"/>
                  <a:pt x="125" y="204"/>
                  <a:pt x="123" y="195"/>
                </a:cubicBezTo>
                <a:cubicBezTo>
                  <a:pt x="121" y="187"/>
                  <a:pt x="123" y="183"/>
                  <a:pt x="132" y="175"/>
                </a:cubicBezTo>
                <a:cubicBezTo>
                  <a:pt x="139" y="170"/>
                  <a:pt x="144" y="162"/>
                  <a:pt x="144" y="157"/>
                </a:cubicBezTo>
                <a:cubicBezTo>
                  <a:pt x="144" y="147"/>
                  <a:pt x="152" y="141"/>
                  <a:pt x="162" y="142"/>
                </a:cubicBezTo>
                <a:cubicBezTo>
                  <a:pt x="167" y="143"/>
                  <a:pt x="172" y="144"/>
                  <a:pt x="175" y="144"/>
                </a:cubicBezTo>
                <a:cubicBezTo>
                  <a:pt x="177" y="144"/>
                  <a:pt x="185" y="149"/>
                  <a:pt x="193" y="154"/>
                </a:cubicBezTo>
                <a:cubicBezTo>
                  <a:pt x="209" y="165"/>
                  <a:pt x="212" y="163"/>
                  <a:pt x="212" y="143"/>
                </a:cubicBezTo>
                <a:cubicBezTo>
                  <a:pt x="212" y="138"/>
                  <a:pt x="218" y="126"/>
                  <a:pt x="226" y="115"/>
                </a:cubicBezTo>
                <a:cubicBezTo>
                  <a:pt x="234" y="104"/>
                  <a:pt x="240" y="92"/>
                  <a:pt x="240" y="88"/>
                </a:cubicBezTo>
                <a:cubicBezTo>
                  <a:pt x="240" y="84"/>
                  <a:pt x="247" y="73"/>
                  <a:pt x="256" y="64"/>
                </a:cubicBezTo>
                <a:cubicBezTo>
                  <a:pt x="269" y="51"/>
                  <a:pt x="274" y="48"/>
                  <a:pt x="282" y="50"/>
                </a:cubicBezTo>
                <a:cubicBezTo>
                  <a:pt x="291" y="51"/>
                  <a:pt x="294" y="50"/>
                  <a:pt x="297" y="40"/>
                </a:cubicBezTo>
                <a:cubicBezTo>
                  <a:pt x="301" y="28"/>
                  <a:pt x="318" y="20"/>
                  <a:pt x="333" y="23"/>
                </a:cubicBezTo>
                <a:cubicBezTo>
                  <a:pt x="363" y="28"/>
                  <a:pt x="373" y="27"/>
                  <a:pt x="391" y="18"/>
                </a:cubicBezTo>
                <a:cubicBezTo>
                  <a:pt x="411" y="7"/>
                  <a:pt x="441" y="3"/>
                  <a:pt x="454" y="9"/>
                </a:cubicBezTo>
                <a:cubicBezTo>
                  <a:pt x="459" y="12"/>
                  <a:pt x="468" y="11"/>
                  <a:pt x="485" y="6"/>
                </a:cubicBezTo>
                <a:cubicBezTo>
                  <a:pt x="502" y="1"/>
                  <a:pt x="511" y="0"/>
                  <a:pt x="517" y="3"/>
                </a:cubicBezTo>
                <a:cubicBezTo>
                  <a:pt x="522" y="5"/>
                  <a:pt x="536" y="7"/>
                  <a:pt x="548" y="6"/>
                </a:cubicBezTo>
                <a:cubicBezTo>
                  <a:pt x="578" y="4"/>
                  <a:pt x="585" y="6"/>
                  <a:pt x="591" y="20"/>
                </a:cubicBezTo>
                <a:cubicBezTo>
                  <a:pt x="597" y="32"/>
                  <a:pt x="607" y="39"/>
                  <a:pt x="626" y="42"/>
                </a:cubicBezTo>
                <a:cubicBezTo>
                  <a:pt x="641" y="45"/>
                  <a:pt x="648" y="52"/>
                  <a:pt x="652" y="71"/>
                </a:cubicBezTo>
                <a:cubicBezTo>
                  <a:pt x="658" y="95"/>
                  <a:pt x="657" y="116"/>
                  <a:pt x="648" y="147"/>
                </a:cubicBezTo>
                <a:cubicBezTo>
                  <a:pt x="642" y="168"/>
                  <a:pt x="638" y="177"/>
                  <a:pt x="628" y="186"/>
                </a:cubicBezTo>
                <a:cubicBezTo>
                  <a:pt x="620" y="192"/>
                  <a:pt x="612" y="197"/>
                  <a:pt x="610" y="197"/>
                </a:cubicBezTo>
                <a:cubicBezTo>
                  <a:pt x="602" y="197"/>
                  <a:pt x="582" y="222"/>
                  <a:pt x="570" y="245"/>
                </a:cubicBezTo>
                <a:cubicBezTo>
                  <a:pt x="565" y="256"/>
                  <a:pt x="560" y="266"/>
                  <a:pt x="560" y="267"/>
                </a:cubicBezTo>
                <a:cubicBezTo>
                  <a:pt x="560" y="272"/>
                  <a:pt x="580" y="253"/>
                  <a:pt x="584" y="245"/>
                </a:cubicBezTo>
                <a:cubicBezTo>
                  <a:pt x="586" y="239"/>
                  <a:pt x="594" y="231"/>
                  <a:pt x="600" y="227"/>
                </a:cubicBezTo>
                <a:cubicBezTo>
                  <a:pt x="607" y="222"/>
                  <a:pt x="612" y="217"/>
                  <a:pt x="612" y="216"/>
                </a:cubicBezTo>
                <a:cubicBezTo>
                  <a:pt x="612" y="211"/>
                  <a:pt x="631" y="212"/>
                  <a:pt x="634" y="217"/>
                </a:cubicBezTo>
                <a:cubicBezTo>
                  <a:pt x="636" y="219"/>
                  <a:pt x="637" y="231"/>
                  <a:pt x="637" y="243"/>
                </a:cubicBezTo>
                <a:cubicBezTo>
                  <a:pt x="637" y="260"/>
                  <a:pt x="634" y="269"/>
                  <a:pt x="627" y="280"/>
                </a:cubicBezTo>
                <a:cubicBezTo>
                  <a:pt x="612" y="303"/>
                  <a:pt x="599" y="329"/>
                  <a:pt x="601" y="334"/>
                </a:cubicBezTo>
                <a:cubicBezTo>
                  <a:pt x="602" y="336"/>
                  <a:pt x="594" y="357"/>
                  <a:pt x="584" y="380"/>
                </a:cubicBezTo>
                <a:cubicBezTo>
                  <a:pt x="574" y="404"/>
                  <a:pt x="563" y="427"/>
                  <a:pt x="561" y="433"/>
                </a:cubicBezTo>
                <a:cubicBezTo>
                  <a:pt x="556" y="445"/>
                  <a:pt x="547" y="489"/>
                  <a:pt x="546" y="511"/>
                </a:cubicBezTo>
                <a:cubicBezTo>
                  <a:pt x="544" y="532"/>
                  <a:pt x="525" y="550"/>
                  <a:pt x="507" y="548"/>
                </a:cubicBezTo>
                <a:cubicBezTo>
                  <a:pt x="496" y="547"/>
                  <a:pt x="494" y="548"/>
                  <a:pt x="492" y="560"/>
                </a:cubicBezTo>
                <a:cubicBezTo>
                  <a:pt x="490" y="567"/>
                  <a:pt x="485" y="577"/>
                  <a:pt x="480" y="583"/>
                </a:cubicBezTo>
                <a:cubicBezTo>
                  <a:pt x="472" y="592"/>
                  <a:pt x="439" y="606"/>
                  <a:pt x="435" y="602"/>
                </a:cubicBezTo>
                <a:cubicBezTo>
                  <a:pt x="434" y="601"/>
                  <a:pt x="430" y="604"/>
                  <a:pt x="426" y="609"/>
                </a:cubicBezTo>
                <a:cubicBezTo>
                  <a:pt x="418" y="617"/>
                  <a:pt x="418" y="618"/>
                  <a:pt x="427" y="624"/>
                </a:cubicBezTo>
                <a:cubicBezTo>
                  <a:pt x="438" y="631"/>
                  <a:pt x="439" y="647"/>
                  <a:pt x="430" y="657"/>
                </a:cubicBezTo>
                <a:cubicBezTo>
                  <a:pt x="424" y="663"/>
                  <a:pt x="424" y="665"/>
                  <a:pt x="429" y="665"/>
                </a:cubicBezTo>
                <a:cubicBezTo>
                  <a:pt x="432" y="665"/>
                  <a:pt x="436" y="666"/>
                  <a:pt x="438" y="666"/>
                </a:cubicBezTo>
                <a:cubicBezTo>
                  <a:pt x="440" y="667"/>
                  <a:pt x="445" y="668"/>
                  <a:pt x="450" y="668"/>
                </a:cubicBezTo>
                <a:cubicBezTo>
                  <a:pt x="454" y="668"/>
                  <a:pt x="462" y="674"/>
                  <a:pt x="469" y="681"/>
                </a:cubicBezTo>
                <a:cubicBezTo>
                  <a:pt x="483" y="697"/>
                  <a:pt x="485" y="725"/>
                  <a:pt x="472" y="733"/>
                </a:cubicBezTo>
                <a:cubicBezTo>
                  <a:pt x="462" y="740"/>
                  <a:pt x="462" y="744"/>
                  <a:pt x="474" y="753"/>
                </a:cubicBezTo>
                <a:cubicBezTo>
                  <a:pt x="480" y="758"/>
                  <a:pt x="484" y="765"/>
                  <a:pt x="484" y="769"/>
                </a:cubicBezTo>
                <a:cubicBezTo>
                  <a:pt x="484" y="774"/>
                  <a:pt x="480" y="777"/>
                  <a:pt x="474" y="779"/>
                </a:cubicBezTo>
                <a:cubicBezTo>
                  <a:pt x="466" y="781"/>
                  <a:pt x="464" y="784"/>
                  <a:pt x="464" y="794"/>
                </a:cubicBezTo>
                <a:cubicBezTo>
                  <a:pt x="464" y="812"/>
                  <a:pt x="446" y="832"/>
                  <a:pt x="428" y="833"/>
                </a:cubicBezTo>
                <a:cubicBezTo>
                  <a:pt x="414" y="835"/>
                  <a:pt x="414" y="835"/>
                  <a:pt x="414" y="835"/>
                </a:cubicBezTo>
                <a:cubicBezTo>
                  <a:pt x="415" y="865"/>
                  <a:pt x="415" y="865"/>
                  <a:pt x="415" y="865"/>
                </a:cubicBezTo>
                <a:cubicBezTo>
                  <a:pt x="417" y="892"/>
                  <a:pt x="416" y="896"/>
                  <a:pt x="407" y="905"/>
                </a:cubicBezTo>
                <a:cubicBezTo>
                  <a:pt x="383" y="931"/>
                  <a:pt x="383" y="931"/>
                  <a:pt x="390" y="942"/>
                </a:cubicBezTo>
                <a:cubicBezTo>
                  <a:pt x="394" y="948"/>
                  <a:pt x="403" y="956"/>
                  <a:pt x="410" y="959"/>
                </a:cubicBezTo>
                <a:cubicBezTo>
                  <a:pt x="417" y="963"/>
                  <a:pt x="424" y="969"/>
                  <a:pt x="427" y="972"/>
                </a:cubicBezTo>
                <a:cubicBezTo>
                  <a:pt x="433" y="980"/>
                  <a:pt x="430" y="1001"/>
                  <a:pt x="421" y="1021"/>
                </a:cubicBezTo>
                <a:cubicBezTo>
                  <a:pt x="403" y="1061"/>
                  <a:pt x="346" y="1097"/>
                  <a:pt x="338" y="1073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Freeform 49"/>
          <p:cNvSpPr/>
          <p:nvPr userDrawn="1">
            <p:custDataLst>
              <p:tags r:id="rId96"/>
            </p:custDataLst>
          </p:nvPr>
        </p:nvSpPr>
        <p:spPr bwMode="grayWhite">
          <a:xfrm>
            <a:off x="3285494" y="-3492612"/>
            <a:ext cx="68263" cy="107950"/>
          </a:xfrm>
          <a:custGeom>
            <a:gdLst>
              <a:gd name="T0" fmla="*/ 13 w 47"/>
              <a:gd name="T1" fmla="*/ 66 h 75"/>
              <a:gd name="T2" fmla="*/ 8 w 47"/>
              <a:gd name="T3" fmla="*/ 16 h 75"/>
              <a:gd name="T4" fmla="*/ 31 w 47"/>
              <a:gd name="T5" fmla="*/ 15 h 75"/>
              <a:gd name="T6" fmla="*/ 31 w 47"/>
              <a:gd name="T7" fmla="*/ 72 h 75"/>
              <a:gd name="T8" fmla="*/ 13 w 47"/>
              <a:gd name="T9" fmla="*/ 66 h 75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" h="75">
                <a:moveTo>
                  <a:pt x="13" y="66"/>
                </a:moveTo>
                <a:cubicBezTo>
                  <a:pt x="2" y="55"/>
                  <a:pt x="0" y="37"/>
                  <a:pt x="8" y="16"/>
                </a:cubicBezTo>
                <a:cubicBezTo>
                  <a:pt x="13" y="1"/>
                  <a:pt x="20" y="0"/>
                  <a:pt x="31" y="15"/>
                </a:cubicBezTo>
                <a:cubicBezTo>
                  <a:pt x="46" y="37"/>
                  <a:pt x="47" y="63"/>
                  <a:pt x="31" y="72"/>
                </a:cubicBezTo>
                <a:cubicBezTo>
                  <a:pt x="25" y="75"/>
                  <a:pt x="21" y="74"/>
                  <a:pt x="13" y="66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Freeform 50"/>
          <p:cNvSpPr/>
          <p:nvPr userDrawn="1">
            <p:custDataLst>
              <p:tags r:id="rId97"/>
            </p:custDataLst>
          </p:nvPr>
        </p:nvSpPr>
        <p:spPr bwMode="grayWhite">
          <a:xfrm>
            <a:off x="3682369" y="-3500549"/>
            <a:ext cx="149225" cy="107950"/>
          </a:xfrm>
          <a:custGeom>
            <a:gdLst>
              <a:gd name="T0" fmla="*/ 32 w 104"/>
              <a:gd name="T1" fmla="*/ 65 h 75"/>
              <a:gd name="T2" fmla="*/ 22 w 104"/>
              <a:gd name="T3" fmla="*/ 17 h 75"/>
              <a:gd name="T4" fmla="*/ 81 w 104"/>
              <a:gd name="T5" fmla="*/ 13 h 75"/>
              <a:gd name="T6" fmla="*/ 82 w 104"/>
              <a:gd name="T7" fmla="*/ 62 h 75"/>
              <a:gd name="T8" fmla="*/ 32 w 104"/>
              <a:gd name="T9" fmla="*/ 65 h 75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4" h="75">
                <a:moveTo>
                  <a:pt x="32" y="65"/>
                </a:moveTo>
                <a:cubicBezTo>
                  <a:pt x="3" y="51"/>
                  <a:pt x="0" y="36"/>
                  <a:pt x="22" y="17"/>
                </a:cubicBezTo>
                <a:cubicBezTo>
                  <a:pt x="39" y="2"/>
                  <a:pt x="61" y="0"/>
                  <a:pt x="81" y="13"/>
                </a:cubicBezTo>
                <a:cubicBezTo>
                  <a:pt x="104" y="27"/>
                  <a:pt x="104" y="44"/>
                  <a:pt x="82" y="62"/>
                </a:cubicBezTo>
                <a:cubicBezTo>
                  <a:pt x="69" y="74"/>
                  <a:pt x="50" y="75"/>
                  <a:pt x="32" y="65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Freeform 51"/>
          <p:cNvSpPr/>
          <p:nvPr userDrawn="1">
            <p:custDataLst>
              <p:tags r:id="rId98"/>
            </p:custDataLst>
          </p:nvPr>
        </p:nvSpPr>
        <p:spPr bwMode="grayWhite">
          <a:xfrm>
            <a:off x="3617281" y="-3697399"/>
            <a:ext cx="144463" cy="207963"/>
          </a:xfrm>
          <a:custGeom>
            <a:gdLst>
              <a:gd name="T0" fmla="*/ 43 w 101"/>
              <a:gd name="T1" fmla="*/ 136 h 144"/>
              <a:gd name="T2" fmla="*/ 27 w 101"/>
              <a:gd name="T3" fmla="*/ 107 h 144"/>
              <a:gd name="T4" fmla="*/ 17 w 101"/>
              <a:gd name="T5" fmla="*/ 86 h 144"/>
              <a:gd name="T6" fmla="*/ 2 w 101"/>
              <a:gd name="T7" fmla="*/ 34 h 144"/>
              <a:gd name="T8" fmla="*/ 31 w 101"/>
              <a:gd name="T9" fmla="*/ 4 h 144"/>
              <a:gd name="T10" fmla="*/ 63 w 101"/>
              <a:gd name="T11" fmla="*/ 22 h 144"/>
              <a:gd name="T12" fmla="*/ 89 w 101"/>
              <a:gd name="T13" fmla="*/ 38 h 144"/>
              <a:gd name="T14" fmla="*/ 101 w 101"/>
              <a:gd name="T15" fmla="*/ 86 h 144"/>
              <a:gd name="T16" fmla="*/ 101 w 101"/>
              <a:gd name="T17" fmla="*/ 113 h 144"/>
              <a:gd name="T18" fmla="*/ 83 w 101"/>
              <a:gd name="T19" fmla="*/ 127 h 144"/>
              <a:gd name="T20" fmla="*/ 43 w 101"/>
              <a:gd name="T21" fmla="*/ 136 h 14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0" h="144">
                <a:moveTo>
                  <a:pt x="43" y="136"/>
                </a:moveTo>
                <a:cubicBezTo>
                  <a:pt x="29" y="130"/>
                  <a:pt x="23" y="118"/>
                  <a:pt x="27" y="107"/>
                </a:cubicBezTo>
                <a:cubicBezTo>
                  <a:pt x="28" y="102"/>
                  <a:pt x="25" y="94"/>
                  <a:pt x="17" y="86"/>
                </a:cubicBezTo>
                <a:cubicBezTo>
                  <a:pt x="2" y="69"/>
                  <a:pt x="0" y="59"/>
                  <a:pt x="2" y="34"/>
                </a:cubicBezTo>
                <a:cubicBezTo>
                  <a:pt x="5" y="13"/>
                  <a:pt x="17" y="0"/>
                  <a:pt x="31" y="4"/>
                </a:cubicBezTo>
                <a:cubicBezTo>
                  <a:pt x="35" y="5"/>
                  <a:pt x="50" y="13"/>
                  <a:pt x="63" y="22"/>
                </a:cubicBezTo>
                <a:cubicBezTo>
                  <a:pt x="76" y="31"/>
                  <a:pt x="88" y="38"/>
                  <a:pt x="89" y="38"/>
                </a:cubicBezTo>
                <a:cubicBezTo>
                  <a:pt x="96" y="38"/>
                  <a:pt x="101" y="60"/>
                  <a:pt x="101" y="86"/>
                </a:cubicBezTo>
                <a:cubicBezTo>
                  <a:pt x="101" y="113"/>
                  <a:pt x="101" y="113"/>
                  <a:pt x="101" y="113"/>
                </a:cubicBezTo>
                <a:cubicBezTo>
                  <a:pt x="83" y="127"/>
                  <a:pt x="83" y="127"/>
                  <a:pt x="83" y="127"/>
                </a:cubicBezTo>
                <a:cubicBezTo>
                  <a:pt x="62" y="143"/>
                  <a:pt x="60" y="144"/>
                  <a:pt x="43" y="136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Freeform 52"/>
          <p:cNvSpPr/>
          <p:nvPr userDrawn="1">
            <p:custDataLst>
              <p:tags r:id="rId99"/>
            </p:custDataLst>
          </p:nvPr>
        </p:nvSpPr>
        <p:spPr bwMode="grayWhite">
          <a:xfrm>
            <a:off x="3347406" y="-3843449"/>
            <a:ext cx="258763" cy="342900"/>
          </a:xfrm>
          <a:custGeom>
            <a:gdLst>
              <a:gd name="T0" fmla="*/ 143 w 180"/>
              <a:gd name="T1" fmla="*/ 230 h 239"/>
              <a:gd name="T2" fmla="*/ 120 w 180"/>
              <a:gd name="T3" fmla="*/ 205 h 239"/>
              <a:gd name="T4" fmla="*/ 58 w 180"/>
              <a:gd name="T5" fmla="*/ 171 h 239"/>
              <a:gd name="T6" fmla="*/ 24 w 180"/>
              <a:gd name="T7" fmla="*/ 160 h 239"/>
              <a:gd name="T8" fmla="*/ 16 w 180"/>
              <a:gd name="T9" fmla="*/ 119 h 239"/>
              <a:gd name="T10" fmla="*/ 26 w 180"/>
              <a:gd name="T11" fmla="*/ 112 h 239"/>
              <a:gd name="T12" fmla="*/ 40 w 180"/>
              <a:gd name="T13" fmla="*/ 104 h 239"/>
              <a:gd name="T14" fmla="*/ 43 w 180"/>
              <a:gd name="T15" fmla="*/ 81 h 239"/>
              <a:gd name="T16" fmla="*/ 26 w 180"/>
              <a:gd name="T17" fmla="*/ 54 h 239"/>
              <a:gd name="T18" fmla="*/ 44 w 180"/>
              <a:gd name="T19" fmla="*/ 0 h 239"/>
              <a:gd name="T20" fmla="*/ 84 w 180"/>
              <a:gd name="T21" fmla="*/ 28 h 239"/>
              <a:gd name="T22" fmla="*/ 99 w 180"/>
              <a:gd name="T23" fmla="*/ 42 h 239"/>
              <a:gd name="T24" fmla="*/ 136 w 180"/>
              <a:gd name="T25" fmla="*/ 78 h 239"/>
              <a:gd name="T26" fmla="*/ 152 w 180"/>
              <a:gd name="T27" fmla="*/ 103 h 239"/>
              <a:gd name="T28" fmla="*/ 162 w 180"/>
              <a:gd name="T29" fmla="*/ 142 h 239"/>
              <a:gd name="T30" fmla="*/ 168 w 180"/>
              <a:gd name="T31" fmla="*/ 185 h 239"/>
              <a:gd name="T32" fmla="*/ 180 w 180"/>
              <a:gd name="T33" fmla="*/ 205 h 239"/>
              <a:gd name="T34" fmla="*/ 162 w 180"/>
              <a:gd name="T35" fmla="*/ 235 h 239"/>
              <a:gd name="T36" fmla="*/ 143 w 180"/>
              <a:gd name="T37" fmla="*/ 230 h 23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80" h="239">
                <a:moveTo>
                  <a:pt x="143" y="230"/>
                </a:moveTo>
                <a:cubicBezTo>
                  <a:pt x="138" y="225"/>
                  <a:pt x="128" y="214"/>
                  <a:pt x="120" y="205"/>
                </a:cubicBezTo>
                <a:cubicBezTo>
                  <a:pt x="95" y="177"/>
                  <a:pt x="83" y="170"/>
                  <a:pt x="58" y="171"/>
                </a:cubicBezTo>
                <a:cubicBezTo>
                  <a:pt x="38" y="172"/>
                  <a:pt x="35" y="171"/>
                  <a:pt x="24" y="160"/>
                </a:cubicBezTo>
                <a:cubicBezTo>
                  <a:pt x="12" y="148"/>
                  <a:pt x="9" y="133"/>
                  <a:pt x="16" y="119"/>
                </a:cubicBezTo>
                <a:cubicBezTo>
                  <a:pt x="19" y="115"/>
                  <a:pt x="23" y="112"/>
                  <a:pt x="26" y="112"/>
                </a:cubicBezTo>
                <a:cubicBezTo>
                  <a:pt x="29" y="112"/>
                  <a:pt x="36" y="108"/>
                  <a:pt x="40" y="104"/>
                </a:cubicBezTo>
                <a:cubicBezTo>
                  <a:pt x="47" y="97"/>
                  <a:pt x="47" y="94"/>
                  <a:pt x="43" y="81"/>
                </a:cubicBezTo>
                <a:cubicBezTo>
                  <a:pt x="41" y="72"/>
                  <a:pt x="34" y="61"/>
                  <a:pt x="26" y="54"/>
                </a:cubicBezTo>
                <a:cubicBezTo>
                  <a:pt x="0" y="33"/>
                  <a:pt x="11" y="0"/>
                  <a:pt x="44" y="0"/>
                </a:cubicBezTo>
                <a:cubicBezTo>
                  <a:pt x="62" y="0"/>
                  <a:pt x="84" y="15"/>
                  <a:pt x="84" y="28"/>
                </a:cubicBezTo>
                <a:cubicBezTo>
                  <a:pt x="84" y="35"/>
                  <a:pt x="90" y="41"/>
                  <a:pt x="99" y="42"/>
                </a:cubicBezTo>
                <a:cubicBezTo>
                  <a:pt x="109" y="44"/>
                  <a:pt x="128" y="62"/>
                  <a:pt x="136" y="78"/>
                </a:cubicBezTo>
                <a:cubicBezTo>
                  <a:pt x="141" y="88"/>
                  <a:pt x="148" y="99"/>
                  <a:pt x="152" y="103"/>
                </a:cubicBezTo>
                <a:cubicBezTo>
                  <a:pt x="166" y="117"/>
                  <a:pt x="168" y="125"/>
                  <a:pt x="162" y="142"/>
                </a:cubicBezTo>
                <a:cubicBezTo>
                  <a:pt x="154" y="164"/>
                  <a:pt x="155" y="170"/>
                  <a:pt x="168" y="185"/>
                </a:cubicBezTo>
                <a:cubicBezTo>
                  <a:pt x="175" y="192"/>
                  <a:pt x="180" y="201"/>
                  <a:pt x="180" y="205"/>
                </a:cubicBezTo>
                <a:cubicBezTo>
                  <a:pt x="180" y="216"/>
                  <a:pt x="171" y="231"/>
                  <a:pt x="162" y="235"/>
                </a:cubicBezTo>
                <a:cubicBezTo>
                  <a:pt x="153" y="239"/>
                  <a:pt x="150" y="238"/>
                  <a:pt x="143" y="230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Freeform 53"/>
          <p:cNvSpPr/>
          <p:nvPr userDrawn="1">
            <p:custDataLst>
              <p:tags r:id="rId100"/>
            </p:custDataLst>
          </p:nvPr>
        </p:nvSpPr>
        <p:spPr bwMode="grayWhite">
          <a:xfrm>
            <a:off x="3718881" y="-4246674"/>
            <a:ext cx="433388" cy="696913"/>
          </a:xfrm>
          <a:custGeom>
            <a:gdLst>
              <a:gd name="T0" fmla="*/ 114 w 302"/>
              <a:gd name="T1" fmla="*/ 468 h 485"/>
              <a:gd name="T2" fmla="*/ 96 w 302"/>
              <a:gd name="T3" fmla="*/ 444 h 485"/>
              <a:gd name="T4" fmla="*/ 83 w 302"/>
              <a:gd name="T5" fmla="*/ 425 h 485"/>
              <a:gd name="T6" fmla="*/ 54 w 302"/>
              <a:gd name="T7" fmla="*/ 365 h 485"/>
              <a:gd name="T8" fmla="*/ 85 w 302"/>
              <a:gd name="T9" fmla="*/ 333 h 485"/>
              <a:gd name="T10" fmla="*/ 110 w 302"/>
              <a:gd name="T11" fmla="*/ 313 h 485"/>
              <a:gd name="T12" fmla="*/ 84 w 302"/>
              <a:gd name="T13" fmla="*/ 299 h 485"/>
              <a:gd name="T14" fmla="*/ 61 w 302"/>
              <a:gd name="T15" fmla="*/ 302 h 485"/>
              <a:gd name="T16" fmla="*/ 19 w 302"/>
              <a:gd name="T17" fmla="*/ 291 h 485"/>
              <a:gd name="T18" fmla="*/ 21 w 302"/>
              <a:gd name="T19" fmla="*/ 271 h 485"/>
              <a:gd name="T20" fmla="*/ 22 w 302"/>
              <a:gd name="T21" fmla="*/ 261 h 485"/>
              <a:gd name="T22" fmla="*/ 10 w 302"/>
              <a:gd name="T23" fmla="*/ 253 h 485"/>
              <a:gd name="T24" fmla="*/ 7 w 302"/>
              <a:gd name="T25" fmla="*/ 205 h 485"/>
              <a:gd name="T26" fmla="*/ 27 w 302"/>
              <a:gd name="T27" fmla="*/ 193 h 485"/>
              <a:gd name="T28" fmla="*/ 40 w 302"/>
              <a:gd name="T29" fmla="*/ 184 h 485"/>
              <a:gd name="T30" fmla="*/ 25 w 302"/>
              <a:gd name="T31" fmla="*/ 164 h 485"/>
              <a:gd name="T32" fmla="*/ 16 w 302"/>
              <a:gd name="T33" fmla="*/ 141 h 485"/>
              <a:gd name="T34" fmla="*/ 42 w 302"/>
              <a:gd name="T35" fmla="*/ 118 h 485"/>
              <a:gd name="T36" fmla="*/ 48 w 302"/>
              <a:gd name="T37" fmla="*/ 91 h 485"/>
              <a:gd name="T38" fmla="*/ 34 w 302"/>
              <a:gd name="T39" fmla="*/ 76 h 485"/>
              <a:gd name="T40" fmla="*/ 42 w 302"/>
              <a:gd name="T41" fmla="*/ 61 h 485"/>
              <a:gd name="T42" fmla="*/ 62 w 302"/>
              <a:gd name="T43" fmla="*/ 39 h 485"/>
              <a:gd name="T44" fmla="*/ 75 w 302"/>
              <a:gd name="T45" fmla="*/ 18 h 485"/>
              <a:gd name="T46" fmla="*/ 90 w 302"/>
              <a:gd name="T47" fmla="*/ 1 h 485"/>
              <a:gd name="T48" fmla="*/ 134 w 302"/>
              <a:gd name="T49" fmla="*/ 25 h 485"/>
              <a:gd name="T50" fmla="*/ 154 w 302"/>
              <a:gd name="T51" fmla="*/ 72 h 485"/>
              <a:gd name="T52" fmla="*/ 189 w 302"/>
              <a:gd name="T53" fmla="*/ 125 h 485"/>
              <a:gd name="T54" fmla="*/ 206 w 302"/>
              <a:gd name="T55" fmla="*/ 157 h 485"/>
              <a:gd name="T56" fmla="*/ 226 w 302"/>
              <a:gd name="T57" fmla="*/ 190 h 485"/>
              <a:gd name="T58" fmla="*/ 246 w 302"/>
              <a:gd name="T59" fmla="*/ 228 h 485"/>
              <a:gd name="T60" fmla="*/ 286 w 302"/>
              <a:gd name="T61" fmla="*/ 280 h 485"/>
              <a:gd name="T62" fmla="*/ 302 w 302"/>
              <a:gd name="T63" fmla="*/ 311 h 485"/>
              <a:gd name="T64" fmla="*/ 278 w 302"/>
              <a:gd name="T65" fmla="*/ 359 h 485"/>
              <a:gd name="T66" fmla="*/ 244 w 302"/>
              <a:gd name="T67" fmla="*/ 396 h 485"/>
              <a:gd name="T68" fmla="*/ 234 w 302"/>
              <a:gd name="T69" fmla="*/ 412 h 485"/>
              <a:gd name="T70" fmla="*/ 219 w 302"/>
              <a:gd name="T71" fmla="*/ 441 h 485"/>
              <a:gd name="T72" fmla="*/ 183 w 302"/>
              <a:gd name="T73" fmla="*/ 459 h 485"/>
              <a:gd name="T74" fmla="*/ 173 w 302"/>
              <a:gd name="T75" fmla="*/ 469 h 485"/>
              <a:gd name="T76" fmla="*/ 151 w 302"/>
              <a:gd name="T77" fmla="*/ 484 h 485"/>
              <a:gd name="T78" fmla="*/ 114 w 302"/>
              <a:gd name="T79" fmla="*/ 468 h 485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02" h="485">
                <a:moveTo>
                  <a:pt x="114" y="468"/>
                </a:moveTo>
                <a:cubicBezTo>
                  <a:pt x="106" y="459"/>
                  <a:pt x="97" y="448"/>
                  <a:pt x="96" y="444"/>
                </a:cubicBezTo>
                <a:cubicBezTo>
                  <a:pt x="95" y="440"/>
                  <a:pt x="89" y="431"/>
                  <a:pt x="83" y="425"/>
                </a:cubicBezTo>
                <a:cubicBezTo>
                  <a:pt x="69" y="410"/>
                  <a:pt x="54" y="379"/>
                  <a:pt x="54" y="365"/>
                </a:cubicBezTo>
                <a:cubicBezTo>
                  <a:pt x="54" y="349"/>
                  <a:pt x="70" y="333"/>
                  <a:pt x="85" y="333"/>
                </a:cubicBezTo>
                <a:cubicBezTo>
                  <a:pt x="95" y="333"/>
                  <a:pt x="110" y="321"/>
                  <a:pt x="110" y="313"/>
                </a:cubicBezTo>
                <a:cubicBezTo>
                  <a:pt x="110" y="310"/>
                  <a:pt x="91" y="299"/>
                  <a:pt x="84" y="299"/>
                </a:cubicBezTo>
                <a:cubicBezTo>
                  <a:pt x="82" y="299"/>
                  <a:pt x="72" y="301"/>
                  <a:pt x="61" y="302"/>
                </a:cubicBezTo>
                <a:cubicBezTo>
                  <a:pt x="37" y="306"/>
                  <a:pt x="25" y="303"/>
                  <a:pt x="19" y="291"/>
                </a:cubicBezTo>
                <a:cubicBezTo>
                  <a:pt x="16" y="285"/>
                  <a:pt x="16" y="279"/>
                  <a:pt x="21" y="271"/>
                </a:cubicBezTo>
                <a:cubicBezTo>
                  <a:pt x="24" y="265"/>
                  <a:pt x="25" y="261"/>
                  <a:pt x="22" y="261"/>
                </a:cubicBezTo>
                <a:cubicBezTo>
                  <a:pt x="20" y="261"/>
                  <a:pt x="15" y="257"/>
                  <a:pt x="10" y="253"/>
                </a:cubicBezTo>
                <a:cubicBezTo>
                  <a:pt x="1" y="244"/>
                  <a:pt x="0" y="225"/>
                  <a:pt x="7" y="205"/>
                </a:cubicBezTo>
                <a:cubicBezTo>
                  <a:pt x="10" y="194"/>
                  <a:pt x="13" y="193"/>
                  <a:pt x="27" y="193"/>
                </a:cubicBezTo>
                <a:cubicBezTo>
                  <a:pt x="41" y="193"/>
                  <a:pt x="42" y="192"/>
                  <a:pt x="40" y="184"/>
                </a:cubicBezTo>
                <a:cubicBezTo>
                  <a:pt x="38" y="179"/>
                  <a:pt x="32" y="170"/>
                  <a:pt x="25" y="164"/>
                </a:cubicBezTo>
                <a:cubicBezTo>
                  <a:pt x="15" y="155"/>
                  <a:pt x="14" y="152"/>
                  <a:pt x="16" y="141"/>
                </a:cubicBezTo>
                <a:cubicBezTo>
                  <a:pt x="19" y="127"/>
                  <a:pt x="27" y="119"/>
                  <a:pt x="42" y="118"/>
                </a:cubicBezTo>
                <a:cubicBezTo>
                  <a:pt x="67" y="115"/>
                  <a:pt x="67" y="112"/>
                  <a:pt x="48" y="91"/>
                </a:cubicBezTo>
                <a:cubicBezTo>
                  <a:pt x="34" y="76"/>
                  <a:pt x="34" y="76"/>
                  <a:pt x="34" y="76"/>
                </a:cubicBezTo>
                <a:cubicBezTo>
                  <a:pt x="42" y="61"/>
                  <a:pt x="42" y="61"/>
                  <a:pt x="42" y="61"/>
                </a:cubicBezTo>
                <a:cubicBezTo>
                  <a:pt x="47" y="52"/>
                  <a:pt x="55" y="42"/>
                  <a:pt x="62" y="39"/>
                </a:cubicBezTo>
                <a:cubicBezTo>
                  <a:pt x="71" y="34"/>
                  <a:pt x="74" y="30"/>
                  <a:pt x="75" y="18"/>
                </a:cubicBezTo>
                <a:cubicBezTo>
                  <a:pt x="76" y="4"/>
                  <a:pt x="77" y="2"/>
                  <a:pt x="90" y="1"/>
                </a:cubicBezTo>
                <a:cubicBezTo>
                  <a:pt x="105" y="0"/>
                  <a:pt x="128" y="12"/>
                  <a:pt x="134" y="25"/>
                </a:cubicBezTo>
                <a:cubicBezTo>
                  <a:pt x="143" y="42"/>
                  <a:pt x="154" y="68"/>
                  <a:pt x="154" y="72"/>
                </a:cubicBezTo>
                <a:cubicBezTo>
                  <a:pt x="154" y="80"/>
                  <a:pt x="171" y="106"/>
                  <a:pt x="189" y="125"/>
                </a:cubicBezTo>
                <a:cubicBezTo>
                  <a:pt x="201" y="139"/>
                  <a:pt x="206" y="147"/>
                  <a:pt x="206" y="157"/>
                </a:cubicBezTo>
                <a:cubicBezTo>
                  <a:pt x="206" y="166"/>
                  <a:pt x="211" y="174"/>
                  <a:pt x="226" y="190"/>
                </a:cubicBezTo>
                <a:cubicBezTo>
                  <a:pt x="244" y="209"/>
                  <a:pt x="246" y="213"/>
                  <a:pt x="246" y="228"/>
                </a:cubicBezTo>
                <a:cubicBezTo>
                  <a:pt x="246" y="246"/>
                  <a:pt x="248" y="248"/>
                  <a:pt x="286" y="280"/>
                </a:cubicBezTo>
                <a:cubicBezTo>
                  <a:pt x="300" y="292"/>
                  <a:pt x="302" y="295"/>
                  <a:pt x="302" y="311"/>
                </a:cubicBezTo>
                <a:cubicBezTo>
                  <a:pt x="302" y="325"/>
                  <a:pt x="299" y="332"/>
                  <a:pt x="278" y="359"/>
                </a:cubicBezTo>
                <a:cubicBezTo>
                  <a:pt x="265" y="377"/>
                  <a:pt x="250" y="394"/>
                  <a:pt x="244" y="396"/>
                </a:cubicBezTo>
                <a:cubicBezTo>
                  <a:pt x="238" y="400"/>
                  <a:pt x="234" y="405"/>
                  <a:pt x="234" y="412"/>
                </a:cubicBezTo>
                <a:cubicBezTo>
                  <a:pt x="234" y="417"/>
                  <a:pt x="227" y="430"/>
                  <a:pt x="219" y="441"/>
                </a:cubicBezTo>
                <a:cubicBezTo>
                  <a:pt x="203" y="463"/>
                  <a:pt x="200" y="464"/>
                  <a:pt x="183" y="459"/>
                </a:cubicBezTo>
                <a:cubicBezTo>
                  <a:pt x="176" y="457"/>
                  <a:pt x="175" y="458"/>
                  <a:pt x="173" y="469"/>
                </a:cubicBezTo>
                <a:cubicBezTo>
                  <a:pt x="172" y="482"/>
                  <a:pt x="172" y="483"/>
                  <a:pt x="151" y="484"/>
                </a:cubicBezTo>
                <a:cubicBezTo>
                  <a:pt x="132" y="485"/>
                  <a:pt x="130" y="484"/>
                  <a:pt x="114" y="468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Freeform 54"/>
          <p:cNvSpPr/>
          <p:nvPr userDrawn="1">
            <p:custDataLst>
              <p:tags r:id="rId101"/>
            </p:custDataLst>
          </p:nvPr>
        </p:nvSpPr>
        <p:spPr bwMode="grayWhite">
          <a:xfrm>
            <a:off x="3168019" y="-3722799"/>
            <a:ext cx="26988" cy="69850"/>
          </a:xfrm>
          <a:custGeom>
            <a:gdLst>
              <a:gd name="T0" fmla="*/ 2 w 19"/>
              <a:gd name="T1" fmla="*/ 40 h 49"/>
              <a:gd name="T2" fmla="*/ 7 w 19"/>
              <a:gd name="T3" fmla="*/ 15 h 49"/>
              <a:gd name="T4" fmla="*/ 14 w 19"/>
              <a:gd name="T5" fmla="*/ 0 h 49"/>
              <a:gd name="T6" fmla="*/ 6 w 19"/>
              <a:gd name="T7" fmla="*/ 44 h 49"/>
              <a:gd name="T8" fmla="*/ 2 w 19"/>
              <a:gd name="T9" fmla="*/ 40 h 4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" h="49">
                <a:moveTo>
                  <a:pt x="2" y="40"/>
                </a:moveTo>
                <a:cubicBezTo>
                  <a:pt x="4" y="34"/>
                  <a:pt x="6" y="23"/>
                  <a:pt x="7" y="15"/>
                </a:cubicBezTo>
                <a:cubicBezTo>
                  <a:pt x="9" y="6"/>
                  <a:pt x="12" y="0"/>
                  <a:pt x="14" y="0"/>
                </a:cubicBezTo>
                <a:cubicBezTo>
                  <a:pt x="19" y="0"/>
                  <a:pt x="13" y="37"/>
                  <a:pt x="6" y="44"/>
                </a:cubicBezTo>
                <a:cubicBezTo>
                  <a:pt x="1" y="49"/>
                  <a:pt x="0" y="48"/>
                  <a:pt x="2" y="40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Freeform 55"/>
          <p:cNvSpPr/>
          <p:nvPr userDrawn="1">
            <p:custDataLst>
              <p:tags r:id="rId102"/>
            </p:custDataLst>
          </p:nvPr>
        </p:nvSpPr>
        <p:spPr bwMode="grayWhite">
          <a:xfrm>
            <a:off x="3572831" y="-3992674"/>
            <a:ext cx="84138" cy="87313"/>
          </a:xfrm>
          <a:custGeom>
            <a:gdLst>
              <a:gd name="T0" fmla="*/ 23 w 58"/>
              <a:gd name="T1" fmla="*/ 54 h 61"/>
              <a:gd name="T2" fmla="*/ 2 w 58"/>
              <a:gd name="T3" fmla="*/ 19 h 61"/>
              <a:gd name="T4" fmla="*/ 23 w 58"/>
              <a:gd name="T5" fmla="*/ 0 h 61"/>
              <a:gd name="T6" fmla="*/ 44 w 58"/>
              <a:gd name="T7" fmla="*/ 16 h 61"/>
              <a:gd name="T8" fmla="*/ 47 w 58"/>
              <a:gd name="T9" fmla="*/ 52 h 61"/>
              <a:gd name="T10" fmla="*/ 23 w 58"/>
              <a:gd name="T11" fmla="*/ 54 h 61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7" h="61">
                <a:moveTo>
                  <a:pt x="23" y="54"/>
                </a:moveTo>
                <a:cubicBezTo>
                  <a:pt x="9" y="44"/>
                  <a:pt x="0" y="27"/>
                  <a:pt x="2" y="19"/>
                </a:cubicBezTo>
                <a:cubicBezTo>
                  <a:pt x="5" y="5"/>
                  <a:pt x="11" y="0"/>
                  <a:pt x="23" y="0"/>
                </a:cubicBezTo>
                <a:cubicBezTo>
                  <a:pt x="31" y="0"/>
                  <a:pt x="36" y="3"/>
                  <a:pt x="44" y="16"/>
                </a:cubicBezTo>
                <a:cubicBezTo>
                  <a:pt x="57" y="35"/>
                  <a:pt x="58" y="41"/>
                  <a:pt x="47" y="52"/>
                </a:cubicBezTo>
                <a:cubicBezTo>
                  <a:pt x="38" y="61"/>
                  <a:pt x="32" y="61"/>
                  <a:pt x="23" y="54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Freeform 56"/>
          <p:cNvSpPr/>
          <p:nvPr userDrawn="1">
            <p:custDataLst>
              <p:tags r:id="rId103"/>
            </p:custDataLst>
          </p:nvPr>
        </p:nvSpPr>
        <p:spPr bwMode="grayWhite">
          <a:xfrm>
            <a:off x="6560508" y="1287353"/>
            <a:ext cx="247650" cy="107950"/>
          </a:xfrm>
          <a:custGeom>
            <a:gdLst>
              <a:gd name="T0" fmla="*/ 149 w 173"/>
              <a:gd name="T1" fmla="*/ 69 h 75"/>
              <a:gd name="T2" fmla="*/ 113 w 173"/>
              <a:gd name="T3" fmla="*/ 65 h 75"/>
              <a:gd name="T4" fmla="*/ 58 w 173"/>
              <a:gd name="T5" fmla="*/ 57 h 75"/>
              <a:gd name="T6" fmla="*/ 18 w 173"/>
              <a:gd name="T7" fmla="*/ 48 h 75"/>
              <a:gd name="T8" fmla="*/ 10 w 173"/>
              <a:gd name="T9" fmla="*/ 20 h 75"/>
              <a:gd name="T10" fmla="*/ 25 w 173"/>
              <a:gd name="T11" fmla="*/ 0 h 75"/>
              <a:gd name="T12" fmla="*/ 48 w 173"/>
              <a:gd name="T13" fmla="*/ 17 h 75"/>
              <a:gd name="T14" fmla="*/ 71 w 173"/>
              <a:gd name="T15" fmla="*/ 29 h 75"/>
              <a:gd name="T16" fmla="*/ 95 w 173"/>
              <a:gd name="T17" fmla="*/ 24 h 75"/>
              <a:gd name="T18" fmla="*/ 121 w 173"/>
              <a:gd name="T19" fmla="*/ 20 h 75"/>
              <a:gd name="T20" fmla="*/ 172 w 173"/>
              <a:gd name="T21" fmla="*/ 7 h 75"/>
              <a:gd name="T22" fmla="*/ 168 w 173"/>
              <a:gd name="T23" fmla="*/ 21 h 75"/>
              <a:gd name="T24" fmla="*/ 162 w 173"/>
              <a:gd name="T25" fmla="*/ 50 h 75"/>
              <a:gd name="T26" fmla="*/ 149 w 173"/>
              <a:gd name="T27" fmla="*/ 69 h 75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3" h="75">
                <a:moveTo>
                  <a:pt x="149" y="69"/>
                </a:moveTo>
                <a:cubicBezTo>
                  <a:pt x="148" y="68"/>
                  <a:pt x="132" y="66"/>
                  <a:pt x="113" y="65"/>
                </a:cubicBezTo>
                <a:cubicBezTo>
                  <a:pt x="95" y="65"/>
                  <a:pt x="70" y="61"/>
                  <a:pt x="58" y="57"/>
                </a:cubicBezTo>
                <a:cubicBezTo>
                  <a:pt x="31" y="50"/>
                  <a:pt x="26" y="48"/>
                  <a:pt x="18" y="48"/>
                </a:cubicBezTo>
                <a:cubicBezTo>
                  <a:pt x="2" y="47"/>
                  <a:pt x="0" y="41"/>
                  <a:pt x="10" y="20"/>
                </a:cubicBezTo>
                <a:cubicBezTo>
                  <a:pt x="15" y="9"/>
                  <a:pt x="22" y="0"/>
                  <a:pt x="25" y="0"/>
                </a:cubicBezTo>
                <a:cubicBezTo>
                  <a:pt x="28" y="0"/>
                  <a:pt x="38" y="7"/>
                  <a:pt x="48" y="17"/>
                </a:cubicBezTo>
                <a:cubicBezTo>
                  <a:pt x="63" y="31"/>
                  <a:pt x="67" y="33"/>
                  <a:pt x="71" y="29"/>
                </a:cubicBezTo>
                <a:cubicBezTo>
                  <a:pt x="73" y="26"/>
                  <a:pt x="83" y="24"/>
                  <a:pt x="95" y="24"/>
                </a:cubicBezTo>
                <a:cubicBezTo>
                  <a:pt x="106" y="24"/>
                  <a:pt x="118" y="22"/>
                  <a:pt x="121" y="20"/>
                </a:cubicBezTo>
                <a:cubicBezTo>
                  <a:pt x="134" y="13"/>
                  <a:pt x="170" y="4"/>
                  <a:pt x="172" y="7"/>
                </a:cubicBezTo>
                <a:cubicBezTo>
                  <a:pt x="173" y="9"/>
                  <a:pt x="171" y="15"/>
                  <a:pt x="168" y="21"/>
                </a:cubicBezTo>
                <a:cubicBezTo>
                  <a:pt x="165" y="27"/>
                  <a:pt x="162" y="40"/>
                  <a:pt x="162" y="50"/>
                </a:cubicBezTo>
                <a:cubicBezTo>
                  <a:pt x="161" y="65"/>
                  <a:pt x="155" y="75"/>
                  <a:pt x="149" y="69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Freeform 57"/>
          <p:cNvSpPr/>
          <p:nvPr userDrawn="1">
            <p:custDataLst>
              <p:tags r:id="rId104"/>
            </p:custDataLst>
          </p:nvPr>
        </p:nvSpPr>
        <p:spPr bwMode="grayWhite">
          <a:xfrm>
            <a:off x="4841244" y="-844661"/>
            <a:ext cx="2170113" cy="2671763"/>
          </a:xfrm>
          <a:custGeom>
            <a:gdLst>
              <a:gd name="T0" fmla="*/ 510 w 1509"/>
              <a:gd name="T1" fmla="*/ 1808 h 1860"/>
              <a:gd name="T2" fmla="*/ 369 w 1509"/>
              <a:gd name="T3" fmla="*/ 1826 h 1860"/>
              <a:gd name="T4" fmla="*/ 281 w 1509"/>
              <a:gd name="T5" fmla="*/ 1785 h 1860"/>
              <a:gd name="T6" fmla="*/ 139 w 1509"/>
              <a:gd name="T7" fmla="*/ 1660 h 1860"/>
              <a:gd name="T8" fmla="*/ 123 w 1509"/>
              <a:gd name="T9" fmla="*/ 1520 h 1860"/>
              <a:gd name="T10" fmla="*/ 91 w 1509"/>
              <a:gd name="T11" fmla="*/ 1251 h 1860"/>
              <a:gd name="T12" fmla="*/ 119 w 1509"/>
              <a:gd name="T13" fmla="*/ 1194 h 1860"/>
              <a:gd name="T14" fmla="*/ 94 w 1509"/>
              <a:gd name="T15" fmla="*/ 1074 h 1860"/>
              <a:gd name="T16" fmla="*/ 53 w 1509"/>
              <a:gd name="T17" fmla="*/ 967 h 1860"/>
              <a:gd name="T18" fmla="*/ 29 w 1509"/>
              <a:gd name="T19" fmla="*/ 918 h 1860"/>
              <a:gd name="T20" fmla="*/ 134 w 1509"/>
              <a:gd name="T21" fmla="*/ 818 h 1860"/>
              <a:gd name="T22" fmla="*/ 169 w 1509"/>
              <a:gd name="T23" fmla="*/ 626 h 1860"/>
              <a:gd name="T24" fmla="*/ 34 w 1509"/>
              <a:gd name="T25" fmla="*/ 457 h 1860"/>
              <a:gd name="T26" fmla="*/ 57 w 1509"/>
              <a:gd name="T27" fmla="*/ 395 h 1860"/>
              <a:gd name="T28" fmla="*/ 75 w 1509"/>
              <a:gd name="T29" fmla="*/ 317 h 1860"/>
              <a:gd name="T30" fmla="*/ 34 w 1509"/>
              <a:gd name="T31" fmla="*/ 184 h 1860"/>
              <a:gd name="T32" fmla="*/ 0 w 1509"/>
              <a:gd name="T33" fmla="*/ 71 h 1860"/>
              <a:gd name="T34" fmla="*/ 112 w 1509"/>
              <a:gd name="T35" fmla="*/ 29 h 1860"/>
              <a:gd name="T36" fmla="*/ 227 w 1509"/>
              <a:gd name="T37" fmla="*/ 0 h 1860"/>
              <a:gd name="T38" fmla="*/ 366 w 1509"/>
              <a:gd name="T39" fmla="*/ 104 h 1860"/>
              <a:gd name="T40" fmla="*/ 494 w 1509"/>
              <a:gd name="T41" fmla="*/ 136 h 1860"/>
              <a:gd name="T42" fmla="*/ 514 w 1509"/>
              <a:gd name="T43" fmla="*/ 269 h 1860"/>
              <a:gd name="T44" fmla="*/ 550 w 1509"/>
              <a:gd name="T45" fmla="*/ 336 h 1860"/>
              <a:gd name="T46" fmla="*/ 642 w 1509"/>
              <a:gd name="T47" fmla="*/ 370 h 1860"/>
              <a:gd name="T48" fmla="*/ 699 w 1509"/>
              <a:gd name="T49" fmla="*/ 329 h 1860"/>
              <a:gd name="T50" fmla="*/ 724 w 1509"/>
              <a:gd name="T51" fmla="*/ 214 h 1860"/>
              <a:gd name="T52" fmla="*/ 746 w 1509"/>
              <a:gd name="T53" fmla="*/ 146 h 1860"/>
              <a:gd name="T54" fmla="*/ 793 w 1509"/>
              <a:gd name="T55" fmla="*/ 262 h 1860"/>
              <a:gd name="T56" fmla="*/ 839 w 1509"/>
              <a:gd name="T57" fmla="*/ 296 h 1860"/>
              <a:gd name="T58" fmla="*/ 874 w 1509"/>
              <a:gd name="T59" fmla="*/ 382 h 1860"/>
              <a:gd name="T60" fmla="*/ 907 w 1509"/>
              <a:gd name="T61" fmla="*/ 528 h 1860"/>
              <a:gd name="T62" fmla="*/ 961 w 1509"/>
              <a:gd name="T63" fmla="*/ 621 h 1860"/>
              <a:gd name="T64" fmla="*/ 965 w 1509"/>
              <a:gd name="T65" fmla="*/ 697 h 1860"/>
              <a:gd name="T66" fmla="*/ 889 w 1509"/>
              <a:gd name="T67" fmla="*/ 701 h 1860"/>
              <a:gd name="T68" fmla="*/ 796 w 1509"/>
              <a:gd name="T69" fmla="*/ 713 h 1860"/>
              <a:gd name="T70" fmla="*/ 761 w 1509"/>
              <a:gd name="T71" fmla="*/ 773 h 1860"/>
              <a:gd name="T72" fmla="*/ 808 w 1509"/>
              <a:gd name="T73" fmla="*/ 878 h 1860"/>
              <a:gd name="T74" fmla="*/ 876 w 1509"/>
              <a:gd name="T75" fmla="*/ 946 h 1860"/>
              <a:gd name="T76" fmla="*/ 932 w 1509"/>
              <a:gd name="T77" fmla="*/ 1002 h 1860"/>
              <a:gd name="T78" fmla="*/ 1040 w 1509"/>
              <a:gd name="T79" fmla="*/ 1016 h 1860"/>
              <a:gd name="T80" fmla="*/ 1070 w 1509"/>
              <a:gd name="T81" fmla="*/ 952 h 1860"/>
              <a:gd name="T82" fmla="*/ 1441 w 1509"/>
              <a:gd name="T83" fmla="*/ 838 h 1860"/>
              <a:gd name="T84" fmla="*/ 1509 w 1509"/>
              <a:gd name="T85" fmla="*/ 865 h 1860"/>
              <a:gd name="T86" fmla="*/ 1403 w 1509"/>
              <a:gd name="T87" fmla="*/ 1006 h 1860"/>
              <a:gd name="T88" fmla="*/ 1195 w 1509"/>
              <a:gd name="T89" fmla="*/ 1133 h 1860"/>
              <a:gd name="T90" fmla="*/ 929 w 1509"/>
              <a:gd name="T91" fmla="*/ 1301 h 1860"/>
              <a:gd name="T92" fmla="*/ 819 w 1509"/>
              <a:gd name="T93" fmla="*/ 1450 h 1860"/>
              <a:gd name="T94" fmla="*/ 606 w 1509"/>
              <a:gd name="T95" fmla="*/ 1749 h 1860"/>
              <a:gd name="T96" fmla="*/ 772 w 1509"/>
              <a:gd name="T97" fmla="*/ 1582 h 1860"/>
              <a:gd name="T98" fmla="*/ 881 w 1509"/>
              <a:gd name="T99" fmla="*/ 1401 h 1860"/>
              <a:gd name="T100" fmla="*/ 1013 w 1509"/>
              <a:gd name="T101" fmla="*/ 1302 h 1860"/>
              <a:gd name="T102" fmla="*/ 1149 w 1509"/>
              <a:gd name="T103" fmla="*/ 1296 h 1860"/>
              <a:gd name="T104" fmla="*/ 989 w 1509"/>
              <a:gd name="T105" fmla="*/ 1437 h 1860"/>
              <a:gd name="T106" fmla="*/ 894 w 1509"/>
              <a:gd name="T107" fmla="*/ 1534 h 1860"/>
              <a:gd name="T108" fmla="*/ 835 w 1509"/>
              <a:gd name="T109" fmla="*/ 1545 h 1860"/>
              <a:gd name="T110" fmla="*/ 796 w 1509"/>
              <a:gd name="T111" fmla="*/ 1723 h 1860"/>
              <a:gd name="T112" fmla="*/ 724 w 1509"/>
              <a:gd name="T113" fmla="*/ 1829 h 1860"/>
              <a:gd name="T114" fmla="*/ 536 w 1509"/>
              <a:gd name="T115" fmla="*/ 1848 h 186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509" h="1860">
                <a:moveTo>
                  <a:pt x="536" y="1848"/>
                </a:moveTo>
                <a:cubicBezTo>
                  <a:pt x="533" y="1842"/>
                  <a:pt x="529" y="1831"/>
                  <a:pt x="528" y="1823"/>
                </a:cubicBezTo>
                <a:cubicBezTo>
                  <a:pt x="527" y="1810"/>
                  <a:pt x="526" y="1809"/>
                  <a:pt x="510" y="1808"/>
                </a:cubicBezTo>
                <a:cubicBezTo>
                  <a:pt x="494" y="1807"/>
                  <a:pt x="472" y="1815"/>
                  <a:pt x="449" y="1832"/>
                </a:cubicBezTo>
                <a:cubicBezTo>
                  <a:pt x="440" y="1838"/>
                  <a:pt x="431" y="1840"/>
                  <a:pt x="408" y="1840"/>
                </a:cubicBezTo>
                <a:cubicBezTo>
                  <a:pt x="378" y="1840"/>
                  <a:pt x="378" y="1839"/>
                  <a:pt x="369" y="1826"/>
                </a:cubicBezTo>
                <a:cubicBezTo>
                  <a:pt x="363" y="1818"/>
                  <a:pt x="356" y="1812"/>
                  <a:pt x="352" y="1812"/>
                </a:cubicBezTo>
                <a:cubicBezTo>
                  <a:pt x="347" y="1812"/>
                  <a:pt x="335" y="1806"/>
                  <a:pt x="324" y="1799"/>
                </a:cubicBezTo>
                <a:cubicBezTo>
                  <a:pt x="310" y="1790"/>
                  <a:pt x="297" y="1786"/>
                  <a:pt x="281" y="1785"/>
                </a:cubicBezTo>
                <a:cubicBezTo>
                  <a:pt x="248" y="1782"/>
                  <a:pt x="210" y="1769"/>
                  <a:pt x="187" y="1754"/>
                </a:cubicBezTo>
                <a:cubicBezTo>
                  <a:pt x="170" y="1742"/>
                  <a:pt x="164" y="1734"/>
                  <a:pt x="154" y="1712"/>
                </a:cubicBezTo>
                <a:cubicBezTo>
                  <a:pt x="147" y="1696"/>
                  <a:pt x="141" y="1675"/>
                  <a:pt x="139" y="1660"/>
                </a:cubicBezTo>
                <a:cubicBezTo>
                  <a:pt x="138" y="1645"/>
                  <a:pt x="136" y="1628"/>
                  <a:pt x="135" y="1622"/>
                </a:cubicBezTo>
                <a:cubicBezTo>
                  <a:pt x="134" y="1615"/>
                  <a:pt x="132" y="1592"/>
                  <a:pt x="129" y="1572"/>
                </a:cubicBezTo>
                <a:cubicBezTo>
                  <a:pt x="127" y="1551"/>
                  <a:pt x="124" y="1527"/>
                  <a:pt x="123" y="1520"/>
                </a:cubicBezTo>
                <a:cubicBezTo>
                  <a:pt x="122" y="1512"/>
                  <a:pt x="120" y="1497"/>
                  <a:pt x="119" y="1488"/>
                </a:cubicBezTo>
                <a:cubicBezTo>
                  <a:pt x="118" y="1478"/>
                  <a:pt x="112" y="1423"/>
                  <a:pt x="105" y="1366"/>
                </a:cubicBezTo>
                <a:cubicBezTo>
                  <a:pt x="98" y="1308"/>
                  <a:pt x="92" y="1257"/>
                  <a:pt x="91" y="1251"/>
                </a:cubicBezTo>
                <a:cubicBezTo>
                  <a:pt x="89" y="1242"/>
                  <a:pt x="90" y="1240"/>
                  <a:pt x="101" y="1238"/>
                </a:cubicBezTo>
                <a:cubicBezTo>
                  <a:pt x="113" y="1236"/>
                  <a:pt x="114" y="1235"/>
                  <a:pt x="111" y="1223"/>
                </a:cubicBezTo>
                <a:cubicBezTo>
                  <a:pt x="109" y="1214"/>
                  <a:pt x="111" y="1207"/>
                  <a:pt x="119" y="1194"/>
                </a:cubicBezTo>
                <a:cubicBezTo>
                  <a:pt x="125" y="1185"/>
                  <a:pt x="130" y="1173"/>
                  <a:pt x="130" y="1168"/>
                </a:cubicBezTo>
                <a:cubicBezTo>
                  <a:pt x="130" y="1162"/>
                  <a:pt x="123" y="1142"/>
                  <a:pt x="114" y="1124"/>
                </a:cubicBezTo>
                <a:cubicBezTo>
                  <a:pt x="105" y="1105"/>
                  <a:pt x="96" y="1082"/>
                  <a:pt x="94" y="1074"/>
                </a:cubicBezTo>
                <a:cubicBezTo>
                  <a:pt x="91" y="1065"/>
                  <a:pt x="86" y="1053"/>
                  <a:pt x="83" y="1048"/>
                </a:cubicBezTo>
                <a:cubicBezTo>
                  <a:pt x="78" y="1041"/>
                  <a:pt x="76" y="1032"/>
                  <a:pt x="77" y="1019"/>
                </a:cubicBezTo>
                <a:cubicBezTo>
                  <a:pt x="78" y="998"/>
                  <a:pt x="67" y="975"/>
                  <a:pt x="53" y="967"/>
                </a:cubicBezTo>
                <a:cubicBezTo>
                  <a:pt x="48" y="965"/>
                  <a:pt x="45" y="959"/>
                  <a:pt x="45" y="952"/>
                </a:cubicBezTo>
                <a:cubicBezTo>
                  <a:pt x="45" y="946"/>
                  <a:pt x="41" y="937"/>
                  <a:pt x="37" y="932"/>
                </a:cubicBezTo>
                <a:cubicBezTo>
                  <a:pt x="33" y="926"/>
                  <a:pt x="29" y="920"/>
                  <a:pt x="29" y="918"/>
                </a:cubicBezTo>
                <a:cubicBezTo>
                  <a:pt x="29" y="912"/>
                  <a:pt x="49" y="894"/>
                  <a:pt x="71" y="880"/>
                </a:cubicBezTo>
                <a:cubicBezTo>
                  <a:pt x="82" y="874"/>
                  <a:pt x="97" y="861"/>
                  <a:pt x="104" y="853"/>
                </a:cubicBezTo>
                <a:cubicBezTo>
                  <a:pt x="111" y="844"/>
                  <a:pt x="125" y="829"/>
                  <a:pt x="134" y="818"/>
                </a:cubicBezTo>
                <a:cubicBezTo>
                  <a:pt x="146" y="805"/>
                  <a:pt x="157" y="787"/>
                  <a:pt x="167" y="763"/>
                </a:cubicBezTo>
                <a:cubicBezTo>
                  <a:pt x="180" y="730"/>
                  <a:pt x="181" y="724"/>
                  <a:pt x="181" y="693"/>
                </a:cubicBezTo>
                <a:cubicBezTo>
                  <a:pt x="180" y="668"/>
                  <a:pt x="177" y="650"/>
                  <a:pt x="169" y="626"/>
                </a:cubicBezTo>
                <a:cubicBezTo>
                  <a:pt x="163" y="608"/>
                  <a:pt x="157" y="589"/>
                  <a:pt x="156" y="583"/>
                </a:cubicBezTo>
                <a:cubicBezTo>
                  <a:pt x="151" y="564"/>
                  <a:pt x="116" y="526"/>
                  <a:pt x="90" y="512"/>
                </a:cubicBezTo>
                <a:cubicBezTo>
                  <a:pt x="59" y="496"/>
                  <a:pt x="35" y="472"/>
                  <a:pt x="34" y="457"/>
                </a:cubicBezTo>
                <a:cubicBezTo>
                  <a:pt x="33" y="450"/>
                  <a:pt x="36" y="438"/>
                  <a:pt x="40" y="429"/>
                </a:cubicBezTo>
                <a:cubicBezTo>
                  <a:pt x="44" y="421"/>
                  <a:pt x="47" y="411"/>
                  <a:pt x="48" y="408"/>
                </a:cubicBezTo>
                <a:cubicBezTo>
                  <a:pt x="48" y="404"/>
                  <a:pt x="52" y="399"/>
                  <a:pt x="57" y="395"/>
                </a:cubicBezTo>
                <a:cubicBezTo>
                  <a:pt x="63" y="390"/>
                  <a:pt x="65" y="384"/>
                  <a:pt x="65" y="369"/>
                </a:cubicBezTo>
                <a:cubicBezTo>
                  <a:pt x="65" y="356"/>
                  <a:pt x="67" y="348"/>
                  <a:pt x="73" y="342"/>
                </a:cubicBezTo>
                <a:cubicBezTo>
                  <a:pt x="80" y="334"/>
                  <a:pt x="80" y="332"/>
                  <a:pt x="75" y="317"/>
                </a:cubicBezTo>
                <a:cubicBezTo>
                  <a:pt x="72" y="308"/>
                  <a:pt x="69" y="296"/>
                  <a:pt x="68" y="290"/>
                </a:cubicBezTo>
                <a:cubicBezTo>
                  <a:pt x="65" y="278"/>
                  <a:pt x="55" y="257"/>
                  <a:pt x="43" y="242"/>
                </a:cubicBezTo>
                <a:cubicBezTo>
                  <a:pt x="35" y="231"/>
                  <a:pt x="34" y="225"/>
                  <a:pt x="34" y="184"/>
                </a:cubicBezTo>
                <a:cubicBezTo>
                  <a:pt x="34" y="151"/>
                  <a:pt x="32" y="137"/>
                  <a:pt x="28" y="132"/>
                </a:cubicBezTo>
                <a:cubicBezTo>
                  <a:pt x="25" y="129"/>
                  <a:pt x="17" y="113"/>
                  <a:pt x="11" y="98"/>
                </a:cubicBezTo>
                <a:cubicBezTo>
                  <a:pt x="0" y="71"/>
                  <a:pt x="0" y="71"/>
                  <a:pt x="0" y="71"/>
                </a:cubicBezTo>
                <a:cubicBezTo>
                  <a:pt x="10" y="50"/>
                  <a:pt x="10" y="50"/>
                  <a:pt x="10" y="50"/>
                </a:cubicBezTo>
                <a:cubicBezTo>
                  <a:pt x="20" y="30"/>
                  <a:pt x="21" y="29"/>
                  <a:pt x="39" y="26"/>
                </a:cubicBezTo>
                <a:cubicBezTo>
                  <a:pt x="69" y="22"/>
                  <a:pt x="95" y="23"/>
                  <a:pt x="112" y="29"/>
                </a:cubicBezTo>
                <a:cubicBezTo>
                  <a:pt x="135" y="37"/>
                  <a:pt x="167" y="40"/>
                  <a:pt x="180" y="35"/>
                </a:cubicBezTo>
                <a:cubicBezTo>
                  <a:pt x="186" y="33"/>
                  <a:pt x="198" y="24"/>
                  <a:pt x="207" y="15"/>
                </a:cubicBezTo>
                <a:cubicBezTo>
                  <a:pt x="216" y="7"/>
                  <a:pt x="225" y="0"/>
                  <a:pt x="227" y="0"/>
                </a:cubicBezTo>
                <a:cubicBezTo>
                  <a:pt x="234" y="0"/>
                  <a:pt x="311" y="40"/>
                  <a:pt x="337" y="58"/>
                </a:cubicBezTo>
                <a:cubicBezTo>
                  <a:pt x="356" y="71"/>
                  <a:pt x="361" y="75"/>
                  <a:pt x="360" y="84"/>
                </a:cubicBezTo>
                <a:cubicBezTo>
                  <a:pt x="360" y="89"/>
                  <a:pt x="363" y="98"/>
                  <a:pt x="366" y="104"/>
                </a:cubicBezTo>
                <a:cubicBezTo>
                  <a:pt x="372" y="113"/>
                  <a:pt x="377" y="114"/>
                  <a:pt x="414" y="119"/>
                </a:cubicBezTo>
                <a:cubicBezTo>
                  <a:pt x="437" y="122"/>
                  <a:pt x="464" y="127"/>
                  <a:pt x="475" y="130"/>
                </a:cubicBezTo>
                <a:cubicBezTo>
                  <a:pt x="494" y="136"/>
                  <a:pt x="494" y="136"/>
                  <a:pt x="494" y="136"/>
                </a:cubicBezTo>
                <a:cubicBezTo>
                  <a:pt x="491" y="158"/>
                  <a:pt x="491" y="158"/>
                  <a:pt x="491" y="158"/>
                </a:cubicBezTo>
                <a:cubicBezTo>
                  <a:pt x="489" y="180"/>
                  <a:pt x="492" y="193"/>
                  <a:pt x="510" y="246"/>
                </a:cubicBezTo>
                <a:cubicBezTo>
                  <a:pt x="512" y="252"/>
                  <a:pt x="514" y="262"/>
                  <a:pt x="514" y="269"/>
                </a:cubicBezTo>
                <a:cubicBezTo>
                  <a:pt x="514" y="275"/>
                  <a:pt x="517" y="283"/>
                  <a:pt x="524" y="290"/>
                </a:cubicBezTo>
                <a:cubicBezTo>
                  <a:pt x="529" y="295"/>
                  <a:pt x="537" y="308"/>
                  <a:pt x="542" y="318"/>
                </a:cubicBezTo>
                <a:cubicBezTo>
                  <a:pt x="550" y="336"/>
                  <a:pt x="550" y="336"/>
                  <a:pt x="550" y="336"/>
                </a:cubicBezTo>
                <a:cubicBezTo>
                  <a:pt x="569" y="333"/>
                  <a:pt x="569" y="333"/>
                  <a:pt x="569" y="333"/>
                </a:cubicBezTo>
                <a:cubicBezTo>
                  <a:pt x="588" y="331"/>
                  <a:pt x="590" y="331"/>
                  <a:pt x="610" y="349"/>
                </a:cubicBezTo>
                <a:cubicBezTo>
                  <a:pt x="622" y="359"/>
                  <a:pt x="636" y="368"/>
                  <a:pt x="642" y="370"/>
                </a:cubicBezTo>
                <a:cubicBezTo>
                  <a:pt x="648" y="371"/>
                  <a:pt x="653" y="374"/>
                  <a:pt x="653" y="376"/>
                </a:cubicBezTo>
                <a:cubicBezTo>
                  <a:pt x="653" y="383"/>
                  <a:pt x="662" y="379"/>
                  <a:pt x="679" y="363"/>
                </a:cubicBezTo>
                <a:cubicBezTo>
                  <a:pt x="692" y="350"/>
                  <a:pt x="697" y="341"/>
                  <a:pt x="699" y="329"/>
                </a:cubicBezTo>
                <a:cubicBezTo>
                  <a:pt x="701" y="317"/>
                  <a:pt x="704" y="311"/>
                  <a:pt x="711" y="309"/>
                </a:cubicBezTo>
                <a:cubicBezTo>
                  <a:pt x="716" y="306"/>
                  <a:pt x="722" y="298"/>
                  <a:pt x="725" y="287"/>
                </a:cubicBezTo>
                <a:cubicBezTo>
                  <a:pt x="731" y="267"/>
                  <a:pt x="731" y="226"/>
                  <a:pt x="724" y="214"/>
                </a:cubicBezTo>
                <a:cubicBezTo>
                  <a:pt x="721" y="209"/>
                  <a:pt x="720" y="204"/>
                  <a:pt x="721" y="202"/>
                </a:cubicBezTo>
                <a:cubicBezTo>
                  <a:pt x="721" y="199"/>
                  <a:pt x="724" y="188"/>
                  <a:pt x="726" y="176"/>
                </a:cubicBezTo>
                <a:cubicBezTo>
                  <a:pt x="729" y="156"/>
                  <a:pt x="739" y="142"/>
                  <a:pt x="746" y="146"/>
                </a:cubicBezTo>
                <a:cubicBezTo>
                  <a:pt x="747" y="147"/>
                  <a:pt x="749" y="154"/>
                  <a:pt x="751" y="163"/>
                </a:cubicBezTo>
                <a:cubicBezTo>
                  <a:pt x="754" y="181"/>
                  <a:pt x="772" y="212"/>
                  <a:pt x="779" y="212"/>
                </a:cubicBezTo>
                <a:cubicBezTo>
                  <a:pt x="784" y="212"/>
                  <a:pt x="795" y="252"/>
                  <a:pt x="793" y="262"/>
                </a:cubicBezTo>
                <a:cubicBezTo>
                  <a:pt x="791" y="272"/>
                  <a:pt x="794" y="274"/>
                  <a:pt x="816" y="272"/>
                </a:cubicBezTo>
                <a:cubicBezTo>
                  <a:pt x="839" y="271"/>
                  <a:pt x="839" y="271"/>
                  <a:pt x="839" y="271"/>
                </a:cubicBezTo>
                <a:cubicBezTo>
                  <a:pt x="839" y="296"/>
                  <a:pt x="839" y="296"/>
                  <a:pt x="839" y="296"/>
                </a:cubicBezTo>
                <a:cubicBezTo>
                  <a:pt x="838" y="310"/>
                  <a:pt x="836" y="328"/>
                  <a:pt x="834" y="335"/>
                </a:cubicBezTo>
                <a:cubicBezTo>
                  <a:pt x="831" y="344"/>
                  <a:pt x="831" y="351"/>
                  <a:pt x="833" y="356"/>
                </a:cubicBezTo>
                <a:cubicBezTo>
                  <a:pt x="838" y="364"/>
                  <a:pt x="859" y="378"/>
                  <a:pt x="874" y="382"/>
                </a:cubicBezTo>
                <a:cubicBezTo>
                  <a:pt x="887" y="385"/>
                  <a:pt x="889" y="389"/>
                  <a:pt x="891" y="435"/>
                </a:cubicBezTo>
                <a:cubicBezTo>
                  <a:pt x="892" y="456"/>
                  <a:pt x="896" y="482"/>
                  <a:pt x="899" y="493"/>
                </a:cubicBezTo>
                <a:cubicBezTo>
                  <a:pt x="902" y="504"/>
                  <a:pt x="906" y="520"/>
                  <a:pt x="907" y="528"/>
                </a:cubicBezTo>
                <a:cubicBezTo>
                  <a:pt x="908" y="537"/>
                  <a:pt x="913" y="545"/>
                  <a:pt x="922" y="551"/>
                </a:cubicBezTo>
                <a:cubicBezTo>
                  <a:pt x="934" y="560"/>
                  <a:pt x="953" y="595"/>
                  <a:pt x="953" y="608"/>
                </a:cubicBezTo>
                <a:cubicBezTo>
                  <a:pt x="953" y="611"/>
                  <a:pt x="956" y="617"/>
                  <a:pt x="961" y="621"/>
                </a:cubicBezTo>
                <a:cubicBezTo>
                  <a:pt x="965" y="625"/>
                  <a:pt x="971" y="635"/>
                  <a:pt x="975" y="643"/>
                </a:cubicBezTo>
                <a:cubicBezTo>
                  <a:pt x="982" y="658"/>
                  <a:pt x="982" y="659"/>
                  <a:pt x="974" y="678"/>
                </a:cubicBezTo>
                <a:cubicBezTo>
                  <a:pt x="965" y="697"/>
                  <a:pt x="965" y="697"/>
                  <a:pt x="965" y="697"/>
                </a:cubicBezTo>
                <a:cubicBezTo>
                  <a:pt x="944" y="694"/>
                  <a:pt x="944" y="694"/>
                  <a:pt x="944" y="694"/>
                </a:cubicBezTo>
                <a:cubicBezTo>
                  <a:pt x="933" y="693"/>
                  <a:pt x="918" y="691"/>
                  <a:pt x="911" y="689"/>
                </a:cubicBezTo>
                <a:cubicBezTo>
                  <a:pt x="900" y="687"/>
                  <a:pt x="898" y="688"/>
                  <a:pt x="889" y="701"/>
                </a:cubicBezTo>
                <a:cubicBezTo>
                  <a:pt x="878" y="717"/>
                  <a:pt x="871" y="719"/>
                  <a:pt x="861" y="709"/>
                </a:cubicBezTo>
                <a:cubicBezTo>
                  <a:pt x="857" y="706"/>
                  <a:pt x="843" y="701"/>
                  <a:pt x="829" y="698"/>
                </a:cubicBezTo>
                <a:cubicBezTo>
                  <a:pt x="803" y="692"/>
                  <a:pt x="800" y="694"/>
                  <a:pt x="796" y="713"/>
                </a:cubicBezTo>
                <a:cubicBezTo>
                  <a:pt x="794" y="719"/>
                  <a:pt x="789" y="726"/>
                  <a:pt x="783" y="728"/>
                </a:cubicBezTo>
                <a:cubicBezTo>
                  <a:pt x="775" y="732"/>
                  <a:pt x="773" y="736"/>
                  <a:pt x="773" y="746"/>
                </a:cubicBezTo>
                <a:cubicBezTo>
                  <a:pt x="773" y="756"/>
                  <a:pt x="770" y="763"/>
                  <a:pt x="761" y="773"/>
                </a:cubicBezTo>
                <a:cubicBezTo>
                  <a:pt x="750" y="784"/>
                  <a:pt x="749" y="788"/>
                  <a:pt x="751" y="802"/>
                </a:cubicBezTo>
                <a:cubicBezTo>
                  <a:pt x="752" y="811"/>
                  <a:pt x="755" y="823"/>
                  <a:pt x="758" y="828"/>
                </a:cubicBezTo>
                <a:cubicBezTo>
                  <a:pt x="767" y="846"/>
                  <a:pt x="791" y="870"/>
                  <a:pt x="808" y="878"/>
                </a:cubicBezTo>
                <a:cubicBezTo>
                  <a:pt x="825" y="886"/>
                  <a:pt x="828" y="896"/>
                  <a:pt x="820" y="919"/>
                </a:cubicBezTo>
                <a:cubicBezTo>
                  <a:pt x="816" y="931"/>
                  <a:pt x="816" y="933"/>
                  <a:pt x="827" y="942"/>
                </a:cubicBezTo>
                <a:cubicBezTo>
                  <a:pt x="839" y="952"/>
                  <a:pt x="852" y="953"/>
                  <a:pt x="876" y="946"/>
                </a:cubicBezTo>
                <a:cubicBezTo>
                  <a:pt x="883" y="943"/>
                  <a:pt x="884" y="945"/>
                  <a:pt x="887" y="964"/>
                </a:cubicBezTo>
                <a:cubicBezTo>
                  <a:pt x="889" y="978"/>
                  <a:pt x="893" y="987"/>
                  <a:pt x="900" y="994"/>
                </a:cubicBezTo>
                <a:cubicBezTo>
                  <a:pt x="909" y="1004"/>
                  <a:pt x="912" y="1004"/>
                  <a:pt x="932" y="1002"/>
                </a:cubicBezTo>
                <a:cubicBezTo>
                  <a:pt x="950" y="999"/>
                  <a:pt x="955" y="1000"/>
                  <a:pt x="962" y="1006"/>
                </a:cubicBezTo>
                <a:cubicBezTo>
                  <a:pt x="966" y="1010"/>
                  <a:pt x="973" y="1014"/>
                  <a:pt x="976" y="1014"/>
                </a:cubicBezTo>
                <a:cubicBezTo>
                  <a:pt x="995" y="1018"/>
                  <a:pt x="1036" y="1019"/>
                  <a:pt x="1040" y="1016"/>
                </a:cubicBezTo>
                <a:cubicBezTo>
                  <a:pt x="1043" y="1014"/>
                  <a:pt x="1046" y="1005"/>
                  <a:pt x="1047" y="995"/>
                </a:cubicBezTo>
                <a:cubicBezTo>
                  <a:pt x="1050" y="973"/>
                  <a:pt x="1052" y="946"/>
                  <a:pt x="1053" y="944"/>
                </a:cubicBezTo>
                <a:cubicBezTo>
                  <a:pt x="1053" y="944"/>
                  <a:pt x="1061" y="947"/>
                  <a:pt x="1070" y="952"/>
                </a:cubicBezTo>
                <a:cubicBezTo>
                  <a:pt x="1082" y="958"/>
                  <a:pt x="1091" y="960"/>
                  <a:pt x="1103" y="958"/>
                </a:cubicBezTo>
                <a:cubicBezTo>
                  <a:pt x="1120" y="956"/>
                  <a:pt x="1184" y="934"/>
                  <a:pt x="1251" y="908"/>
                </a:cubicBezTo>
                <a:cubicBezTo>
                  <a:pt x="1354" y="867"/>
                  <a:pt x="1417" y="844"/>
                  <a:pt x="1441" y="838"/>
                </a:cubicBezTo>
                <a:cubicBezTo>
                  <a:pt x="1455" y="834"/>
                  <a:pt x="1469" y="829"/>
                  <a:pt x="1472" y="827"/>
                </a:cubicBezTo>
                <a:cubicBezTo>
                  <a:pt x="1475" y="824"/>
                  <a:pt x="1479" y="824"/>
                  <a:pt x="1481" y="826"/>
                </a:cubicBezTo>
                <a:cubicBezTo>
                  <a:pt x="1490" y="837"/>
                  <a:pt x="1509" y="863"/>
                  <a:pt x="1509" y="865"/>
                </a:cubicBezTo>
                <a:cubicBezTo>
                  <a:pt x="1509" y="866"/>
                  <a:pt x="1498" y="876"/>
                  <a:pt x="1484" y="886"/>
                </a:cubicBezTo>
                <a:cubicBezTo>
                  <a:pt x="1447" y="914"/>
                  <a:pt x="1426" y="939"/>
                  <a:pt x="1423" y="956"/>
                </a:cubicBezTo>
                <a:cubicBezTo>
                  <a:pt x="1422" y="963"/>
                  <a:pt x="1413" y="986"/>
                  <a:pt x="1403" y="1006"/>
                </a:cubicBezTo>
                <a:cubicBezTo>
                  <a:pt x="1393" y="1025"/>
                  <a:pt x="1383" y="1046"/>
                  <a:pt x="1382" y="1052"/>
                </a:cubicBezTo>
                <a:cubicBezTo>
                  <a:pt x="1377" y="1064"/>
                  <a:pt x="1312" y="1099"/>
                  <a:pt x="1271" y="1111"/>
                </a:cubicBezTo>
                <a:cubicBezTo>
                  <a:pt x="1256" y="1115"/>
                  <a:pt x="1222" y="1125"/>
                  <a:pt x="1195" y="1133"/>
                </a:cubicBezTo>
                <a:cubicBezTo>
                  <a:pt x="1040" y="1178"/>
                  <a:pt x="966" y="1206"/>
                  <a:pt x="952" y="1225"/>
                </a:cubicBezTo>
                <a:cubicBezTo>
                  <a:pt x="948" y="1230"/>
                  <a:pt x="943" y="1243"/>
                  <a:pt x="941" y="1254"/>
                </a:cubicBezTo>
                <a:cubicBezTo>
                  <a:pt x="939" y="1265"/>
                  <a:pt x="933" y="1286"/>
                  <a:pt x="929" y="1301"/>
                </a:cubicBezTo>
                <a:cubicBezTo>
                  <a:pt x="922" y="1324"/>
                  <a:pt x="919" y="1328"/>
                  <a:pt x="911" y="1328"/>
                </a:cubicBezTo>
                <a:cubicBezTo>
                  <a:pt x="892" y="1328"/>
                  <a:pt x="853" y="1372"/>
                  <a:pt x="839" y="1410"/>
                </a:cubicBezTo>
                <a:cubicBezTo>
                  <a:pt x="835" y="1421"/>
                  <a:pt x="826" y="1439"/>
                  <a:pt x="819" y="1450"/>
                </a:cubicBezTo>
                <a:cubicBezTo>
                  <a:pt x="812" y="1461"/>
                  <a:pt x="805" y="1476"/>
                  <a:pt x="804" y="1484"/>
                </a:cubicBezTo>
                <a:cubicBezTo>
                  <a:pt x="800" y="1517"/>
                  <a:pt x="738" y="1617"/>
                  <a:pt x="706" y="1642"/>
                </a:cubicBezTo>
                <a:cubicBezTo>
                  <a:pt x="661" y="1678"/>
                  <a:pt x="600" y="1744"/>
                  <a:pt x="606" y="1749"/>
                </a:cubicBezTo>
                <a:cubicBezTo>
                  <a:pt x="606" y="1750"/>
                  <a:pt x="622" y="1734"/>
                  <a:pt x="641" y="1713"/>
                </a:cubicBezTo>
                <a:cubicBezTo>
                  <a:pt x="660" y="1693"/>
                  <a:pt x="687" y="1667"/>
                  <a:pt x="701" y="1656"/>
                </a:cubicBezTo>
                <a:cubicBezTo>
                  <a:pt x="726" y="1637"/>
                  <a:pt x="753" y="1608"/>
                  <a:pt x="772" y="1582"/>
                </a:cubicBezTo>
                <a:cubicBezTo>
                  <a:pt x="788" y="1558"/>
                  <a:pt x="817" y="1500"/>
                  <a:pt x="817" y="1492"/>
                </a:cubicBezTo>
                <a:cubicBezTo>
                  <a:pt x="817" y="1487"/>
                  <a:pt x="819" y="1479"/>
                  <a:pt x="822" y="1474"/>
                </a:cubicBezTo>
                <a:cubicBezTo>
                  <a:pt x="829" y="1460"/>
                  <a:pt x="866" y="1415"/>
                  <a:pt x="881" y="1401"/>
                </a:cubicBezTo>
                <a:cubicBezTo>
                  <a:pt x="889" y="1394"/>
                  <a:pt x="904" y="1380"/>
                  <a:pt x="915" y="1370"/>
                </a:cubicBezTo>
                <a:cubicBezTo>
                  <a:pt x="926" y="1360"/>
                  <a:pt x="946" y="1345"/>
                  <a:pt x="959" y="1337"/>
                </a:cubicBezTo>
                <a:cubicBezTo>
                  <a:pt x="972" y="1329"/>
                  <a:pt x="997" y="1313"/>
                  <a:pt x="1013" y="1302"/>
                </a:cubicBezTo>
                <a:cubicBezTo>
                  <a:pt x="1034" y="1287"/>
                  <a:pt x="1051" y="1279"/>
                  <a:pt x="1069" y="1274"/>
                </a:cubicBezTo>
                <a:cubicBezTo>
                  <a:pt x="1094" y="1268"/>
                  <a:pt x="1097" y="1268"/>
                  <a:pt x="1119" y="1275"/>
                </a:cubicBezTo>
                <a:cubicBezTo>
                  <a:pt x="1138" y="1281"/>
                  <a:pt x="1144" y="1285"/>
                  <a:pt x="1149" y="1296"/>
                </a:cubicBezTo>
                <a:cubicBezTo>
                  <a:pt x="1165" y="1326"/>
                  <a:pt x="1163" y="1347"/>
                  <a:pt x="1140" y="1375"/>
                </a:cubicBezTo>
                <a:cubicBezTo>
                  <a:pt x="1118" y="1402"/>
                  <a:pt x="1109" y="1407"/>
                  <a:pt x="1086" y="1409"/>
                </a:cubicBezTo>
                <a:cubicBezTo>
                  <a:pt x="1040" y="1414"/>
                  <a:pt x="1002" y="1425"/>
                  <a:pt x="989" y="1437"/>
                </a:cubicBezTo>
                <a:cubicBezTo>
                  <a:pt x="973" y="1452"/>
                  <a:pt x="960" y="1456"/>
                  <a:pt x="928" y="1457"/>
                </a:cubicBezTo>
                <a:cubicBezTo>
                  <a:pt x="890" y="1459"/>
                  <a:pt x="888" y="1462"/>
                  <a:pt x="891" y="1502"/>
                </a:cubicBezTo>
                <a:cubicBezTo>
                  <a:pt x="894" y="1534"/>
                  <a:pt x="894" y="1534"/>
                  <a:pt x="894" y="1534"/>
                </a:cubicBezTo>
                <a:cubicBezTo>
                  <a:pt x="878" y="1537"/>
                  <a:pt x="878" y="1537"/>
                  <a:pt x="878" y="1537"/>
                </a:cubicBezTo>
                <a:cubicBezTo>
                  <a:pt x="870" y="1538"/>
                  <a:pt x="858" y="1538"/>
                  <a:pt x="852" y="1537"/>
                </a:cubicBezTo>
                <a:cubicBezTo>
                  <a:pt x="844" y="1536"/>
                  <a:pt x="840" y="1538"/>
                  <a:pt x="835" y="1545"/>
                </a:cubicBezTo>
                <a:cubicBezTo>
                  <a:pt x="827" y="1556"/>
                  <a:pt x="810" y="1611"/>
                  <a:pt x="807" y="1636"/>
                </a:cubicBezTo>
                <a:cubicBezTo>
                  <a:pt x="806" y="1645"/>
                  <a:pt x="803" y="1665"/>
                  <a:pt x="801" y="1680"/>
                </a:cubicBezTo>
                <a:cubicBezTo>
                  <a:pt x="799" y="1694"/>
                  <a:pt x="796" y="1713"/>
                  <a:pt x="796" y="1723"/>
                </a:cubicBezTo>
                <a:cubicBezTo>
                  <a:pt x="792" y="1754"/>
                  <a:pt x="780" y="1780"/>
                  <a:pt x="765" y="1791"/>
                </a:cubicBezTo>
                <a:cubicBezTo>
                  <a:pt x="757" y="1797"/>
                  <a:pt x="746" y="1807"/>
                  <a:pt x="741" y="1815"/>
                </a:cubicBezTo>
                <a:cubicBezTo>
                  <a:pt x="736" y="1822"/>
                  <a:pt x="728" y="1828"/>
                  <a:pt x="724" y="1829"/>
                </a:cubicBezTo>
                <a:cubicBezTo>
                  <a:pt x="719" y="1830"/>
                  <a:pt x="686" y="1837"/>
                  <a:pt x="650" y="1845"/>
                </a:cubicBezTo>
                <a:cubicBezTo>
                  <a:pt x="615" y="1853"/>
                  <a:pt x="576" y="1860"/>
                  <a:pt x="564" y="1860"/>
                </a:cubicBezTo>
                <a:cubicBezTo>
                  <a:pt x="545" y="1860"/>
                  <a:pt x="542" y="1858"/>
                  <a:pt x="536" y="1848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4" name="Freeform 58"/>
          <p:cNvSpPr/>
          <p:nvPr userDrawn="1">
            <p:custDataLst>
              <p:tags r:id="rId105"/>
            </p:custDataLst>
          </p:nvPr>
        </p:nvSpPr>
        <p:spPr bwMode="grayWhite">
          <a:xfrm>
            <a:off x="6425570" y="841265"/>
            <a:ext cx="292100" cy="92075"/>
          </a:xfrm>
          <a:custGeom>
            <a:gdLst>
              <a:gd name="T0" fmla="*/ 87 w 203"/>
              <a:gd name="T1" fmla="*/ 62 h 64"/>
              <a:gd name="T2" fmla="*/ 67 w 203"/>
              <a:gd name="T3" fmla="*/ 54 h 64"/>
              <a:gd name="T4" fmla="*/ 34 w 203"/>
              <a:gd name="T5" fmla="*/ 42 h 64"/>
              <a:gd name="T6" fmla="*/ 18 w 203"/>
              <a:gd name="T7" fmla="*/ 11 h 64"/>
              <a:gd name="T8" fmla="*/ 55 w 203"/>
              <a:gd name="T9" fmla="*/ 1 h 64"/>
              <a:gd name="T10" fmla="*/ 166 w 203"/>
              <a:gd name="T11" fmla="*/ 15 h 64"/>
              <a:gd name="T12" fmla="*/ 203 w 203"/>
              <a:gd name="T13" fmla="*/ 40 h 64"/>
              <a:gd name="T14" fmla="*/ 157 w 203"/>
              <a:gd name="T15" fmla="*/ 60 h 64"/>
              <a:gd name="T16" fmla="*/ 87 w 203"/>
              <a:gd name="T17" fmla="*/ 62 h 6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3" h="64">
                <a:moveTo>
                  <a:pt x="87" y="62"/>
                </a:moveTo>
                <a:cubicBezTo>
                  <a:pt x="82" y="61"/>
                  <a:pt x="73" y="58"/>
                  <a:pt x="67" y="54"/>
                </a:cubicBezTo>
                <a:cubicBezTo>
                  <a:pt x="62" y="50"/>
                  <a:pt x="47" y="45"/>
                  <a:pt x="34" y="42"/>
                </a:cubicBezTo>
                <a:cubicBezTo>
                  <a:pt x="6" y="36"/>
                  <a:pt x="0" y="26"/>
                  <a:pt x="18" y="11"/>
                </a:cubicBezTo>
                <a:cubicBezTo>
                  <a:pt x="27" y="4"/>
                  <a:pt x="34" y="2"/>
                  <a:pt x="55" y="1"/>
                </a:cubicBezTo>
                <a:cubicBezTo>
                  <a:pt x="110" y="0"/>
                  <a:pt x="129" y="2"/>
                  <a:pt x="166" y="15"/>
                </a:cubicBezTo>
                <a:cubicBezTo>
                  <a:pt x="203" y="27"/>
                  <a:pt x="203" y="27"/>
                  <a:pt x="203" y="40"/>
                </a:cubicBezTo>
                <a:cubicBezTo>
                  <a:pt x="203" y="55"/>
                  <a:pt x="202" y="56"/>
                  <a:pt x="157" y="60"/>
                </a:cubicBezTo>
                <a:cubicBezTo>
                  <a:pt x="109" y="64"/>
                  <a:pt x="98" y="64"/>
                  <a:pt x="87" y="62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Freeform 59"/>
          <p:cNvSpPr/>
          <p:nvPr userDrawn="1">
            <p:custDataLst>
              <p:tags r:id="rId106"/>
            </p:custDataLst>
          </p:nvPr>
        </p:nvSpPr>
        <p:spPr bwMode="grayWhite">
          <a:xfrm>
            <a:off x="2042481" y="-482711"/>
            <a:ext cx="985838" cy="1806576"/>
          </a:xfrm>
          <a:custGeom>
            <a:gdLst>
              <a:gd name="T0" fmla="*/ 568 w 686"/>
              <a:gd name="T1" fmla="*/ 1250 h 1257"/>
              <a:gd name="T2" fmla="*/ 534 w 686"/>
              <a:gd name="T3" fmla="*/ 1246 h 1257"/>
              <a:gd name="T4" fmla="*/ 492 w 686"/>
              <a:gd name="T5" fmla="*/ 1242 h 1257"/>
              <a:gd name="T6" fmla="*/ 456 w 686"/>
              <a:gd name="T7" fmla="*/ 1238 h 1257"/>
              <a:gd name="T8" fmla="*/ 420 w 686"/>
              <a:gd name="T9" fmla="*/ 1234 h 1257"/>
              <a:gd name="T10" fmla="*/ 384 w 686"/>
              <a:gd name="T11" fmla="*/ 1230 h 1257"/>
              <a:gd name="T12" fmla="*/ 260 w 686"/>
              <a:gd name="T13" fmla="*/ 1205 h 1257"/>
              <a:gd name="T14" fmla="*/ 156 w 686"/>
              <a:gd name="T15" fmla="*/ 1182 h 1257"/>
              <a:gd name="T16" fmla="*/ 104 w 686"/>
              <a:gd name="T17" fmla="*/ 1170 h 1257"/>
              <a:gd name="T18" fmla="*/ 70 w 686"/>
              <a:gd name="T19" fmla="*/ 1162 h 1257"/>
              <a:gd name="T20" fmla="*/ 31 w 686"/>
              <a:gd name="T21" fmla="*/ 1154 h 1257"/>
              <a:gd name="T22" fmla="*/ 2 w 686"/>
              <a:gd name="T23" fmla="*/ 1140 h 1257"/>
              <a:gd name="T24" fmla="*/ 38 w 686"/>
              <a:gd name="T25" fmla="*/ 992 h 1257"/>
              <a:gd name="T26" fmla="*/ 52 w 686"/>
              <a:gd name="T27" fmla="*/ 934 h 1257"/>
              <a:gd name="T28" fmla="*/ 79 w 686"/>
              <a:gd name="T29" fmla="*/ 822 h 1257"/>
              <a:gd name="T30" fmla="*/ 113 w 686"/>
              <a:gd name="T31" fmla="*/ 680 h 1257"/>
              <a:gd name="T32" fmla="*/ 134 w 686"/>
              <a:gd name="T33" fmla="*/ 590 h 1257"/>
              <a:gd name="T34" fmla="*/ 148 w 686"/>
              <a:gd name="T35" fmla="*/ 532 h 1257"/>
              <a:gd name="T36" fmla="*/ 178 w 686"/>
              <a:gd name="T37" fmla="*/ 406 h 1257"/>
              <a:gd name="T38" fmla="*/ 210 w 686"/>
              <a:gd name="T39" fmla="*/ 274 h 1257"/>
              <a:gd name="T40" fmla="*/ 238 w 686"/>
              <a:gd name="T41" fmla="*/ 157 h 1257"/>
              <a:gd name="T42" fmla="*/ 253 w 686"/>
              <a:gd name="T43" fmla="*/ 96 h 1257"/>
              <a:gd name="T44" fmla="*/ 273 w 686"/>
              <a:gd name="T45" fmla="*/ 98 h 1257"/>
              <a:gd name="T46" fmla="*/ 314 w 686"/>
              <a:gd name="T47" fmla="*/ 103 h 1257"/>
              <a:gd name="T48" fmla="*/ 364 w 686"/>
              <a:gd name="T49" fmla="*/ 102 h 1257"/>
              <a:gd name="T50" fmla="*/ 420 w 686"/>
              <a:gd name="T51" fmla="*/ 109 h 1257"/>
              <a:gd name="T52" fmla="*/ 452 w 686"/>
              <a:gd name="T53" fmla="*/ 112 h 1257"/>
              <a:gd name="T54" fmla="*/ 346 w 686"/>
              <a:gd name="T55" fmla="*/ 60 h 1257"/>
              <a:gd name="T56" fmla="*/ 321 w 686"/>
              <a:gd name="T57" fmla="*/ 56 h 1257"/>
              <a:gd name="T58" fmla="*/ 304 w 686"/>
              <a:gd name="T59" fmla="*/ 48 h 1257"/>
              <a:gd name="T60" fmla="*/ 272 w 686"/>
              <a:gd name="T61" fmla="*/ 44 h 1257"/>
              <a:gd name="T62" fmla="*/ 268 w 686"/>
              <a:gd name="T63" fmla="*/ 20 h 1257"/>
              <a:gd name="T64" fmla="*/ 279 w 686"/>
              <a:gd name="T65" fmla="*/ 1 h 1257"/>
              <a:gd name="T66" fmla="*/ 340 w 686"/>
              <a:gd name="T67" fmla="*/ 14 h 1257"/>
              <a:gd name="T68" fmla="*/ 358 w 686"/>
              <a:gd name="T69" fmla="*/ 17 h 1257"/>
              <a:gd name="T70" fmla="*/ 548 w 686"/>
              <a:gd name="T71" fmla="*/ 54 h 1257"/>
              <a:gd name="T72" fmla="*/ 606 w 686"/>
              <a:gd name="T73" fmla="*/ 65 h 1257"/>
              <a:gd name="T74" fmla="*/ 670 w 686"/>
              <a:gd name="T75" fmla="*/ 77 h 1257"/>
              <a:gd name="T76" fmla="*/ 686 w 686"/>
              <a:gd name="T77" fmla="*/ 92 h 1257"/>
              <a:gd name="T78" fmla="*/ 675 w 686"/>
              <a:gd name="T79" fmla="*/ 180 h 1257"/>
              <a:gd name="T80" fmla="*/ 662 w 686"/>
              <a:gd name="T81" fmla="*/ 274 h 1257"/>
              <a:gd name="T82" fmla="*/ 648 w 686"/>
              <a:gd name="T83" fmla="*/ 304 h 1257"/>
              <a:gd name="T84" fmla="*/ 612 w 686"/>
              <a:gd name="T85" fmla="*/ 343 h 1257"/>
              <a:gd name="T86" fmla="*/ 612 w 686"/>
              <a:gd name="T87" fmla="*/ 368 h 1257"/>
              <a:gd name="T88" fmla="*/ 605 w 686"/>
              <a:gd name="T89" fmla="*/ 424 h 1257"/>
              <a:gd name="T90" fmla="*/ 596 w 686"/>
              <a:gd name="T91" fmla="*/ 443 h 1257"/>
              <a:gd name="T92" fmla="*/ 612 w 686"/>
              <a:gd name="T93" fmla="*/ 438 h 1257"/>
              <a:gd name="T94" fmla="*/ 631 w 686"/>
              <a:gd name="T95" fmla="*/ 428 h 1257"/>
              <a:gd name="T96" fmla="*/ 630 w 686"/>
              <a:gd name="T97" fmla="*/ 520 h 1257"/>
              <a:gd name="T98" fmla="*/ 626 w 686"/>
              <a:gd name="T99" fmla="*/ 578 h 1257"/>
              <a:gd name="T100" fmla="*/ 622 w 686"/>
              <a:gd name="T101" fmla="*/ 632 h 1257"/>
              <a:gd name="T102" fmla="*/ 618 w 686"/>
              <a:gd name="T103" fmla="*/ 690 h 1257"/>
              <a:gd name="T104" fmla="*/ 614 w 686"/>
              <a:gd name="T105" fmla="*/ 744 h 1257"/>
              <a:gd name="T106" fmla="*/ 610 w 686"/>
              <a:gd name="T107" fmla="*/ 802 h 1257"/>
              <a:gd name="T108" fmla="*/ 606 w 686"/>
              <a:gd name="T109" fmla="*/ 856 h 1257"/>
              <a:gd name="T110" fmla="*/ 602 w 686"/>
              <a:gd name="T111" fmla="*/ 914 h 1257"/>
              <a:gd name="T112" fmla="*/ 598 w 686"/>
              <a:gd name="T113" fmla="*/ 968 h 1257"/>
              <a:gd name="T114" fmla="*/ 594 w 686"/>
              <a:gd name="T115" fmla="*/ 1024 h 1257"/>
              <a:gd name="T116" fmla="*/ 590 w 686"/>
              <a:gd name="T117" fmla="*/ 1080 h 1257"/>
              <a:gd name="T118" fmla="*/ 586 w 686"/>
              <a:gd name="T119" fmla="*/ 1136 h 1257"/>
              <a:gd name="T120" fmla="*/ 582 w 686"/>
              <a:gd name="T121" fmla="*/ 1193 h 1257"/>
              <a:gd name="T122" fmla="*/ 580 w 686"/>
              <a:gd name="T123" fmla="*/ 1226 h 1257"/>
              <a:gd name="T124" fmla="*/ 568 w 686"/>
              <a:gd name="T125" fmla="*/ 1250 h 125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86" h="1257">
                <a:moveTo>
                  <a:pt x="568" y="1250"/>
                </a:moveTo>
                <a:cubicBezTo>
                  <a:pt x="567" y="1249"/>
                  <a:pt x="552" y="1247"/>
                  <a:pt x="534" y="1246"/>
                </a:cubicBezTo>
                <a:cubicBezTo>
                  <a:pt x="517" y="1244"/>
                  <a:pt x="498" y="1242"/>
                  <a:pt x="492" y="1242"/>
                </a:cubicBezTo>
                <a:cubicBezTo>
                  <a:pt x="487" y="1241"/>
                  <a:pt x="470" y="1239"/>
                  <a:pt x="456" y="1238"/>
                </a:cubicBezTo>
                <a:cubicBezTo>
                  <a:pt x="442" y="1236"/>
                  <a:pt x="426" y="1234"/>
                  <a:pt x="420" y="1234"/>
                </a:cubicBezTo>
                <a:cubicBezTo>
                  <a:pt x="415" y="1233"/>
                  <a:pt x="398" y="1231"/>
                  <a:pt x="384" y="1230"/>
                </a:cubicBezTo>
                <a:cubicBezTo>
                  <a:pt x="370" y="1228"/>
                  <a:pt x="314" y="1217"/>
                  <a:pt x="260" y="1205"/>
                </a:cubicBezTo>
                <a:cubicBezTo>
                  <a:pt x="206" y="1193"/>
                  <a:pt x="159" y="1182"/>
                  <a:pt x="156" y="1182"/>
                </a:cubicBezTo>
                <a:cubicBezTo>
                  <a:pt x="138" y="1178"/>
                  <a:pt x="128" y="1175"/>
                  <a:pt x="104" y="1170"/>
                </a:cubicBezTo>
                <a:cubicBezTo>
                  <a:pt x="90" y="1166"/>
                  <a:pt x="75" y="1163"/>
                  <a:pt x="70" y="1162"/>
                </a:cubicBezTo>
                <a:cubicBezTo>
                  <a:pt x="66" y="1162"/>
                  <a:pt x="48" y="1158"/>
                  <a:pt x="31" y="1154"/>
                </a:cubicBezTo>
                <a:cubicBezTo>
                  <a:pt x="6" y="1148"/>
                  <a:pt x="0" y="1145"/>
                  <a:pt x="2" y="1140"/>
                </a:cubicBezTo>
                <a:cubicBezTo>
                  <a:pt x="4" y="1134"/>
                  <a:pt x="35" y="1005"/>
                  <a:pt x="38" y="992"/>
                </a:cubicBezTo>
                <a:cubicBezTo>
                  <a:pt x="39" y="988"/>
                  <a:pt x="45" y="962"/>
                  <a:pt x="52" y="934"/>
                </a:cubicBezTo>
                <a:cubicBezTo>
                  <a:pt x="59" y="905"/>
                  <a:pt x="71" y="855"/>
                  <a:pt x="79" y="822"/>
                </a:cubicBezTo>
                <a:cubicBezTo>
                  <a:pt x="87" y="789"/>
                  <a:pt x="102" y="725"/>
                  <a:pt x="113" y="680"/>
                </a:cubicBezTo>
                <a:cubicBezTo>
                  <a:pt x="124" y="634"/>
                  <a:pt x="134" y="594"/>
                  <a:pt x="134" y="590"/>
                </a:cubicBezTo>
                <a:cubicBezTo>
                  <a:pt x="135" y="585"/>
                  <a:pt x="141" y="559"/>
                  <a:pt x="148" y="532"/>
                </a:cubicBezTo>
                <a:cubicBezTo>
                  <a:pt x="155" y="504"/>
                  <a:pt x="168" y="447"/>
                  <a:pt x="178" y="406"/>
                </a:cubicBezTo>
                <a:cubicBezTo>
                  <a:pt x="188" y="364"/>
                  <a:pt x="203" y="304"/>
                  <a:pt x="210" y="274"/>
                </a:cubicBezTo>
                <a:cubicBezTo>
                  <a:pt x="217" y="243"/>
                  <a:pt x="230" y="190"/>
                  <a:pt x="238" y="157"/>
                </a:cubicBezTo>
                <a:cubicBezTo>
                  <a:pt x="253" y="96"/>
                  <a:pt x="253" y="96"/>
                  <a:pt x="253" y="96"/>
                </a:cubicBezTo>
                <a:cubicBezTo>
                  <a:pt x="273" y="98"/>
                  <a:pt x="273" y="98"/>
                  <a:pt x="273" y="98"/>
                </a:cubicBezTo>
                <a:cubicBezTo>
                  <a:pt x="285" y="99"/>
                  <a:pt x="303" y="101"/>
                  <a:pt x="314" y="103"/>
                </a:cubicBezTo>
                <a:cubicBezTo>
                  <a:pt x="325" y="104"/>
                  <a:pt x="347" y="104"/>
                  <a:pt x="364" y="102"/>
                </a:cubicBezTo>
                <a:cubicBezTo>
                  <a:pt x="394" y="98"/>
                  <a:pt x="397" y="99"/>
                  <a:pt x="420" y="109"/>
                </a:cubicBezTo>
                <a:cubicBezTo>
                  <a:pt x="443" y="119"/>
                  <a:pt x="452" y="120"/>
                  <a:pt x="452" y="112"/>
                </a:cubicBezTo>
                <a:cubicBezTo>
                  <a:pt x="452" y="107"/>
                  <a:pt x="367" y="66"/>
                  <a:pt x="346" y="60"/>
                </a:cubicBezTo>
                <a:cubicBezTo>
                  <a:pt x="337" y="58"/>
                  <a:pt x="326" y="56"/>
                  <a:pt x="321" y="56"/>
                </a:cubicBezTo>
                <a:cubicBezTo>
                  <a:pt x="316" y="56"/>
                  <a:pt x="309" y="52"/>
                  <a:pt x="304" y="48"/>
                </a:cubicBezTo>
                <a:cubicBezTo>
                  <a:pt x="295" y="39"/>
                  <a:pt x="284" y="37"/>
                  <a:pt x="272" y="44"/>
                </a:cubicBezTo>
                <a:cubicBezTo>
                  <a:pt x="263" y="49"/>
                  <a:pt x="263" y="47"/>
                  <a:pt x="268" y="20"/>
                </a:cubicBezTo>
                <a:cubicBezTo>
                  <a:pt x="272" y="4"/>
                  <a:pt x="274" y="0"/>
                  <a:pt x="279" y="1"/>
                </a:cubicBezTo>
                <a:cubicBezTo>
                  <a:pt x="285" y="3"/>
                  <a:pt x="314" y="9"/>
                  <a:pt x="340" y="14"/>
                </a:cubicBezTo>
                <a:cubicBezTo>
                  <a:pt x="346" y="15"/>
                  <a:pt x="354" y="16"/>
                  <a:pt x="358" y="17"/>
                </a:cubicBezTo>
                <a:cubicBezTo>
                  <a:pt x="371" y="20"/>
                  <a:pt x="537" y="52"/>
                  <a:pt x="548" y="54"/>
                </a:cubicBezTo>
                <a:cubicBezTo>
                  <a:pt x="554" y="55"/>
                  <a:pt x="580" y="60"/>
                  <a:pt x="606" y="65"/>
                </a:cubicBezTo>
                <a:cubicBezTo>
                  <a:pt x="633" y="71"/>
                  <a:pt x="661" y="76"/>
                  <a:pt x="670" y="77"/>
                </a:cubicBezTo>
                <a:cubicBezTo>
                  <a:pt x="686" y="78"/>
                  <a:pt x="686" y="79"/>
                  <a:pt x="686" y="92"/>
                </a:cubicBezTo>
                <a:cubicBezTo>
                  <a:pt x="685" y="99"/>
                  <a:pt x="680" y="139"/>
                  <a:pt x="675" y="180"/>
                </a:cubicBezTo>
                <a:cubicBezTo>
                  <a:pt x="669" y="220"/>
                  <a:pt x="663" y="263"/>
                  <a:pt x="662" y="274"/>
                </a:cubicBezTo>
                <a:cubicBezTo>
                  <a:pt x="659" y="293"/>
                  <a:pt x="654" y="304"/>
                  <a:pt x="648" y="304"/>
                </a:cubicBezTo>
                <a:cubicBezTo>
                  <a:pt x="642" y="304"/>
                  <a:pt x="618" y="330"/>
                  <a:pt x="612" y="343"/>
                </a:cubicBezTo>
                <a:cubicBezTo>
                  <a:pt x="609" y="352"/>
                  <a:pt x="608" y="359"/>
                  <a:pt x="612" y="368"/>
                </a:cubicBezTo>
                <a:cubicBezTo>
                  <a:pt x="620" y="397"/>
                  <a:pt x="619" y="410"/>
                  <a:pt x="605" y="424"/>
                </a:cubicBezTo>
                <a:cubicBezTo>
                  <a:pt x="596" y="434"/>
                  <a:pt x="594" y="439"/>
                  <a:pt x="596" y="443"/>
                </a:cubicBezTo>
                <a:cubicBezTo>
                  <a:pt x="599" y="448"/>
                  <a:pt x="602" y="447"/>
                  <a:pt x="612" y="438"/>
                </a:cubicBezTo>
                <a:cubicBezTo>
                  <a:pt x="619" y="432"/>
                  <a:pt x="627" y="428"/>
                  <a:pt x="631" y="428"/>
                </a:cubicBezTo>
                <a:cubicBezTo>
                  <a:pt x="637" y="428"/>
                  <a:pt x="637" y="440"/>
                  <a:pt x="630" y="520"/>
                </a:cubicBezTo>
                <a:cubicBezTo>
                  <a:pt x="629" y="532"/>
                  <a:pt x="627" y="558"/>
                  <a:pt x="626" y="578"/>
                </a:cubicBezTo>
                <a:cubicBezTo>
                  <a:pt x="625" y="597"/>
                  <a:pt x="623" y="622"/>
                  <a:pt x="622" y="632"/>
                </a:cubicBezTo>
                <a:cubicBezTo>
                  <a:pt x="621" y="641"/>
                  <a:pt x="619" y="668"/>
                  <a:pt x="618" y="690"/>
                </a:cubicBezTo>
                <a:cubicBezTo>
                  <a:pt x="617" y="712"/>
                  <a:pt x="615" y="736"/>
                  <a:pt x="614" y="744"/>
                </a:cubicBezTo>
                <a:cubicBezTo>
                  <a:pt x="613" y="751"/>
                  <a:pt x="611" y="777"/>
                  <a:pt x="610" y="802"/>
                </a:cubicBezTo>
                <a:cubicBezTo>
                  <a:pt x="609" y="826"/>
                  <a:pt x="607" y="850"/>
                  <a:pt x="606" y="856"/>
                </a:cubicBezTo>
                <a:cubicBezTo>
                  <a:pt x="605" y="861"/>
                  <a:pt x="603" y="887"/>
                  <a:pt x="602" y="914"/>
                </a:cubicBezTo>
                <a:cubicBezTo>
                  <a:pt x="600" y="940"/>
                  <a:pt x="599" y="964"/>
                  <a:pt x="598" y="968"/>
                </a:cubicBezTo>
                <a:cubicBezTo>
                  <a:pt x="598" y="971"/>
                  <a:pt x="596" y="996"/>
                  <a:pt x="594" y="1024"/>
                </a:cubicBezTo>
                <a:cubicBezTo>
                  <a:pt x="593" y="1051"/>
                  <a:pt x="591" y="1076"/>
                  <a:pt x="590" y="1080"/>
                </a:cubicBezTo>
                <a:cubicBezTo>
                  <a:pt x="590" y="1083"/>
                  <a:pt x="588" y="1108"/>
                  <a:pt x="586" y="1136"/>
                </a:cubicBezTo>
                <a:cubicBezTo>
                  <a:pt x="585" y="1163"/>
                  <a:pt x="583" y="1189"/>
                  <a:pt x="582" y="1193"/>
                </a:cubicBezTo>
                <a:cubicBezTo>
                  <a:pt x="581" y="1197"/>
                  <a:pt x="580" y="1211"/>
                  <a:pt x="580" y="1226"/>
                </a:cubicBezTo>
                <a:cubicBezTo>
                  <a:pt x="579" y="1249"/>
                  <a:pt x="575" y="1257"/>
                  <a:pt x="568" y="1250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Freeform 60"/>
          <p:cNvSpPr/>
          <p:nvPr userDrawn="1">
            <p:custDataLst>
              <p:tags r:id="rId107"/>
            </p:custDataLst>
          </p:nvPr>
        </p:nvSpPr>
        <p:spPr bwMode="grayWhite">
          <a:xfrm>
            <a:off x="293055" y="-2825861"/>
            <a:ext cx="1090613" cy="1974851"/>
          </a:xfrm>
          <a:custGeom>
            <a:gdLst>
              <a:gd name="T0" fmla="*/ 746 w 758"/>
              <a:gd name="T1" fmla="*/ 1370 h 1375"/>
              <a:gd name="T2" fmla="*/ 708 w 758"/>
              <a:gd name="T3" fmla="*/ 1352 h 1375"/>
              <a:gd name="T4" fmla="*/ 453 w 758"/>
              <a:gd name="T5" fmla="*/ 1219 h 1375"/>
              <a:gd name="T6" fmla="*/ 119 w 758"/>
              <a:gd name="T7" fmla="*/ 1012 h 1375"/>
              <a:gd name="T8" fmla="*/ 56 w 758"/>
              <a:gd name="T9" fmla="*/ 963 h 1375"/>
              <a:gd name="T10" fmla="*/ 81 w 758"/>
              <a:gd name="T11" fmla="*/ 923 h 1375"/>
              <a:gd name="T12" fmla="*/ 46 w 758"/>
              <a:gd name="T13" fmla="*/ 892 h 1375"/>
              <a:gd name="T14" fmla="*/ 31 w 758"/>
              <a:gd name="T15" fmla="*/ 883 h 1375"/>
              <a:gd name="T16" fmla="*/ 25 w 758"/>
              <a:gd name="T17" fmla="*/ 876 h 1375"/>
              <a:gd name="T18" fmla="*/ 2 w 758"/>
              <a:gd name="T19" fmla="*/ 863 h 1375"/>
              <a:gd name="T20" fmla="*/ 39 w 758"/>
              <a:gd name="T21" fmla="*/ 796 h 1375"/>
              <a:gd name="T22" fmla="*/ 275 w 758"/>
              <a:gd name="T23" fmla="*/ 448 h 1375"/>
              <a:gd name="T24" fmla="*/ 528 w 758"/>
              <a:gd name="T25" fmla="*/ 73 h 1375"/>
              <a:gd name="T26" fmla="*/ 577 w 758"/>
              <a:gd name="T27" fmla="*/ 0 h 1375"/>
              <a:gd name="T28" fmla="*/ 589 w 758"/>
              <a:gd name="T29" fmla="*/ 5 h 1375"/>
              <a:gd name="T30" fmla="*/ 626 w 758"/>
              <a:gd name="T31" fmla="*/ 48 h 1375"/>
              <a:gd name="T32" fmla="*/ 638 w 758"/>
              <a:gd name="T33" fmla="*/ 90 h 1375"/>
              <a:gd name="T34" fmla="*/ 650 w 758"/>
              <a:gd name="T35" fmla="*/ 124 h 1375"/>
              <a:gd name="T36" fmla="*/ 669 w 758"/>
              <a:gd name="T37" fmla="*/ 153 h 1375"/>
              <a:gd name="T38" fmla="*/ 679 w 758"/>
              <a:gd name="T39" fmla="*/ 175 h 1375"/>
              <a:gd name="T40" fmla="*/ 621 w 758"/>
              <a:gd name="T41" fmla="*/ 270 h 1375"/>
              <a:gd name="T42" fmla="*/ 606 w 758"/>
              <a:gd name="T43" fmla="*/ 308 h 1375"/>
              <a:gd name="T44" fmla="*/ 590 w 758"/>
              <a:gd name="T45" fmla="*/ 348 h 1375"/>
              <a:gd name="T46" fmla="*/ 614 w 758"/>
              <a:gd name="T47" fmla="*/ 412 h 1375"/>
              <a:gd name="T48" fmla="*/ 652 w 758"/>
              <a:gd name="T49" fmla="*/ 450 h 1375"/>
              <a:gd name="T50" fmla="*/ 638 w 758"/>
              <a:gd name="T51" fmla="*/ 487 h 1375"/>
              <a:gd name="T52" fmla="*/ 621 w 758"/>
              <a:gd name="T53" fmla="*/ 536 h 1375"/>
              <a:gd name="T54" fmla="*/ 634 w 758"/>
              <a:gd name="T55" fmla="*/ 569 h 1375"/>
              <a:gd name="T56" fmla="*/ 644 w 758"/>
              <a:gd name="T57" fmla="*/ 624 h 1375"/>
              <a:gd name="T58" fmla="*/ 632 w 758"/>
              <a:gd name="T59" fmla="*/ 629 h 1375"/>
              <a:gd name="T60" fmla="*/ 608 w 758"/>
              <a:gd name="T61" fmla="*/ 659 h 1375"/>
              <a:gd name="T62" fmla="*/ 600 w 758"/>
              <a:gd name="T63" fmla="*/ 681 h 1375"/>
              <a:gd name="T64" fmla="*/ 606 w 758"/>
              <a:gd name="T65" fmla="*/ 719 h 1375"/>
              <a:gd name="T66" fmla="*/ 610 w 758"/>
              <a:gd name="T67" fmla="*/ 740 h 1375"/>
              <a:gd name="T68" fmla="*/ 617 w 758"/>
              <a:gd name="T69" fmla="*/ 769 h 1375"/>
              <a:gd name="T70" fmla="*/ 626 w 758"/>
              <a:gd name="T71" fmla="*/ 803 h 1375"/>
              <a:gd name="T72" fmla="*/ 634 w 758"/>
              <a:gd name="T73" fmla="*/ 839 h 1375"/>
              <a:gd name="T74" fmla="*/ 633 w 758"/>
              <a:gd name="T75" fmla="*/ 881 h 1375"/>
              <a:gd name="T76" fmla="*/ 614 w 758"/>
              <a:gd name="T77" fmla="*/ 984 h 1375"/>
              <a:gd name="T78" fmla="*/ 608 w 758"/>
              <a:gd name="T79" fmla="*/ 1027 h 1375"/>
              <a:gd name="T80" fmla="*/ 613 w 758"/>
              <a:gd name="T81" fmla="*/ 1051 h 1375"/>
              <a:gd name="T82" fmla="*/ 638 w 758"/>
              <a:gd name="T83" fmla="*/ 1104 h 1375"/>
              <a:gd name="T84" fmla="*/ 656 w 758"/>
              <a:gd name="T85" fmla="*/ 1150 h 1375"/>
              <a:gd name="T86" fmla="*/ 662 w 758"/>
              <a:gd name="T87" fmla="*/ 1173 h 1375"/>
              <a:gd name="T88" fmla="*/ 655 w 758"/>
              <a:gd name="T89" fmla="*/ 1194 h 1375"/>
              <a:gd name="T90" fmla="*/ 650 w 758"/>
              <a:gd name="T91" fmla="*/ 1225 h 1375"/>
              <a:gd name="T92" fmla="*/ 684 w 758"/>
              <a:gd name="T93" fmla="*/ 1258 h 1375"/>
              <a:gd name="T94" fmla="*/ 722 w 758"/>
              <a:gd name="T95" fmla="*/ 1279 h 1375"/>
              <a:gd name="T96" fmla="*/ 748 w 758"/>
              <a:gd name="T97" fmla="*/ 1289 h 1375"/>
              <a:gd name="T98" fmla="*/ 758 w 758"/>
              <a:gd name="T99" fmla="*/ 1290 h 1375"/>
              <a:gd name="T100" fmla="*/ 757 w 758"/>
              <a:gd name="T101" fmla="*/ 1331 h 1375"/>
              <a:gd name="T102" fmla="*/ 755 w 758"/>
              <a:gd name="T103" fmla="*/ 1374 h 1375"/>
              <a:gd name="T104" fmla="*/ 746 w 758"/>
              <a:gd name="T105" fmla="*/ 1370 h 1375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58" h="1375">
                <a:moveTo>
                  <a:pt x="746" y="1370"/>
                </a:moveTo>
                <a:cubicBezTo>
                  <a:pt x="742" y="1367"/>
                  <a:pt x="725" y="1359"/>
                  <a:pt x="708" y="1352"/>
                </a:cubicBezTo>
                <a:cubicBezTo>
                  <a:pt x="683" y="1340"/>
                  <a:pt x="596" y="1295"/>
                  <a:pt x="453" y="1219"/>
                </a:cubicBezTo>
                <a:cubicBezTo>
                  <a:pt x="408" y="1195"/>
                  <a:pt x="242" y="1092"/>
                  <a:pt x="119" y="1012"/>
                </a:cubicBezTo>
                <a:cubicBezTo>
                  <a:pt x="76" y="983"/>
                  <a:pt x="56" y="968"/>
                  <a:pt x="56" y="963"/>
                </a:cubicBezTo>
                <a:cubicBezTo>
                  <a:pt x="56" y="953"/>
                  <a:pt x="68" y="934"/>
                  <a:pt x="81" y="923"/>
                </a:cubicBezTo>
                <a:cubicBezTo>
                  <a:pt x="105" y="905"/>
                  <a:pt x="91" y="893"/>
                  <a:pt x="46" y="892"/>
                </a:cubicBezTo>
                <a:cubicBezTo>
                  <a:pt x="37" y="892"/>
                  <a:pt x="32" y="889"/>
                  <a:pt x="31" y="883"/>
                </a:cubicBezTo>
                <a:cubicBezTo>
                  <a:pt x="30" y="879"/>
                  <a:pt x="27" y="876"/>
                  <a:pt x="25" y="876"/>
                </a:cubicBezTo>
                <a:cubicBezTo>
                  <a:pt x="18" y="878"/>
                  <a:pt x="4" y="871"/>
                  <a:pt x="2" y="863"/>
                </a:cubicBezTo>
                <a:cubicBezTo>
                  <a:pt x="0" y="857"/>
                  <a:pt x="10" y="840"/>
                  <a:pt x="39" y="796"/>
                </a:cubicBezTo>
                <a:cubicBezTo>
                  <a:pt x="94" y="715"/>
                  <a:pt x="196" y="564"/>
                  <a:pt x="275" y="448"/>
                </a:cubicBezTo>
                <a:cubicBezTo>
                  <a:pt x="337" y="355"/>
                  <a:pt x="418" y="235"/>
                  <a:pt x="528" y="73"/>
                </a:cubicBezTo>
                <a:cubicBezTo>
                  <a:pt x="577" y="0"/>
                  <a:pt x="577" y="0"/>
                  <a:pt x="577" y="0"/>
                </a:cubicBezTo>
                <a:cubicBezTo>
                  <a:pt x="589" y="5"/>
                  <a:pt x="589" y="5"/>
                  <a:pt x="589" y="5"/>
                </a:cubicBezTo>
                <a:cubicBezTo>
                  <a:pt x="616" y="14"/>
                  <a:pt x="623" y="23"/>
                  <a:pt x="626" y="48"/>
                </a:cubicBezTo>
                <a:cubicBezTo>
                  <a:pt x="628" y="61"/>
                  <a:pt x="633" y="80"/>
                  <a:pt x="638" y="90"/>
                </a:cubicBezTo>
                <a:cubicBezTo>
                  <a:pt x="643" y="100"/>
                  <a:pt x="649" y="116"/>
                  <a:pt x="650" y="124"/>
                </a:cubicBezTo>
                <a:cubicBezTo>
                  <a:pt x="652" y="135"/>
                  <a:pt x="657" y="143"/>
                  <a:pt x="669" y="153"/>
                </a:cubicBezTo>
                <a:cubicBezTo>
                  <a:pt x="684" y="166"/>
                  <a:pt x="685" y="168"/>
                  <a:pt x="679" y="175"/>
                </a:cubicBezTo>
                <a:cubicBezTo>
                  <a:pt x="671" y="184"/>
                  <a:pt x="631" y="250"/>
                  <a:pt x="621" y="270"/>
                </a:cubicBezTo>
                <a:cubicBezTo>
                  <a:pt x="617" y="278"/>
                  <a:pt x="610" y="295"/>
                  <a:pt x="606" y="308"/>
                </a:cubicBezTo>
                <a:cubicBezTo>
                  <a:pt x="602" y="320"/>
                  <a:pt x="595" y="338"/>
                  <a:pt x="590" y="348"/>
                </a:cubicBezTo>
                <a:cubicBezTo>
                  <a:pt x="573" y="383"/>
                  <a:pt x="572" y="380"/>
                  <a:pt x="614" y="412"/>
                </a:cubicBezTo>
                <a:cubicBezTo>
                  <a:pt x="643" y="434"/>
                  <a:pt x="652" y="443"/>
                  <a:pt x="652" y="450"/>
                </a:cubicBezTo>
                <a:cubicBezTo>
                  <a:pt x="652" y="455"/>
                  <a:pt x="646" y="471"/>
                  <a:pt x="638" y="487"/>
                </a:cubicBezTo>
                <a:cubicBezTo>
                  <a:pt x="628" y="504"/>
                  <a:pt x="623" y="522"/>
                  <a:pt x="621" y="536"/>
                </a:cubicBezTo>
                <a:cubicBezTo>
                  <a:pt x="619" y="558"/>
                  <a:pt x="620" y="558"/>
                  <a:pt x="634" y="569"/>
                </a:cubicBezTo>
                <a:cubicBezTo>
                  <a:pt x="650" y="581"/>
                  <a:pt x="649" y="578"/>
                  <a:pt x="644" y="624"/>
                </a:cubicBezTo>
                <a:cubicBezTo>
                  <a:pt x="644" y="626"/>
                  <a:pt x="639" y="628"/>
                  <a:pt x="632" y="629"/>
                </a:cubicBezTo>
                <a:cubicBezTo>
                  <a:pt x="620" y="632"/>
                  <a:pt x="608" y="646"/>
                  <a:pt x="608" y="659"/>
                </a:cubicBezTo>
                <a:cubicBezTo>
                  <a:pt x="608" y="664"/>
                  <a:pt x="604" y="673"/>
                  <a:pt x="600" y="681"/>
                </a:cubicBezTo>
                <a:cubicBezTo>
                  <a:pt x="591" y="696"/>
                  <a:pt x="593" y="709"/>
                  <a:pt x="606" y="719"/>
                </a:cubicBezTo>
                <a:cubicBezTo>
                  <a:pt x="610" y="723"/>
                  <a:pt x="611" y="729"/>
                  <a:pt x="610" y="740"/>
                </a:cubicBezTo>
                <a:cubicBezTo>
                  <a:pt x="608" y="752"/>
                  <a:pt x="610" y="759"/>
                  <a:pt x="617" y="769"/>
                </a:cubicBezTo>
                <a:cubicBezTo>
                  <a:pt x="623" y="778"/>
                  <a:pt x="626" y="787"/>
                  <a:pt x="626" y="803"/>
                </a:cubicBezTo>
                <a:cubicBezTo>
                  <a:pt x="627" y="816"/>
                  <a:pt x="630" y="832"/>
                  <a:pt x="634" y="839"/>
                </a:cubicBezTo>
                <a:cubicBezTo>
                  <a:pt x="641" y="852"/>
                  <a:pt x="641" y="854"/>
                  <a:pt x="633" y="881"/>
                </a:cubicBezTo>
                <a:cubicBezTo>
                  <a:pt x="622" y="917"/>
                  <a:pt x="617" y="946"/>
                  <a:pt x="614" y="984"/>
                </a:cubicBezTo>
                <a:cubicBezTo>
                  <a:pt x="613" y="1001"/>
                  <a:pt x="610" y="1020"/>
                  <a:pt x="608" y="1027"/>
                </a:cubicBezTo>
                <a:cubicBezTo>
                  <a:pt x="604" y="1039"/>
                  <a:pt x="604" y="1041"/>
                  <a:pt x="613" y="1051"/>
                </a:cubicBezTo>
                <a:cubicBezTo>
                  <a:pt x="627" y="1065"/>
                  <a:pt x="630" y="1073"/>
                  <a:pt x="638" y="1104"/>
                </a:cubicBezTo>
                <a:cubicBezTo>
                  <a:pt x="642" y="1118"/>
                  <a:pt x="650" y="1139"/>
                  <a:pt x="656" y="1150"/>
                </a:cubicBezTo>
                <a:cubicBezTo>
                  <a:pt x="664" y="1165"/>
                  <a:pt x="666" y="1172"/>
                  <a:pt x="662" y="1173"/>
                </a:cubicBezTo>
                <a:cubicBezTo>
                  <a:pt x="659" y="1174"/>
                  <a:pt x="656" y="1184"/>
                  <a:pt x="655" y="1194"/>
                </a:cubicBezTo>
                <a:cubicBezTo>
                  <a:pt x="654" y="1205"/>
                  <a:pt x="652" y="1219"/>
                  <a:pt x="650" y="1225"/>
                </a:cubicBezTo>
                <a:cubicBezTo>
                  <a:pt x="647" y="1238"/>
                  <a:pt x="652" y="1243"/>
                  <a:pt x="684" y="1258"/>
                </a:cubicBezTo>
                <a:cubicBezTo>
                  <a:pt x="696" y="1263"/>
                  <a:pt x="713" y="1273"/>
                  <a:pt x="722" y="1279"/>
                </a:cubicBezTo>
                <a:cubicBezTo>
                  <a:pt x="730" y="1284"/>
                  <a:pt x="742" y="1289"/>
                  <a:pt x="748" y="1289"/>
                </a:cubicBezTo>
                <a:cubicBezTo>
                  <a:pt x="758" y="1290"/>
                  <a:pt x="758" y="1290"/>
                  <a:pt x="758" y="1290"/>
                </a:cubicBezTo>
                <a:cubicBezTo>
                  <a:pt x="757" y="1331"/>
                  <a:pt x="757" y="1331"/>
                  <a:pt x="757" y="1331"/>
                </a:cubicBezTo>
                <a:cubicBezTo>
                  <a:pt x="756" y="1354"/>
                  <a:pt x="755" y="1374"/>
                  <a:pt x="755" y="1374"/>
                </a:cubicBezTo>
                <a:cubicBezTo>
                  <a:pt x="754" y="1375"/>
                  <a:pt x="750" y="1373"/>
                  <a:pt x="746" y="1370"/>
                </a:cubicBezTo>
                <a:close/>
              </a:path>
            </a:pathLst>
          </a:custGeom>
          <a:solidFill>
            <a:srgbClr val="D3D3D3"/>
          </a:solidFill>
          <a:ln w="22225" cap="flat">
            <a:solidFill>
              <a:srgbClr val="D3D3D3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Freeform 67"/>
          <p:cNvSpPr/>
          <p:nvPr userDrawn="1">
            <p:custDataLst>
              <p:tags r:id="rId108"/>
            </p:custDataLst>
          </p:nvPr>
        </p:nvSpPr>
        <p:spPr bwMode="black">
          <a:xfrm>
            <a:off x="4209419" y="3533666"/>
            <a:ext cx="430213" cy="741363"/>
          </a:xfrm>
          <a:custGeom>
            <a:gdLst>
              <a:gd name="T0" fmla="*/ 31 w 299"/>
              <a:gd name="T1" fmla="*/ 509 h 516"/>
              <a:gd name="T2" fmla="*/ 14 w 299"/>
              <a:gd name="T3" fmla="*/ 506 h 516"/>
              <a:gd name="T4" fmla="*/ 0 w 299"/>
              <a:gd name="T5" fmla="*/ 509 h 516"/>
              <a:gd name="T6" fmla="*/ 2 w 299"/>
              <a:gd name="T7" fmla="*/ 357 h 516"/>
              <a:gd name="T8" fmla="*/ 6 w 299"/>
              <a:gd name="T9" fmla="*/ 188 h 516"/>
              <a:gd name="T10" fmla="*/ 11 w 299"/>
              <a:gd name="T11" fmla="*/ 136 h 516"/>
              <a:gd name="T12" fmla="*/ 15 w 299"/>
              <a:gd name="T13" fmla="*/ 95 h 516"/>
              <a:gd name="T14" fmla="*/ 19 w 299"/>
              <a:gd name="T15" fmla="*/ 53 h 516"/>
              <a:gd name="T16" fmla="*/ 23 w 299"/>
              <a:gd name="T17" fmla="*/ 12 h 516"/>
              <a:gd name="T18" fmla="*/ 40 w 299"/>
              <a:gd name="T19" fmla="*/ 5 h 516"/>
              <a:gd name="T20" fmla="*/ 138 w 299"/>
              <a:gd name="T21" fmla="*/ 2 h 516"/>
              <a:gd name="T22" fmla="*/ 221 w 299"/>
              <a:gd name="T23" fmla="*/ 0 h 516"/>
              <a:gd name="T24" fmla="*/ 225 w 299"/>
              <a:gd name="T25" fmla="*/ 15 h 516"/>
              <a:gd name="T26" fmla="*/ 233 w 299"/>
              <a:gd name="T27" fmla="*/ 50 h 516"/>
              <a:gd name="T28" fmla="*/ 246 w 299"/>
              <a:gd name="T29" fmla="*/ 94 h 516"/>
              <a:gd name="T30" fmla="*/ 263 w 299"/>
              <a:gd name="T31" fmla="*/ 191 h 516"/>
              <a:gd name="T32" fmla="*/ 277 w 299"/>
              <a:gd name="T33" fmla="*/ 233 h 516"/>
              <a:gd name="T34" fmla="*/ 288 w 299"/>
              <a:gd name="T35" fmla="*/ 324 h 516"/>
              <a:gd name="T36" fmla="*/ 297 w 299"/>
              <a:gd name="T37" fmla="*/ 401 h 516"/>
              <a:gd name="T38" fmla="*/ 298 w 299"/>
              <a:gd name="T39" fmla="*/ 417 h 516"/>
              <a:gd name="T40" fmla="*/ 241 w 299"/>
              <a:gd name="T41" fmla="*/ 419 h 516"/>
              <a:gd name="T42" fmla="*/ 133 w 299"/>
              <a:gd name="T43" fmla="*/ 422 h 516"/>
              <a:gd name="T44" fmla="*/ 72 w 299"/>
              <a:gd name="T45" fmla="*/ 433 h 516"/>
              <a:gd name="T46" fmla="*/ 75 w 299"/>
              <a:gd name="T47" fmla="*/ 470 h 516"/>
              <a:gd name="T48" fmla="*/ 87 w 299"/>
              <a:gd name="T49" fmla="*/ 505 h 516"/>
              <a:gd name="T50" fmla="*/ 89 w 299"/>
              <a:gd name="T51" fmla="*/ 516 h 516"/>
              <a:gd name="T52" fmla="*/ 61 w 299"/>
              <a:gd name="T53" fmla="*/ 516 h 516"/>
              <a:gd name="T54" fmla="*/ 31 w 299"/>
              <a:gd name="T55" fmla="*/ 509 h 516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99" h="516">
                <a:moveTo>
                  <a:pt x="31" y="509"/>
                </a:moveTo>
                <a:cubicBezTo>
                  <a:pt x="29" y="505"/>
                  <a:pt x="25" y="504"/>
                  <a:pt x="14" y="506"/>
                </a:cubicBezTo>
                <a:cubicBezTo>
                  <a:pt x="0" y="509"/>
                  <a:pt x="0" y="509"/>
                  <a:pt x="0" y="509"/>
                </a:cubicBezTo>
                <a:cubicBezTo>
                  <a:pt x="2" y="357"/>
                  <a:pt x="2" y="357"/>
                  <a:pt x="2" y="357"/>
                </a:cubicBezTo>
                <a:cubicBezTo>
                  <a:pt x="4" y="274"/>
                  <a:pt x="5" y="197"/>
                  <a:pt x="6" y="188"/>
                </a:cubicBezTo>
                <a:cubicBezTo>
                  <a:pt x="7" y="178"/>
                  <a:pt x="10" y="154"/>
                  <a:pt x="11" y="136"/>
                </a:cubicBezTo>
                <a:cubicBezTo>
                  <a:pt x="13" y="117"/>
                  <a:pt x="15" y="99"/>
                  <a:pt x="15" y="95"/>
                </a:cubicBezTo>
                <a:cubicBezTo>
                  <a:pt x="16" y="91"/>
                  <a:pt x="18" y="72"/>
                  <a:pt x="19" y="53"/>
                </a:cubicBezTo>
                <a:cubicBezTo>
                  <a:pt x="21" y="34"/>
                  <a:pt x="22" y="15"/>
                  <a:pt x="23" y="12"/>
                </a:cubicBezTo>
                <a:cubicBezTo>
                  <a:pt x="24" y="8"/>
                  <a:pt x="29" y="5"/>
                  <a:pt x="40" y="5"/>
                </a:cubicBezTo>
                <a:cubicBezTo>
                  <a:pt x="48" y="5"/>
                  <a:pt x="92" y="3"/>
                  <a:pt x="138" y="2"/>
                </a:cubicBezTo>
                <a:cubicBezTo>
                  <a:pt x="221" y="0"/>
                  <a:pt x="221" y="0"/>
                  <a:pt x="221" y="0"/>
                </a:cubicBezTo>
                <a:cubicBezTo>
                  <a:pt x="225" y="15"/>
                  <a:pt x="225" y="15"/>
                  <a:pt x="225" y="15"/>
                </a:cubicBezTo>
                <a:cubicBezTo>
                  <a:pt x="227" y="23"/>
                  <a:pt x="231" y="39"/>
                  <a:pt x="233" y="50"/>
                </a:cubicBezTo>
                <a:cubicBezTo>
                  <a:pt x="236" y="61"/>
                  <a:pt x="241" y="80"/>
                  <a:pt x="246" y="94"/>
                </a:cubicBezTo>
                <a:cubicBezTo>
                  <a:pt x="253" y="116"/>
                  <a:pt x="258" y="145"/>
                  <a:pt x="263" y="191"/>
                </a:cubicBezTo>
                <a:cubicBezTo>
                  <a:pt x="264" y="201"/>
                  <a:pt x="271" y="220"/>
                  <a:pt x="277" y="233"/>
                </a:cubicBezTo>
                <a:cubicBezTo>
                  <a:pt x="289" y="256"/>
                  <a:pt x="290" y="259"/>
                  <a:pt x="288" y="324"/>
                </a:cubicBezTo>
                <a:cubicBezTo>
                  <a:pt x="288" y="356"/>
                  <a:pt x="289" y="367"/>
                  <a:pt x="297" y="401"/>
                </a:cubicBezTo>
                <a:cubicBezTo>
                  <a:pt x="299" y="409"/>
                  <a:pt x="299" y="416"/>
                  <a:pt x="298" y="417"/>
                </a:cubicBezTo>
                <a:cubicBezTo>
                  <a:pt x="296" y="418"/>
                  <a:pt x="271" y="419"/>
                  <a:pt x="241" y="419"/>
                </a:cubicBezTo>
                <a:cubicBezTo>
                  <a:pt x="211" y="419"/>
                  <a:pt x="163" y="421"/>
                  <a:pt x="133" y="422"/>
                </a:cubicBezTo>
                <a:cubicBezTo>
                  <a:pt x="86" y="424"/>
                  <a:pt x="78" y="425"/>
                  <a:pt x="72" y="433"/>
                </a:cubicBezTo>
                <a:cubicBezTo>
                  <a:pt x="63" y="443"/>
                  <a:pt x="63" y="442"/>
                  <a:pt x="75" y="470"/>
                </a:cubicBezTo>
                <a:cubicBezTo>
                  <a:pt x="80" y="483"/>
                  <a:pt x="85" y="499"/>
                  <a:pt x="87" y="505"/>
                </a:cubicBezTo>
                <a:cubicBezTo>
                  <a:pt x="89" y="516"/>
                  <a:pt x="89" y="516"/>
                  <a:pt x="89" y="516"/>
                </a:cubicBezTo>
                <a:cubicBezTo>
                  <a:pt x="61" y="516"/>
                  <a:pt x="61" y="516"/>
                  <a:pt x="61" y="516"/>
                </a:cubicBezTo>
                <a:cubicBezTo>
                  <a:pt x="40" y="516"/>
                  <a:pt x="32" y="514"/>
                  <a:pt x="31" y="509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8" name="Freeform 68"/>
          <p:cNvSpPr/>
          <p:nvPr userDrawn="1">
            <p:custDataLst>
              <p:tags r:id="rId109"/>
            </p:custDataLst>
          </p:nvPr>
        </p:nvSpPr>
        <p:spPr bwMode="black">
          <a:xfrm>
            <a:off x="3449006" y="3308241"/>
            <a:ext cx="560388" cy="527050"/>
          </a:xfrm>
          <a:custGeom>
            <a:gdLst>
              <a:gd name="T0" fmla="*/ 29 w 390"/>
              <a:gd name="T1" fmla="*/ 337 h 367"/>
              <a:gd name="T2" fmla="*/ 28 w 390"/>
              <a:gd name="T3" fmla="*/ 307 h 367"/>
              <a:gd name="T4" fmla="*/ 15 w 390"/>
              <a:gd name="T5" fmla="*/ 303 h 367"/>
              <a:gd name="T6" fmla="*/ 3 w 390"/>
              <a:gd name="T7" fmla="*/ 191 h 367"/>
              <a:gd name="T8" fmla="*/ 3 w 390"/>
              <a:gd name="T9" fmla="*/ 55 h 367"/>
              <a:gd name="T10" fmla="*/ 3 w 390"/>
              <a:gd name="T11" fmla="*/ 0 h 367"/>
              <a:gd name="T12" fmla="*/ 179 w 390"/>
              <a:gd name="T13" fmla="*/ 2 h 367"/>
              <a:gd name="T14" fmla="*/ 357 w 390"/>
              <a:gd name="T15" fmla="*/ 6 h 367"/>
              <a:gd name="T16" fmla="*/ 354 w 390"/>
              <a:gd name="T17" fmla="*/ 27 h 367"/>
              <a:gd name="T18" fmla="*/ 373 w 390"/>
              <a:gd name="T19" fmla="*/ 56 h 367"/>
              <a:gd name="T20" fmla="*/ 390 w 390"/>
              <a:gd name="T21" fmla="*/ 65 h 367"/>
              <a:gd name="T22" fmla="*/ 377 w 390"/>
              <a:gd name="T23" fmla="*/ 92 h 367"/>
              <a:gd name="T24" fmla="*/ 359 w 390"/>
              <a:gd name="T25" fmla="*/ 135 h 367"/>
              <a:gd name="T26" fmla="*/ 338 w 390"/>
              <a:gd name="T27" fmla="*/ 173 h 367"/>
              <a:gd name="T28" fmla="*/ 320 w 390"/>
              <a:gd name="T29" fmla="*/ 209 h 367"/>
              <a:gd name="T30" fmla="*/ 302 w 390"/>
              <a:gd name="T31" fmla="*/ 247 h 367"/>
              <a:gd name="T32" fmla="*/ 274 w 390"/>
              <a:gd name="T33" fmla="*/ 335 h 367"/>
              <a:gd name="T34" fmla="*/ 274 w 390"/>
              <a:gd name="T35" fmla="*/ 367 h 367"/>
              <a:gd name="T36" fmla="*/ 152 w 390"/>
              <a:gd name="T37" fmla="*/ 367 h 367"/>
              <a:gd name="T38" fmla="*/ 30 w 390"/>
              <a:gd name="T39" fmla="*/ 367 h 367"/>
              <a:gd name="T40" fmla="*/ 29 w 390"/>
              <a:gd name="T41" fmla="*/ 337 h 36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90" h="367">
                <a:moveTo>
                  <a:pt x="29" y="337"/>
                </a:moveTo>
                <a:cubicBezTo>
                  <a:pt x="28" y="307"/>
                  <a:pt x="28" y="307"/>
                  <a:pt x="28" y="307"/>
                </a:cubicBezTo>
                <a:cubicBezTo>
                  <a:pt x="15" y="303"/>
                  <a:pt x="15" y="303"/>
                  <a:pt x="15" y="303"/>
                </a:cubicBezTo>
                <a:cubicBezTo>
                  <a:pt x="0" y="299"/>
                  <a:pt x="1" y="308"/>
                  <a:pt x="3" y="191"/>
                </a:cubicBezTo>
                <a:cubicBezTo>
                  <a:pt x="3" y="147"/>
                  <a:pt x="3" y="86"/>
                  <a:pt x="3" y="55"/>
                </a:cubicBezTo>
                <a:cubicBezTo>
                  <a:pt x="3" y="0"/>
                  <a:pt x="3" y="0"/>
                  <a:pt x="3" y="0"/>
                </a:cubicBezTo>
                <a:cubicBezTo>
                  <a:pt x="179" y="2"/>
                  <a:pt x="179" y="2"/>
                  <a:pt x="179" y="2"/>
                </a:cubicBezTo>
                <a:cubicBezTo>
                  <a:pt x="275" y="3"/>
                  <a:pt x="356" y="5"/>
                  <a:pt x="357" y="6"/>
                </a:cubicBezTo>
                <a:cubicBezTo>
                  <a:pt x="358" y="7"/>
                  <a:pt x="357" y="17"/>
                  <a:pt x="354" y="27"/>
                </a:cubicBezTo>
                <a:cubicBezTo>
                  <a:pt x="348" y="48"/>
                  <a:pt x="349" y="49"/>
                  <a:pt x="373" y="56"/>
                </a:cubicBezTo>
                <a:cubicBezTo>
                  <a:pt x="382" y="59"/>
                  <a:pt x="390" y="63"/>
                  <a:pt x="390" y="65"/>
                </a:cubicBezTo>
                <a:cubicBezTo>
                  <a:pt x="390" y="67"/>
                  <a:pt x="384" y="80"/>
                  <a:pt x="377" y="92"/>
                </a:cubicBezTo>
                <a:cubicBezTo>
                  <a:pt x="369" y="105"/>
                  <a:pt x="361" y="124"/>
                  <a:pt x="359" y="135"/>
                </a:cubicBezTo>
                <a:cubicBezTo>
                  <a:pt x="355" y="148"/>
                  <a:pt x="348" y="161"/>
                  <a:pt x="338" y="173"/>
                </a:cubicBezTo>
                <a:cubicBezTo>
                  <a:pt x="327" y="185"/>
                  <a:pt x="322" y="196"/>
                  <a:pt x="320" y="209"/>
                </a:cubicBezTo>
                <a:cubicBezTo>
                  <a:pt x="318" y="220"/>
                  <a:pt x="312" y="234"/>
                  <a:pt x="302" y="247"/>
                </a:cubicBezTo>
                <a:cubicBezTo>
                  <a:pt x="280" y="276"/>
                  <a:pt x="273" y="297"/>
                  <a:pt x="274" y="335"/>
                </a:cubicBezTo>
                <a:cubicBezTo>
                  <a:pt x="274" y="367"/>
                  <a:pt x="274" y="367"/>
                  <a:pt x="274" y="367"/>
                </a:cubicBezTo>
                <a:cubicBezTo>
                  <a:pt x="152" y="367"/>
                  <a:pt x="152" y="367"/>
                  <a:pt x="152" y="367"/>
                </a:cubicBezTo>
                <a:cubicBezTo>
                  <a:pt x="30" y="367"/>
                  <a:pt x="30" y="367"/>
                  <a:pt x="30" y="367"/>
                </a:cubicBezTo>
                <a:lnTo>
                  <a:pt x="29" y="337"/>
                </a:ln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9" name="Freeform 69"/>
          <p:cNvSpPr/>
          <p:nvPr userDrawn="1">
            <p:custDataLst>
              <p:tags r:id="rId110"/>
            </p:custDataLst>
          </p:nvPr>
        </p:nvSpPr>
        <p:spPr bwMode="black">
          <a:xfrm>
            <a:off x="870905" y="2849453"/>
            <a:ext cx="858838" cy="1004888"/>
          </a:xfrm>
          <a:custGeom>
            <a:gdLst>
              <a:gd name="T0" fmla="*/ 410 w 597"/>
              <a:gd name="T1" fmla="*/ 687 h 699"/>
              <a:gd name="T2" fmla="*/ 356 w 597"/>
              <a:gd name="T3" fmla="*/ 674 h 699"/>
              <a:gd name="T4" fmla="*/ 320 w 597"/>
              <a:gd name="T5" fmla="*/ 660 h 699"/>
              <a:gd name="T6" fmla="*/ 278 w 597"/>
              <a:gd name="T7" fmla="*/ 635 h 699"/>
              <a:gd name="T8" fmla="*/ 244 w 597"/>
              <a:gd name="T9" fmla="*/ 606 h 699"/>
              <a:gd name="T10" fmla="*/ 200 w 597"/>
              <a:gd name="T11" fmla="*/ 575 h 699"/>
              <a:gd name="T12" fmla="*/ 42 w 597"/>
              <a:gd name="T13" fmla="*/ 464 h 699"/>
              <a:gd name="T14" fmla="*/ 50 w 597"/>
              <a:gd name="T15" fmla="*/ 443 h 699"/>
              <a:gd name="T16" fmla="*/ 4 w 597"/>
              <a:gd name="T17" fmla="*/ 428 h 699"/>
              <a:gd name="T18" fmla="*/ 36 w 597"/>
              <a:gd name="T19" fmla="*/ 412 h 699"/>
              <a:gd name="T20" fmla="*/ 58 w 597"/>
              <a:gd name="T21" fmla="*/ 390 h 699"/>
              <a:gd name="T22" fmla="*/ 50 w 597"/>
              <a:gd name="T23" fmla="*/ 370 h 699"/>
              <a:gd name="T24" fmla="*/ 56 w 597"/>
              <a:gd name="T25" fmla="*/ 333 h 699"/>
              <a:gd name="T26" fmla="*/ 78 w 597"/>
              <a:gd name="T27" fmla="*/ 303 h 699"/>
              <a:gd name="T28" fmla="*/ 93 w 597"/>
              <a:gd name="T29" fmla="*/ 288 h 699"/>
              <a:gd name="T30" fmla="*/ 112 w 597"/>
              <a:gd name="T31" fmla="*/ 276 h 699"/>
              <a:gd name="T32" fmla="*/ 123 w 597"/>
              <a:gd name="T33" fmla="*/ 264 h 699"/>
              <a:gd name="T34" fmla="*/ 114 w 597"/>
              <a:gd name="T35" fmla="*/ 247 h 699"/>
              <a:gd name="T36" fmla="*/ 104 w 597"/>
              <a:gd name="T37" fmla="*/ 195 h 699"/>
              <a:gd name="T38" fmla="*/ 107 w 597"/>
              <a:gd name="T39" fmla="*/ 160 h 699"/>
              <a:gd name="T40" fmla="*/ 112 w 597"/>
              <a:gd name="T41" fmla="*/ 125 h 699"/>
              <a:gd name="T42" fmla="*/ 123 w 597"/>
              <a:gd name="T43" fmla="*/ 78 h 699"/>
              <a:gd name="T44" fmla="*/ 154 w 597"/>
              <a:gd name="T45" fmla="*/ 70 h 699"/>
              <a:gd name="T46" fmla="*/ 177 w 597"/>
              <a:gd name="T47" fmla="*/ 72 h 699"/>
              <a:gd name="T48" fmla="*/ 190 w 597"/>
              <a:gd name="T49" fmla="*/ 38 h 699"/>
              <a:gd name="T50" fmla="*/ 206 w 597"/>
              <a:gd name="T51" fmla="*/ 2 h 699"/>
              <a:gd name="T52" fmla="*/ 594 w 597"/>
              <a:gd name="T53" fmla="*/ 97 h 699"/>
              <a:gd name="T54" fmla="*/ 594 w 597"/>
              <a:gd name="T55" fmla="*/ 109 h 699"/>
              <a:gd name="T56" fmla="*/ 589 w 597"/>
              <a:gd name="T57" fmla="*/ 130 h 699"/>
              <a:gd name="T58" fmla="*/ 558 w 597"/>
              <a:gd name="T59" fmla="*/ 266 h 699"/>
              <a:gd name="T60" fmla="*/ 528 w 597"/>
              <a:gd name="T61" fmla="*/ 398 h 699"/>
              <a:gd name="T62" fmla="*/ 510 w 597"/>
              <a:gd name="T63" fmla="*/ 478 h 699"/>
              <a:gd name="T64" fmla="*/ 479 w 597"/>
              <a:gd name="T65" fmla="*/ 617 h 699"/>
              <a:gd name="T66" fmla="*/ 410 w 597"/>
              <a:gd name="T67" fmla="*/ 687 h 69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97" h="699">
                <a:moveTo>
                  <a:pt x="410" y="687"/>
                </a:moveTo>
                <a:cubicBezTo>
                  <a:pt x="390" y="683"/>
                  <a:pt x="367" y="677"/>
                  <a:pt x="356" y="674"/>
                </a:cubicBezTo>
                <a:cubicBezTo>
                  <a:pt x="344" y="670"/>
                  <a:pt x="328" y="660"/>
                  <a:pt x="320" y="660"/>
                </a:cubicBezTo>
                <a:cubicBezTo>
                  <a:pt x="307" y="660"/>
                  <a:pt x="299" y="652"/>
                  <a:pt x="278" y="635"/>
                </a:cubicBezTo>
                <a:cubicBezTo>
                  <a:pt x="264" y="623"/>
                  <a:pt x="249" y="610"/>
                  <a:pt x="244" y="606"/>
                </a:cubicBezTo>
                <a:cubicBezTo>
                  <a:pt x="240" y="602"/>
                  <a:pt x="220" y="588"/>
                  <a:pt x="200" y="575"/>
                </a:cubicBezTo>
                <a:cubicBezTo>
                  <a:pt x="157" y="545"/>
                  <a:pt x="62" y="481"/>
                  <a:pt x="42" y="464"/>
                </a:cubicBezTo>
                <a:cubicBezTo>
                  <a:pt x="34" y="457"/>
                  <a:pt x="58" y="447"/>
                  <a:pt x="50" y="443"/>
                </a:cubicBezTo>
                <a:cubicBezTo>
                  <a:pt x="35" y="437"/>
                  <a:pt x="0" y="434"/>
                  <a:pt x="4" y="428"/>
                </a:cubicBezTo>
                <a:cubicBezTo>
                  <a:pt x="5" y="426"/>
                  <a:pt x="24" y="417"/>
                  <a:pt x="36" y="412"/>
                </a:cubicBezTo>
                <a:cubicBezTo>
                  <a:pt x="56" y="403"/>
                  <a:pt x="58" y="402"/>
                  <a:pt x="58" y="390"/>
                </a:cubicBezTo>
                <a:cubicBezTo>
                  <a:pt x="58" y="382"/>
                  <a:pt x="55" y="374"/>
                  <a:pt x="50" y="370"/>
                </a:cubicBezTo>
                <a:cubicBezTo>
                  <a:pt x="39" y="359"/>
                  <a:pt x="40" y="350"/>
                  <a:pt x="56" y="333"/>
                </a:cubicBezTo>
                <a:cubicBezTo>
                  <a:pt x="64" y="325"/>
                  <a:pt x="74" y="312"/>
                  <a:pt x="78" y="303"/>
                </a:cubicBezTo>
                <a:cubicBezTo>
                  <a:pt x="83" y="294"/>
                  <a:pt x="89" y="288"/>
                  <a:pt x="93" y="288"/>
                </a:cubicBezTo>
                <a:cubicBezTo>
                  <a:pt x="97" y="288"/>
                  <a:pt x="106" y="282"/>
                  <a:pt x="112" y="276"/>
                </a:cubicBezTo>
                <a:cubicBezTo>
                  <a:pt x="123" y="264"/>
                  <a:pt x="123" y="264"/>
                  <a:pt x="123" y="264"/>
                </a:cubicBezTo>
                <a:cubicBezTo>
                  <a:pt x="114" y="247"/>
                  <a:pt x="114" y="247"/>
                  <a:pt x="114" y="247"/>
                </a:cubicBezTo>
                <a:cubicBezTo>
                  <a:pt x="106" y="233"/>
                  <a:pt x="104" y="223"/>
                  <a:pt x="104" y="195"/>
                </a:cubicBezTo>
                <a:cubicBezTo>
                  <a:pt x="104" y="175"/>
                  <a:pt x="105" y="160"/>
                  <a:pt x="107" y="160"/>
                </a:cubicBezTo>
                <a:cubicBezTo>
                  <a:pt x="108" y="160"/>
                  <a:pt x="110" y="144"/>
                  <a:pt x="112" y="125"/>
                </a:cubicBezTo>
                <a:cubicBezTo>
                  <a:pt x="114" y="100"/>
                  <a:pt x="117" y="86"/>
                  <a:pt x="123" y="78"/>
                </a:cubicBezTo>
                <a:cubicBezTo>
                  <a:pt x="130" y="68"/>
                  <a:pt x="132" y="68"/>
                  <a:pt x="154" y="70"/>
                </a:cubicBezTo>
                <a:cubicBezTo>
                  <a:pt x="177" y="72"/>
                  <a:pt x="177" y="72"/>
                  <a:pt x="177" y="72"/>
                </a:cubicBezTo>
                <a:cubicBezTo>
                  <a:pt x="190" y="38"/>
                  <a:pt x="190" y="38"/>
                  <a:pt x="190" y="38"/>
                </a:cubicBezTo>
                <a:cubicBezTo>
                  <a:pt x="197" y="19"/>
                  <a:pt x="204" y="3"/>
                  <a:pt x="206" y="2"/>
                </a:cubicBezTo>
                <a:cubicBezTo>
                  <a:pt x="209" y="0"/>
                  <a:pt x="587" y="93"/>
                  <a:pt x="594" y="97"/>
                </a:cubicBezTo>
                <a:cubicBezTo>
                  <a:pt x="596" y="99"/>
                  <a:pt x="597" y="103"/>
                  <a:pt x="594" y="109"/>
                </a:cubicBezTo>
                <a:cubicBezTo>
                  <a:pt x="592" y="114"/>
                  <a:pt x="590" y="124"/>
                  <a:pt x="589" y="130"/>
                </a:cubicBezTo>
                <a:cubicBezTo>
                  <a:pt x="588" y="136"/>
                  <a:pt x="574" y="197"/>
                  <a:pt x="558" y="266"/>
                </a:cubicBezTo>
                <a:cubicBezTo>
                  <a:pt x="543" y="334"/>
                  <a:pt x="529" y="393"/>
                  <a:pt x="528" y="398"/>
                </a:cubicBezTo>
                <a:cubicBezTo>
                  <a:pt x="528" y="402"/>
                  <a:pt x="519" y="438"/>
                  <a:pt x="510" y="478"/>
                </a:cubicBezTo>
                <a:cubicBezTo>
                  <a:pt x="501" y="517"/>
                  <a:pt x="487" y="580"/>
                  <a:pt x="479" y="617"/>
                </a:cubicBezTo>
                <a:cubicBezTo>
                  <a:pt x="462" y="693"/>
                  <a:pt x="467" y="699"/>
                  <a:pt x="410" y="687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10" name="Freeform 70"/>
          <p:cNvSpPr/>
          <p:nvPr userDrawn="1">
            <p:custDataLst>
              <p:tags r:id="rId111"/>
            </p:custDataLst>
          </p:nvPr>
        </p:nvSpPr>
        <p:spPr bwMode="black">
          <a:xfrm>
            <a:off x="166055" y="1719153"/>
            <a:ext cx="860425" cy="1746251"/>
          </a:xfrm>
          <a:custGeom>
            <a:gdLst>
              <a:gd name="T0" fmla="*/ 477 w 599"/>
              <a:gd name="T1" fmla="*/ 1211 h 1215"/>
              <a:gd name="T2" fmla="*/ 324 w 599"/>
              <a:gd name="T3" fmla="*/ 1182 h 1215"/>
              <a:gd name="T4" fmla="*/ 295 w 599"/>
              <a:gd name="T5" fmla="*/ 1095 h 1215"/>
              <a:gd name="T6" fmla="*/ 279 w 599"/>
              <a:gd name="T7" fmla="*/ 1030 h 1215"/>
              <a:gd name="T8" fmla="*/ 249 w 599"/>
              <a:gd name="T9" fmla="*/ 995 h 1215"/>
              <a:gd name="T10" fmla="*/ 229 w 599"/>
              <a:gd name="T11" fmla="*/ 974 h 1215"/>
              <a:gd name="T12" fmla="*/ 209 w 599"/>
              <a:gd name="T13" fmla="*/ 951 h 1215"/>
              <a:gd name="T14" fmla="*/ 181 w 599"/>
              <a:gd name="T15" fmla="*/ 919 h 1215"/>
              <a:gd name="T16" fmla="*/ 135 w 599"/>
              <a:gd name="T17" fmla="*/ 883 h 1215"/>
              <a:gd name="T18" fmla="*/ 87 w 599"/>
              <a:gd name="T19" fmla="*/ 851 h 1215"/>
              <a:gd name="T20" fmla="*/ 88 w 599"/>
              <a:gd name="T21" fmla="*/ 806 h 1215"/>
              <a:gd name="T22" fmla="*/ 81 w 599"/>
              <a:gd name="T23" fmla="*/ 731 h 1215"/>
              <a:gd name="T24" fmla="*/ 69 w 599"/>
              <a:gd name="T25" fmla="*/ 678 h 1215"/>
              <a:gd name="T26" fmla="*/ 56 w 599"/>
              <a:gd name="T27" fmla="*/ 646 h 1215"/>
              <a:gd name="T28" fmla="*/ 51 w 599"/>
              <a:gd name="T29" fmla="*/ 605 h 1215"/>
              <a:gd name="T30" fmla="*/ 50 w 599"/>
              <a:gd name="T31" fmla="*/ 538 h 1215"/>
              <a:gd name="T32" fmla="*/ 43 w 599"/>
              <a:gd name="T33" fmla="*/ 506 h 1215"/>
              <a:gd name="T34" fmla="*/ 54 w 599"/>
              <a:gd name="T35" fmla="*/ 477 h 1215"/>
              <a:gd name="T36" fmla="*/ 42 w 599"/>
              <a:gd name="T37" fmla="*/ 432 h 1215"/>
              <a:gd name="T38" fmla="*/ 27 w 599"/>
              <a:gd name="T39" fmla="*/ 400 h 1215"/>
              <a:gd name="T40" fmla="*/ 18 w 599"/>
              <a:gd name="T41" fmla="*/ 361 h 1215"/>
              <a:gd name="T42" fmla="*/ 5 w 599"/>
              <a:gd name="T43" fmla="*/ 319 h 1215"/>
              <a:gd name="T44" fmla="*/ 14 w 599"/>
              <a:gd name="T45" fmla="*/ 252 h 1215"/>
              <a:gd name="T46" fmla="*/ 28 w 599"/>
              <a:gd name="T47" fmla="*/ 207 h 1215"/>
              <a:gd name="T48" fmla="*/ 18 w 599"/>
              <a:gd name="T49" fmla="*/ 182 h 1215"/>
              <a:gd name="T50" fmla="*/ 15 w 599"/>
              <a:gd name="T51" fmla="*/ 142 h 1215"/>
              <a:gd name="T52" fmla="*/ 32 w 599"/>
              <a:gd name="T53" fmla="*/ 115 h 1215"/>
              <a:gd name="T54" fmla="*/ 63 w 599"/>
              <a:gd name="T55" fmla="*/ 72 h 1215"/>
              <a:gd name="T56" fmla="*/ 86 w 599"/>
              <a:gd name="T57" fmla="*/ 19 h 1215"/>
              <a:gd name="T58" fmla="*/ 91 w 599"/>
              <a:gd name="T59" fmla="*/ 1 h 1215"/>
              <a:gd name="T60" fmla="*/ 273 w 599"/>
              <a:gd name="T61" fmla="*/ 67 h 1215"/>
              <a:gd name="T62" fmla="*/ 356 w 599"/>
              <a:gd name="T63" fmla="*/ 97 h 1215"/>
              <a:gd name="T64" fmla="*/ 392 w 599"/>
              <a:gd name="T65" fmla="*/ 122 h 1215"/>
              <a:gd name="T66" fmla="*/ 369 w 599"/>
              <a:gd name="T67" fmla="*/ 187 h 1215"/>
              <a:gd name="T68" fmla="*/ 329 w 599"/>
              <a:gd name="T69" fmla="*/ 299 h 1215"/>
              <a:gd name="T70" fmla="*/ 301 w 599"/>
              <a:gd name="T71" fmla="*/ 380 h 1215"/>
              <a:gd name="T72" fmla="*/ 300 w 599"/>
              <a:gd name="T73" fmla="*/ 440 h 1215"/>
              <a:gd name="T74" fmla="*/ 326 w 599"/>
              <a:gd name="T75" fmla="*/ 487 h 1215"/>
              <a:gd name="T76" fmla="*/ 578 w 599"/>
              <a:gd name="T77" fmla="*/ 958 h 1215"/>
              <a:gd name="T78" fmla="*/ 582 w 599"/>
              <a:gd name="T79" fmla="*/ 990 h 1215"/>
              <a:gd name="T80" fmla="*/ 589 w 599"/>
              <a:gd name="T81" fmla="*/ 1034 h 1215"/>
              <a:gd name="T82" fmla="*/ 580 w 599"/>
              <a:gd name="T83" fmla="*/ 1062 h 1215"/>
              <a:gd name="T84" fmla="*/ 558 w 599"/>
              <a:gd name="T85" fmla="*/ 1083 h 1215"/>
              <a:gd name="T86" fmla="*/ 535 w 599"/>
              <a:gd name="T87" fmla="*/ 1115 h 1215"/>
              <a:gd name="T88" fmla="*/ 529 w 599"/>
              <a:gd name="T89" fmla="*/ 1163 h 1215"/>
              <a:gd name="T90" fmla="*/ 516 w 599"/>
              <a:gd name="T91" fmla="*/ 1189 h 1215"/>
              <a:gd name="T92" fmla="*/ 477 w 599"/>
              <a:gd name="T93" fmla="*/ 1211 h 1215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99" h="1215">
                <a:moveTo>
                  <a:pt x="477" y="1211"/>
                </a:moveTo>
                <a:cubicBezTo>
                  <a:pt x="470" y="1207"/>
                  <a:pt x="375" y="1194"/>
                  <a:pt x="324" y="1182"/>
                </a:cubicBezTo>
                <a:cubicBezTo>
                  <a:pt x="288" y="1174"/>
                  <a:pt x="297" y="1147"/>
                  <a:pt x="295" y="1095"/>
                </a:cubicBezTo>
                <a:cubicBezTo>
                  <a:pt x="294" y="1056"/>
                  <a:pt x="293" y="1053"/>
                  <a:pt x="279" y="1030"/>
                </a:cubicBezTo>
                <a:cubicBezTo>
                  <a:pt x="271" y="1017"/>
                  <a:pt x="257" y="1001"/>
                  <a:pt x="249" y="995"/>
                </a:cubicBezTo>
                <a:cubicBezTo>
                  <a:pt x="240" y="989"/>
                  <a:pt x="231" y="980"/>
                  <a:pt x="229" y="974"/>
                </a:cubicBezTo>
                <a:cubicBezTo>
                  <a:pt x="226" y="968"/>
                  <a:pt x="218" y="957"/>
                  <a:pt x="209" y="951"/>
                </a:cubicBezTo>
                <a:cubicBezTo>
                  <a:pt x="201" y="944"/>
                  <a:pt x="188" y="930"/>
                  <a:pt x="181" y="919"/>
                </a:cubicBezTo>
                <a:cubicBezTo>
                  <a:pt x="167" y="898"/>
                  <a:pt x="147" y="883"/>
                  <a:pt x="135" y="883"/>
                </a:cubicBezTo>
                <a:cubicBezTo>
                  <a:pt x="123" y="883"/>
                  <a:pt x="99" y="866"/>
                  <a:pt x="87" y="851"/>
                </a:cubicBezTo>
                <a:cubicBezTo>
                  <a:pt x="76" y="836"/>
                  <a:pt x="76" y="818"/>
                  <a:pt x="88" y="806"/>
                </a:cubicBezTo>
                <a:cubicBezTo>
                  <a:pt x="97" y="796"/>
                  <a:pt x="95" y="779"/>
                  <a:pt x="81" y="731"/>
                </a:cubicBezTo>
                <a:cubicBezTo>
                  <a:pt x="75" y="707"/>
                  <a:pt x="69" y="684"/>
                  <a:pt x="69" y="678"/>
                </a:cubicBezTo>
                <a:cubicBezTo>
                  <a:pt x="69" y="673"/>
                  <a:pt x="63" y="658"/>
                  <a:pt x="56" y="646"/>
                </a:cubicBezTo>
                <a:cubicBezTo>
                  <a:pt x="41" y="621"/>
                  <a:pt x="41" y="620"/>
                  <a:pt x="51" y="605"/>
                </a:cubicBezTo>
                <a:cubicBezTo>
                  <a:pt x="63" y="588"/>
                  <a:pt x="62" y="555"/>
                  <a:pt x="50" y="538"/>
                </a:cubicBezTo>
                <a:cubicBezTo>
                  <a:pt x="42" y="528"/>
                  <a:pt x="41" y="523"/>
                  <a:pt x="43" y="506"/>
                </a:cubicBezTo>
                <a:cubicBezTo>
                  <a:pt x="45" y="496"/>
                  <a:pt x="49" y="482"/>
                  <a:pt x="54" y="477"/>
                </a:cubicBezTo>
                <a:cubicBezTo>
                  <a:pt x="64" y="463"/>
                  <a:pt x="61" y="447"/>
                  <a:pt x="42" y="432"/>
                </a:cubicBezTo>
                <a:cubicBezTo>
                  <a:pt x="29" y="420"/>
                  <a:pt x="27" y="416"/>
                  <a:pt x="27" y="400"/>
                </a:cubicBezTo>
                <a:cubicBezTo>
                  <a:pt x="27" y="389"/>
                  <a:pt x="23" y="372"/>
                  <a:pt x="18" y="361"/>
                </a:cubicBezTo>
                <a:cubicBezTo>
                  <a:pt x="13" y="351"/>
                  <a:pt x="7" y="332"/>
                  <a:pt x="5" y="319"/>
                </a:cubicBezTo>
                <a:cubicBezTo>
                  <a:pt x="0" y="298"/>
                  <a:pt x="1" y="294"/>
                  <a:pt x="14" y="252"/>
                </a:cubicBezTo>
                <a:cubicBezTo>
                  <a:pt x="28" y="207"/>
                  <a:pt x="28" y="207"/>
                  <a:pt x="28" y="207"/>
                </a:cubicBezTo>
                <a:cubicBezTo>
                  <a:pt x="18" y="182"/>
                  <a:pt x="18" y="182"/>
                  <a:pt x="18" y="182"/>
                </a:cubicBezTo>
                <a:cubicBezTo>
                  <a:pt x="9" y="158"/>
                  <a:pt x="9" y="157"/>
                  <a:pt x="15" y="142"/>
                </a:cubicBezTo>
                <a:cubicBezTo>
                  <a:pt x="19" y="133"/>
                  <a:pt x="27" y="121"/>
                  <a:pt x="32" y="115"/>
                </a:cubicBezTo>
                <a:cubicBezTo>
                  <a:pt x="37" y="109"/>
                  <a:pt x="51" y="90"/>
                  <a:pt x="63" y="72"/>
                </a:cubicBezTo>
                <a:cubicBezTo>
                  <a:pt x="82" y="44"/>
                  <a:pt x="85" y="36"/>
                  <a:pt x="86" y="19"/>
                </a:cubicBezTo>
                <a:cubicBezTo>
                  <a:pt x="86" y="6"/>
                  <a:pt x="88" y="0"/>
                  <a:pt x="91" y="1"/>
                </a:cubicBezTo>
                <a:cubicBezTo>
                  <a:pt x="96" y="2"/>
                  <a:pt x="207" y="42"/>
                  <a:pt x="273" y="67"/>
                </a:cubicBezTo>
                <a:cubicBezTo>
                  <a:pt x="296" y="75"/>
                  <a:pt x="333" y="89"/>
                  <a:pt x="356" y="97"/>
                </a:cubicBezTo>
                <a:cubicBezTo>
                  <a:pt x="396" y="111"/>
                  <a:pt x="397" y="112"/>
                  <a:pt x="392" y="122"/>
                </a:cubicBezTo>
                <a:cubicBezTo>
                  <a:pt x="390" y="128"/>
                  <a:pt x="380" y="157"/>
                  <a:pt x="369" y="187"/>
                </a:cubicBezTo>
                <a:cubicBezTo>
                  <a:pt x="359" y="216"/>
                  <a:pt x="341" y="267"/>
                  <a:pt x="329" y="299"/>
                </a:cubicBezTo>
                <a:cubicBezTo>
                  <a:pt x="318" y="330"/>
                  <a:pt x="305" y="367"/>
                  <a:pt x="301" y="380"/>
                </a:cubicBezTo>
                <a:cubicBezTo>
                  <a:pt x="293" y="403"/>
                  <a:pt x="292" y="430"/>
                  <a:pt x="300" y="440"/>
                </a:cubicBezTo>
                <a:cubicBezTo>
                  <a:pt x="302" y="443"/>
                  <a:pt x="314" y="463"/>
                  <a:pt x="326" y="487"/>
                </a:cubicBezTo>
                <a:cubicBezTo>
                  <a:pt x="399" y="625"/>
                  <a:pt x="575" y="953"/>
                  <a:pt x="578" y="958"/>
                </a:cubicBezTo>
                <a:cubicBezTo>
                  <a:pt x="581" y="961"/>
                  <a:pt x="582" y="975"/>
                  <a:pt x="582" y="990"/>
                </a:cubicBezTo>
                <a:cubicBezTo>
                  <a:pt x="581" y="1012"/>
                  <a:pt x="583" y="1022"/>
                  <a:pt x="589" y="1034"/>
                </a:cubicBezTo>
                <a:cubicBezTo>
                  <a:pt x="599" y="1053"/>
                  <a:pt x="597" y="1057"/>
                  <a:pt x="580" y="1062"/>
                </a:cubicBezTo>
                <a:cubicBezTo>
                  <a:pt x="570" y="1064"/>
                  <a:pt x="565" y="1069"/>
                  <a:pt x="558" y="1083"/>
                </a:cubicBezTo>
                <a:cubicBezTo>
                  <a:pt x="553" y="1093"/>
                  <a:pt x="542" y="1107"/>
                  <a:pt x="535" y="1115"/>
                </a:cubicBezTo>
                <a:cubicBezTo>
                  <a:pt x="519" y="1131"/>
                  <a:pt x="517" y="1150"/>
                  <a:pt x="529" y="1163"/>
                </a:cubicBezTo>
                <a:cubicBezTo>
                  <a:pt x="541" y="1176"/>
                  <a:pt x="539" y="1180"/>
                  <a:pt x="516" y="1189"/>
                </a:cubicBezTo>
                <a:cubicBezTo>
                  <a:pt x="486" y="1202"/>
                  <a:pt x="484" y="1215"/>
                  <a:pt x="477" y="1211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11" name="Freeform 71"/>
          <p:cNvSpPr/>
          <p:nvPr userDrawn="1">
            <p:custDataLst>
              <p:tags r:id="rId112"/>
            </p:custDataLst>
          </p:nvPr>
        </p:nvSpPr>
        <p:spPr bwMode="black">
          <a:xfrm>
            <a:off x="432755" y="3243153"/>
            <a:ext cx="49213" cy="28575"/>
          </a:xfrm>
          <a:custGeom>
            <a:gdLst>
              <a:gd name="T0" fmla="*/ 12 w 34"/>
              <a:gd name="T1" fmla="*/ 16 h 20"/>
              <a:gd name="T2" fmla="*/ 21 w 34"/>
              <a:gd name="T3" fmla="*/ 3 h 20"/>
              <a:gd name="T4" fmla="*/ 26 w 34"/>
              <a:gd name="T5" fmla="*/ 17 h 20"/>
              <a:gd name="T6" fmla="*/ 12 w 34"/>
              <a:gd name="T7" fmla="*/ 16 h 2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4" h="20">
                <a:moveTo>
                  <a:pt x="12" y="16"/>
                </a:moveTo>
                <a:cubicBezTo>
                  <a:pt x="0" y="10"/>
                  <a:pt x="6" y="0"/>
                  <a:pt x="21" y="3"/>
                </a:cubicBezTo>
                <a:cubicBezTo>
                  <a:pt x="32" y="6"/>
                  <a:pt x="34" y="10"/>
                  <a:pt x="26" y="17"/>
                </a:cubicBezTo>
                <a:cubicBezTo>
                  <a:pt x="23" y="20"/>
                  <a:pt x="18" y="19"/>
                  <a:pt x="12" y="16"/>
                </a:cubicBezTo>
                <a:close/>
              </a:path>
            </a:pathLst>
          </a:custGeom>
          <a:solidFill>
            <a:srgbClr val="0044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Freeform 72"/>
          <p:cNvSpPr/>
          <p:nvPr userDrawn="1">
            <p:custDataLst>
              <p:tags r:id="rId113"/>
            </p:custDataLst>
          </p:nvPr>
        </p:nvSpPr>
        <p:spPr bwMode="auto">
          <a:xfrm>
            <a:off x="459743" y="3171716"/>
            <a:ext cx="30163" cy="30163"/>
          </a:xfrm>
          <a:custGeom>
            <a:gdLst>
              <a:gd name="T0" fmla="*/ 6 w 21"/>
              <a:gd name="T1" fmla="*/ 14 h 21"/>
              <a:gd name="T2" fmla="*/ 6 w 21"/>
              <a:gd name="T3" fmla="*/ 0 h 21"/>
              <a:gd name="T4" fmla="*/ 21 w 21"/>
              <a:gd name="T5" fmla="*/ 14 h 21"/>
              <a:gd name="T6" fmla="*/ 6 w 21"/>
              <a:gd name="T7" fmla="*/ 14 h 21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" h="21">
                <a:moveTo>
                  <a:pt x="6" y="14"/>
                </a:moveTo>
                <a:cubicBezTo>
                  <a:pt x="0" y="6"/>
                  <a:pt x="0" y="0"/>
                  <a:pt x="6" y="0"/>
                </a:cubicBezTo>
                <a:cubicBezTo>
                  <a:pt x="13" y="0"/>
                  <a:pt x="21" y="8"/>
                  <a:pt x="21" y="14"/>
                </a:cubicBezTo>
                <a:cubicBezTo>
                  <a:pt x="21" y="21"/>
                  <a:pt x="12" y="21"/>
                  <a:pt x="6" y="14"/>
                </a:cubicBezTo>
                <a:close/>
              </a:path>
            </a:pathLst>
          </a:custGeom>
          <a:solidFill>
            <a:srgbClr val="0044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Freeform 73"/>
          <p:cNvSpPr/>
          <p:nvPr userDrawn="1">
            <p:custDataLst>
              <p:tags r:id="rId114"/>
            </p:custDataLst>
          </p:nvPr>
        </p:nvSpPr>
        <p:spPr bwMode="black">
          <a:xfrm>
            <a:off x="293055" y="3022491"/>
            <a:ext cx="101600" cy="38100"/>
          </a:xfrm>
          <a:custGeom>
            <a:gdLst>
              <a:gd name="T0" fmla="*/ 36 w 70"/>
              <a:gd name="T1" fmla="*/ 24 h 27"/>
              <a:gd name="T2" fmla="*/ 0 w 70"/>
              <a:gd name="T3" fmla="*/ 3 h 27"/>
              <a:gd name="T4" fmla="*/ 22 w 70"/>
              <a:gd name="T5" fmla="*/ 0 h 27"/>
              <a:gd name="T6" fmla="*/ 57 w 70"/>
              <a:gd name="T7" fmla="*/ 9 h 27"/>
              <a:gd name="T8" fmla="*/ 70 w 70"/>
              <a:gd name="T9" fmla="*/ 22 h 27"/>
              <a:gd name="T10" fmla="*/ 36 w 70"/>
              <a:gd name="T11" fmla="*/ 24 h 2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0" h="27">
                <a:moveTo>
                  <a:pt x="36" y="24"/>
                </a:moveTo>
                <a:cubicBezTo>
                  <a:pt x="21" y="21"/>
                  <a:pt x="0" y="9"/>
                  <a:pt x="0" y="3"/>
                </a:cubicBezTo>
                <a:cubicBezTo>
                  <a:pt x="0" y="1"/>
                  <a:pt x="10" y="0"/>
                  <a:pt x="22" y="0"/>
                </a:cubicBezTo>
                <a:cubicBezTo>
                  <a:pt x="37" y="0"/>
                  <a:pt x="47" y="2"/>
                  <a:pt x="57" y="9"/>
                </a:cubicBezTo>
                <a:cubicBezTo>
                  <a:pt x="64" y="14"/>
                  <a:pt x="70" y="20"/>
                  <a:pt x="70" y="22"/>
                </a:cubicBezTo>
                <a:cubicBezTo>
                  <a:pt x="70" y="26"/>
                  <a:pt x="55" y="27"/>
                  <a:pt x="36" y="24"/>
                </a:cubicBezTo>
                <a:close/>
              </a:path>
            </a:pathLst>
          </a:custGeom>
          <a:solidFill>
            <a:srgbClr val="0044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Freeform 74"/>
          <p:cNvSpPr/>
          <p:nvPr userDrawn="1">
            <p:custDataLst>
              <p:tags r:id="rId115"/>
            </p:custDataLst>
          </p:nvPr>
        </p:nvSpPr>
        <p:spPr bwMode="black">
          <a:xfrm>
            <a:off x="1756731" y="2393840"/>
            <a:ext cx="881063" cy="728663"/>
          </a:xfrm>
          <a:custGeom>
            <a:gdLst>
              <a:gd name="T0" fmla="*/ 510 w 612"/>
              <a:gd name="T1" fmla="*/ 503 h 508"/>
              <a:gd name="T2" fmla="*/ 376 w 612"/>
              <a:gd name="T3" fmla="*/ 475 h 508"/>
              <a:gd name="T4" fmla="*/ 348 w 612"/>
              <a:gd name="T5" fmla="*/ 470 h 508"/>
              <a:gd name="T6" fmla="*/ 318 w 612"/>
              <a:gd name="T7" fmla="*/ 464 h 508"/>
              <a:gd name="T8" fmla="*/ 114 w 612"/>
              <a:gd name="T9" fmla="*/ 425 h 508"/>
              <a:gd name="T10" fmla="*/ 26 w 612"/>
              <a:gd name="T11" fmla="*/ 408 h 508"/>
              <a:gd name="T12" fmla="*/ 1 w 612"/>
              <a:gd name="T13" fmla="*/ 397 h 508"/>
              <a:gd name="T14" fmla="*/ 32 w 612"/>
              <a:gd name="T15" fmla="*/ 254 h 508"/>
              <a:gd name="T16" fmla="*/ 65 w 612"/>
              <a:gd name="T17" fmla="*/ 108 h 508"/>
              <a:gd name="T18" fmla="*/ 78 w 612"/>
              <a:gd name="T19" fmla="*/ 50 h 508"/>
              <a:gd name="T20" fmla="*/ 96 w 612"/>
              <a:gd name="T21" fmla="*/ 0 h 508"/>
              <a:gd name="T22" fmla="*/ 144 w 612"/>
              <a:gd name="T23" fmla="*/ 9 h 508"/>
              <a:gd name="T24" fmla="*/ 193 w 612"/>
              <a:gd name="T25" fmla="*/ 19 h 508"/>
              <a:gd name="T26" fmla="*/ 209 w 612"/>
              <a:gd name="T27" fmla="*/ 23 h 508"/>
              <a:gd name="T28" fmla="*/ 226 w 612"/>
              <a:gd name="T29" fmla="*/ 27 h 508"/>
              <a:gd name="T30" fmla="*/ 372 w 612"/>
              <a:gd name="T31" fmla="*/ 58 h 508"/>
              <a:gd name="T32" fmla="*/ 464 w 612"/>
              <a:gd name="T33" fmla="*/ 76 h 508"/>
              <a:gd name="T34" fmla="*/ 492 w 612"/>
              <a:gd name="T35" fmla="*/ 79 h 508"/>
              <a:gd name="T36" fmla="*/ 518 w 612"/>
              <a:gd name="T37" fmla="*/ 84 h 508"/>
              <a:gd name="T38" fmla="*/ 611 w 612"/>
              <a:gd name="T39" fmla="*/ 106 h 508"/>
              <a:gd name="T40" fmla="*/ 584 w 612"/>
              <a:gd name="T41" fmla="*/ 304 h 508"/>
              <a:gd name="T42" fmla="*/ 580 w 612"/>
              <a:gd name="T43" fmla="*/ 330 h 508"/>
              <a:gd name="T44" fmla="*/ 577 w 612"/>
              <a:gd name="T45" fmla="*/ 354 h 508"/>
              <a:gd name="T46" fmla="*/ 567 w 612"/>
              <a:gd name="T47" fmla="*/ 426 h 508"/>
              <a:gd name="T48" fmla="*/ 557 w 612"/>
              <a:gd name="T49" fmla="*/ 496 h 508"/>
              <a:gd name="T50" fmla="*/ 544 w 612"/>
              <a:gd name="T51" fmla="*/ 508 h 508"/>
              <a:gd name="T52" fmla="*/ 510 w 612"/>
              <a:gd name="T53" fmla="*/ 503 h 508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12" h="508">
                <a:moveTo>
                  <a:pt x="510" y="503"/>
                </a:moveTo>
                <a:cubicBezTo>
                  <a:pt x="493" y="499"/>
                  <a:pt x="431" y="486"/>
                  <a:pt x="376" y="475"/>
                </a:cubicBezTo>
                <a:cubicBezTo>
                  <a:pt x="372" y="474"/>
                  <a:pt x="359" y="472"/>
                  <a:pt x="348" y="470"/>
                </a:cubicBezTo>
                <a:cubicBezTo>
                  <a:pt x="337" y="468"/>
                  <a:pt x="324" y="465"/>
                  <a:pt x="318" y="464"/>
                </a:cubicBezTo>
                <a:cubicBezTo>
                  <a:pt x="309" y="462"/>
                  <a:pt x="253" y="452"/>
                  <a:pt x="114" y="425"/>
                </a:cubicBezTo>
                <a:cubicBezTo>
                  <a:pt x="80" y="419"/>
                  <a:pt x="40" y="411"/>
                  <a:pt x="26" y="408"/>
                </a:cubicBezTo>
                <a:cubicBezTo>
                  <a:pt x="8" y="405"/>
                  <a:pt x="0" y="401"/>
                  <a:pt x="1" y="397"/>
                </a:cubicBezTo>
                <a:cubicBezTo>
                  <a:pt x="1" y="394"/>
                  <a:pt x="15" y="329"/>
                  <a:pt x="32" y="254"/>
                </a:cubicBezTo>
                <a:cubicBezTo>
                  <a:pt x="49" y="178"/>
                  <a:pt x="64" y="112"/>
                  <a:pt x="65" y="108"/>
                </a:cubicBezTo>
                <a:cubicBezTo>
                  <a:pt x="66" y="103"/>
                  <a:pt x="71" y="77"/>
                  <a:pt x="78" y="50"/>
                </a:cubicBezTo>
                <a:cubicBezTo>
                  <a:pt x="87" y="6"/>
                  <a:pt x="90" y="0"/>
                  <a:pt x="96" y="0"/>
                </a:cubicBezTo>
                <a:cubicBezTo>
                  <a:pt x="101" y="1"/>
                  <a:pt x="122" y="5"/>
                  <a:pt x="144" y="9"/>
                </a:cubicBezTo>
                <a:cubicBezTo>
                  <a:pt x="165" y="14"/>
                  <a:pt x="187" y="18"/>
                  <a:pt x="193" y="19"/>
                </a:cubicBezTo>
                <a:cubicBezTo>
                  <a:pt x="198" y="20"/>
                  <a:pt x="205" y="22"/>
                  <a:pt x="209" y="23"/>
                </a:cubicBezTo>
                <a:cubicBezTo>
                  <a:pt x="213" y="24"/>
                  <a:pt x="221" y="26"/>
                  <a:pt x="226" y="27"/>
                </a:cubicBezTo>
                <a:cubicBezTo>
                  <a:pt x="241" y="30"/>
                  <a:pt x="286" y="39"/>
                  <a:pt x="372" y="58"/>
                </a:cubicBezTo>
                <a:cubicBezTo>
                  <a:pt x="414" y="67"/>
                  <a:pt x="455" y="75"/>
                  <a:pt x="464" y="76"/>
                </a:cubicBezTo>
                <a:cubicBezTo>
                  <a:pt x="473" y="77"/>
                  <a:pt x="486" y="78"/>
                  <a:pt x="492" y="79"/>
                </a:cubicBezTo>
                <a:cubicBezTo>
                  <a:pt x="499" y="80"/>
                  <a:pt x="510" y="82"/>
                  <a:pt x="518" y="84"/>
                </a:cubicBezTo>
                <a:cubicBezTo>
                  <a:pt x="591" y="95"/>
                  <a:pt x="612" y="100"/>
                  <a:pt x="611" y="106"/>
                </a:cubicBezTo>
                <a:cubicBezTo>
                  <a:pt x="607" y="137"/>
                  <a:pt x="586" y="291"/>
                  <a:pt x="584" y="304"/>
                </a:cubicBezTo>
                <a:cubicBezTo>
                  <a:pt x="583" y="312"/>
                  <a:pt x="581" y="324"/>
                  <a:pt x="580" y="330"/>
                </a:cubicBezTo>
                <a:cubicBezTo>
                  <a:pt x="579" y="335"/>
                  <a:pt x="578" y="346"/>
                  <a:pt x="577" y="354"/>
                </a:cubicBezTo>
                <a:cubicBezTo>
                  <a:pt x="576" y="361"/>
                  <a:pt x="571" y="394"/>
                  <a:pt x="567" y="426"/>
                </a:cubicBezTo>
                <a:cubicBezTo>
                  <a:pt x="562" y="457"/>
                  <a:pt x="558" y="489"/>
                  <a:pt x="557" y="496"/>
                </a:cubicBezTo>
                <a:cubicBezTo>
                  <a:pt x="556" y="506"/>
                  <a:pt x="554" y="508"/>
                  <a:pt x="544" y="508"/>
                </a:cubicBezTo>
                <a:cubicBezTo>
                  <a:pt x="537" y="508"/>
                  <a:pt x="522" y="506"/>
                  <a:pt x="510" y="503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15" name="Freeform 75"/>
          <p:cNvSpPr/>
          <p:nvPr userDrawn="1">
            <p:custDataLst>
              <p:tags r:id="rId116"/>
            </p:custDataLst>
          </p:nvPr>
        </p:nvSpPr>
        <p:spPr bwMode="black">
          <a:xfrm>
            <a:off x="5817557" y="2243028"/>
            <a:ext cx="169863" cy="153988"/>
          </a:xfrm>
          <a:custGeom>
            <a:gdLst>
              <a:gd name="T0" fmla="*/ 11 w 118"/>
              <a:gd name="T1" fmla="*/ 102 h 108"/>
              <a:gd name="T2" fmla="*/ 6 w 118"/>
              <a:gd name="T3" fmla="*/ 78 h 108"/>
              <a:gd name="T4" fmla="*/ 1 w 118"/>
              <a:gd name="T5" fmla="*/ 52 h 108"/>
              <a:gd name="T6" fmla="*/ 3 w 118"/>
              <a:gd name="T7" fmla="*/ 32 h 108"/>
              <a:gd name="T8" fmla="*/ 4 w 118"/>
              <a:gd name="T9" fmla="*/ 20 h 108"/>
              <a:gd name="T10" fmla="*/ 48 w 118"/>
              <a:gd name="T11" fmla="*/ 10 h 108"/>
              <a:gd name="T12" fmla="*/ 97 w 118"/>
              <a:gd name="T13" fmla="*/ 0 h 108"/>
              <a:gd name="T14" fmla="*/ 118 w 118"/>
              <a:gd name="T15" fmla="*/ 72 h 108"/>
              <a:gd name="T16" fmla="*/ 95 w 118"/>
              <a:gd name="T17" fmla="*/ 81 h 108"/>
              <a:gd name="T18" fmla="*/ 28 w 118"/>
              <a:gd name="T19" fmla="*/ 103 h 108"/>
              <a:gd name="T20" fmla="*/ 11 w 118"/>
              <a:gd name="T21" fmla="*/ 102 h 108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8" h="108">
                <a:moveTo>
                  <a:pt x="11" y="102"/>
                </a:moveTo>
                <a:cubicBezTo>
                  <a:pt x="12" y="99"/>
                  <a:pt x="10" y="88"/>
                  <a:pt x="6" y="78"/>
                </a:cubicBezTo>
                <a:cubicBezTo>
                  <a:pt x="2" y="68"/>
                  <a:pt x="0" y="57"/>
                  <a:pt x="1" y="52"/>
                </a:cubicBezTo>
                <a:cubicBezTo>
                  <a:pt x="1" y="48"/>
                  <a:pt x="2" y="39"/>
                  <a:pt x="3" y="32"/>
                </a:cubicBezTo>
                <a:cubicBezTo>
                  <a:pt x="4" y="20"/>
                  <a:pt x="4" y="20"/>
                  <a:pt x="4" y="20"/>
                </a:cubicBezTo>
                <a:cubicBezTo>
                  <a:pt x="48" y="10"/>
                  <a:pt x="48" y="10"/>
                  <a:pt x="48" y="10"/>
                </a:cubicBezTo>
                <a:cubicBezTo>
                  <a:pt x="72" y="5"/>
                  <a:pt x="94" y="1"/>
                  <a:pt x="97" y="0"/>
                </a:cubicBezTo>
                <a:cubicBezTo>
                  <a:pt x="101" y="0"/>
                  <a:pt x="118" y="59"/>
                  <a:pt x="118" y="72"/>
                </a:cubicBezTo>
                <a:cubicBezTo>
                  <a:pt x="118" y="73"/>
                  <a:pt x="108" y="77"/>
                  <a:pt x="95" y="81"/>
                </a:cubicBezTo>
                <a:cubicBezTo>
                  <a:pt x="60" y="90"/>
                  <a:pt x="33" y="100"/>
                  <a:pt x="28" y="103"/>
                </a:cubicBezTo>
                <a:cubicBezTo>
                  <a:pt x="22" y="108"/>
                  <a:pt x="9" y="107"/>
                  <a:pt x="11" y="102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Freeform 76"/>
          <p:cNvSpPr/>
          <p:nvPr userDrawn="1">
            <p:custDataLst>
              <p:tags r:id="rId117"/>
            </p:custDataLst>
          </p:nvPr>
        </p:nvSpPr>
        <p:spPr bwMode="auto">
          <a:xfrm>
            <a:off x="5482595" y="2782778"/>
            <a:ext cx="26988" cy="25400"/>
          </a:xfrm>
          <a:custGeom>
            <a:gdLst>
              <a:gd name="T0" fmla="*/ 4 w 18"/>
              <a:gd name="T1" fmla="*/ 13 h 18"/>
              <a:gd name="T2" fmla="*/ 5 w 18"/>
              <a:gd name="T3" fmla="*/ 3 h 18"/>
              <a:gd name="T4" fmla="*/ 15 w 18"/>
              <a:gd name="T5" fmla="*/ 4 h 18"/>
              <a:gd name="T6" fmla="*/ 14 w 18"/>
              <a:gd name="T7" fmla="*/ 14 h 18"/>
              <a:gd name="T8" fmla="*/ 4 w 18"/>
              <a:gd name="T9" fmla="*/ 13 h 18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18">
                <a:moveTo>
                  <a:pt x="4" y="13"/>
                </a:moveTo>
                <a:cubicBezTo>
                  <a:pt x="0" y="9"/>
                  <a:pt x="0" y="7"/>
                  <a:pt x="5" y="3"/>
                </a:cubicBezTo>
                <a:cubicBezTo>
                  <a:pt x="9" y="0"/>
                  <a:pt x="11" y="0"/>
                  <a:pt x="15" y="4"/>
                </a:cubicBezTo>
                <a:cubicBezTo>
                  <a:pt x="18" y="8"/>
                  <a:pt x="18" y="11"/>
                  <a:pt x="14" y="14"/>
                </a:cubicBezTo>
                <a:cubicBezTo>
                  <a:pt x="10" y="18"/>
                  <a:pt x="7" y="17"/>
                  <a:pt x="4" y="13"/>
                </a:cubicBezTo>
                <a:close/>
              </a:path>
            </a:pathLst>
          </a:custGeom>
          <a:solidFill>
            <a:srgbClr val="00447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Freeform 77"/>
          <p:cNvSpPr/>
          <p:nvPr userDrawn="1">
            <p:custDataLst>
              <p:tags r:id="rId118"/>
            </p:custDataLst>
          </p:nvPr>
        </p:nvSpPr>
        <p:spPr bwMode="black">
          <a:xfrm>
            <a:off x="5617532" y="2655778"/>
            <a:ext cx="117475" cy="182563"/>
          </a:xfrm>
          <a:custGeom>
            <a:gdLst>
              <a:gd name="T0" fmla="*/ 18 w 81"/>
              <a:gd name="T1" fmla="*/ 96 h 127"/>
              <a:gd name="T2" fmla="*/ 5 w 81"/>
              <a:gd name="T3" fmla="*/ 37 h 127"/>
              <a:gd name="T4" fmla="*/ 5 w 81"/>
              <a:gd name="T5" fmla="*/ 6 h 127"/>
              <a:gd name="T6" fmla="*/ 17 w 81"/>
              <a:gd name="T7" fmla="*/ 18 h 127"/>
              <a:gd name="T8" fmla="*/ 41 w 81"/>
              <a:gd name="T9" fmla="*/ 68 h 127"/>
              <a:gd name="T10" fmla="*/ 81 w 81"/>
              <a:gd name="T11" fmla="*/ 120 h 127"/>
              <a:gd name="T12" fmla="*/ 54 w 81"/>
              <a:gd name="T13" fmla="*/ 126 h 127"/>
              <a:gd name="T14" fmla="*/ 26 w 81"/>
              <a:gd name="T15" fmla="*/ 127 h 127"/>
              <a:gd name="T16" fmla="*/ 18 w 81"/>
              <a:gd name="T17" fmla="*/ 96 h 12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1" h="127">
                <a:moveTo>
                  <a:pt x="18" y="96"/>
                </a:moveTo>
                <a:cubicBezTo>
                  <a:pt x="14" y="79"/>
                  <a:pt x="8" y="52"/>
                  <a:pt x="5" y="37"/>
                </a:cubicBezTo>
                <a:cubicBezTo>
                  <a:pt x="0" y="14"/>
                  <a:pt x="0" y="9"/>
                  <a:pt x="5" y="6"/>
                </a:cubicBezTo>
                <a:cubicBezTo>
                  <a:pt x="15" y="0"/>
                  <a:pt x="17" y="2"/>
                  <a:pt x="17" y="18"/>
                </a:cubicBezTo>
                <a:cubicBezTo>
                  <a:pt x="17" y="48"/>
                  <a:pt x="21" y="56"/>
                  <a:pt x="41" y="68"/>
                </a:cubicBezTo>
                <a:cubicBezTo>
                  <a:pt x="59" y="79"/>
                  <a:pt x="81" y="108"/>
                  <a:pt x="81" y="120"/>
                </a:cubicBezTo>
                <a:cubicBezTo>
                  <a:pt x="81" y="124"/>
                  <a:pt x="73" y="126"/>
                  <a:pt x="54" y="126"/>
                </a:cubicBezTo>
                <a:cubicBezTo>
                  <a:pt x="26" y="127"/>
                  <a:pt x="26" y="127"/>
                  <a:pt x="26" y="127"/>
                </a:cubicBezTo>
                <a:lnTo>
                  <a:pt x="18" y="96"/>
                </a:ln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18" name="Freeform 78"/>
          <p:cNvSpPr>
            <a:spLocks noEditPoints="1"/>
          </p:cNvSpPr>
          <p:nvPr userDrawn="1">
            <p:custDataLst>
              <p:tags r:id="rId119"/>
            </p:custDataLst>
          </p:nvPr>
        </p:nvSpPr>
        <p:spPr bwMode="black">
          <a:xfrm>
            <a:off x="4322132" y="4143266"/>
            <a:ext cx="1066800" cy="947738"/>
          </a:xfrm>
          <a:custGeom>
            <a:gdLst>
              <a:gd name="T0" fmla="*/ 537 w 742"/>
              <a:gd name="T1" fmla="*/ 0 h 660"/>
              <a:gd name="T2" fmla="*/ 530 w 742"/>
              <a:gd name="T3" fmla="*/ 0 h 660"/>
              <a:gd name="T4" fmla="*/ 513 w 742"/>
              <a:gd name="T5" fmla="*/ 2 h 660"/>
              <a:gd name="T6" fmla="*/ 512 w 742"/>
              <a:gd name="T7" fmla="*/ 23 h 660"/>
              <a:gd name="T8" fmla="*/ 497 w 742"/>
              <a:gd name="T9" fmla="*/ 50 h 660"/>
              <a:gd name="T10" fmla="*/ 481 w 742"/>
              <a:gd name="T11" fmla="*/ 42 h 660"/>
              <a:gd name="T12" fmla="*/ 459 w 742"/>
              <a:gd name="T13" fmla="*/ 32 h 660"/>
              <a:gd name="T14" fmla="*/ 342 w 742"/>
              <a:gd name="T15" fmla="*/ 32 h 660"/>
              <a:gd name="T16" fmla="*/ 239 w 742"/>
              <a:gd name="T17" fmla="*/ 32 h 660"/>
              <a:gd name="T18" fmla="*/ 236 w 742"/>
              <a:gd name="T19" fmla="*/ 19 h 660"/>
              <a:gd name="T20" fmla="*/ 233 w 742"/>
              <a:gd name="T21" fmla="*/ 7 h 660"/>
              <a:gd name="T22" fmla="*/ 129 w 742"/>
              <a:gd name="T23" fmla="*/ 9 h 660"/>
              <a:gd name="T24" fmla="*/ 16 w 742"/>
              <a:gd name="T25" fmla="*/ 13 h 660"/>
              <a:gd name="T26" fmla="*/ 5 w 742"/>
              <a:gd name="T27" fmla="*/ 15 h 660"/>
              <a:gd name="T28" fmla="*/ 10 w 742"/>
              <a:gd name="T29" fmla="*/ 46 h 660"/>
              <a:gd name="T30" fmla="*/ 20 w 742"/>
              <a:gd name="T31" fmla="*/ 77 h 660"/>
              <a:gd name="T32" fmla="*/ 29 w 742"/>
              <a:gd name="T33" fmla="*/ 86 h 660"/>
              <a:gd name="T34" fmla="*/ 77 w 742"/>
              <a:gd name="T35" fmla="*/ 82 h 660"/>
              <a:gd name="T36" fmla="*/ 118 w 742"/>
              <a:gd name="T37" fmla="*/ 79 h 660"/>
              <a:gd name="T38" fmla="*/ 141 w 742"/>
              <a:gd name="T39" fmla="*/ 93 h 660"/>
              <a:gd name="T40" fmla="*/ 178 w 742"/>
              <a:gd name="T41" fmla="*/ 111 h 660"/>
              <a:gd name="T42" fmla="*/ 202 w 742"/>
              <a:gd name="T43" fmla="*/ 130 h 660"/>
              <a:gd name="T44" fmla="*/ 226 w 742"/>
              <a:gd name="T45" fmla="*/ 141 h 660"/>
              <a:gd name="T46" fmla="*/ 272 w 742"/>
              <a:gd name="T47" fmla="*/ 123 h 660"/>
              <a:gd name="T48" fmla="*/ 344 w 742"/>
              <a:gd name="T49" fmla="*/ 102 h 660"/>
              <a:gd name="T50" fmla="*/ 366 w 742"/>
              <a:gd name="T51" fmla="*/ 122 h 660"/>
              <a:gd name="T52" fmla="*/ 409 w 742"/>
              <a:gd name="T53" fmla="*/ 166 h 660"/>
              <a:gd name="T54" fmla="*/ 453 w 742"/>
              <a:gd name="T55" fmla="*/ 266 h 660"/>
              <a:gd name="T56" fmla="*/ 465 w 742"/>
              <a:gd name="T57" fmla="*/ 337 h 660"/>
              <a:gd name="T58" fmla="*/ 474 w 742"/>
              <a:gd name="T59" fmla="*/ 375 h 660"/>
              <a:gd name="T60" fmla="*/ 488 w 742"/>
              <a:gd name="T61" fmla="*/ 394 h 660"/>
              <a:gd name="T62" fmla="*/ 510 w 742"/>
              <a:gd name="T63" fmla="*/ 430 h 660"/>
              <a:gd name="T64" fmla="*/ 535 w 742"/>
              <a:gd name="T65" fmla="*/ 465 h 660"/>
              <a:gd name="T66" fmla="*/ 561 w 742"/>
              <a:gd name="T67" fmla="*/ 495 h 660"/>
              <a:gd name="T68" fmla="*/ 583 w 742"/>
              <a:gd name="T69" fmla="*/ 519 h 660"/>
              <a:gd name="T70" fmla="*/ 616 w 742"/>
              <a:gd name="T71" fmla="*/ 549 h 660"/>
              <a:gd name="T72" fmla="*/ 682 w 742"/>
              <a:gd name="T73" fmla="*/ 594 h 660"/>
              <a:gd name="T74" fmla="*/ 722 w 742"/>
              <a:gd name="T75" fmla="*/ 591 h 660"/>
              <a:gd name="T76" fmla="*/ 648 w 742"/>
              <a:gd name="T77" fmla="*/ 648 h 660"/>
              <a:gd name="T78" fmla="*/ 628 w 742"/>
              <a:gd name="T79" fmla="*/ 657 h 660"/>
              <a:gd name="T80" fmla="*/ 630 w 742"/>
              <a:gd name="T81" fmla="*/ 659 h 660"/>
              <a:gd name="T82" fmla="*/ 656 w 742"/>
              <a:gd name="T83" fmla="*/ 650 h 660"/>
              <a:gd name="T84" fmla="*/ 720 w 742"/>
              <a:gd name="T85" fmla="*/ 607 h 660"/>
              <a:gd name="T86" fmla="*/ 728 w 742"/>
              <a:gd name="T87" fmla="*/ 568 h 660"/>
              <a:gd name="T88" fmla="*/ 736 w 742"/>
              <a:gd name="T89" fmla="*/ 527 h 660"/>
              <a:gd name="T90" fmla="*/ 741 w 742"/>
              <a:gd name="T91" fmla="*/ 461 h 660"/>
              <a:gd name="T92" fmla="*/ 728 w 742"/>
              <a:gd name="T93" fmla="*/ 381 h 660"/>
              <a:gd name="T94" fmla="*/ 699 w 742"/>
              <a:gd name="T95" fmla="*/ 325 h 660"/>
              <a:gd name="T96" fmla="*/ 678 w 742"/>
              <a:gd name="T97" fmla="*/ 273 h 660"/>
              <a:gd name="T98" fmla="*/ 640 w 742"/>
              <a:gd name="T99" fmla="*/ 186 h 660"/>
              <a:gd name="T100" fmla="*/ 561 w 742"/>
              <a:gd name="T101" fmla="*/ 17 h 660"/>
              <a:gd name="T102" fmla="*/ 537 w 742"/>
              <a:gd name="T103" fmla="*/ 0 h 660"/>
              <a:gd name="T104" fmla="*/ 652 w 742"/>
              <a:gd name="T105" fmla="*/ 372 h 660"/>
              <a:gd name="T106" fmla="*/ 656 w 742"/>
              <a:gd name="T107" fmla="*/ 373 h 660"/>
              <a:gd name="T108" fmla="*/ 665 w 742"/>
              <a:gd name="T109" fmla="*/ 397 h 660"/>
              <a:gd name="T110" fmla="*/ 642 w 742"/>
              <a:gd name="T111" fmla="*/ 414 h 660"/>
              <a:gd name="T112" fmla="*/ 652 w 742"/>
              <a:gd name="T113" fmla="*/ 372 h 66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42" h="660">
                <a:moveTo>
                  <a:pt x="537" y="0"/>
                </a:moveTo>
                <a:cubicBezTo>
                  <a:pt x="535" y="0"/>
                  <a:pt x="532" y="0"/>
                  <a:pt x="530" y="0"/>
                </a:cubicBezTo>
                <a:cubicBezTo>
                  <a:pt x="513" y="2"/>
                  <a:pt x="513" y="2"/>
                  <a:pt x="513" y="2"/>
                </a:cubicBezTo>
                <a:cubicBezTo>
                  <a:pt x="512" y="23"/>
                  <a:pt x="512" y="23"/>
                  <a:pt x="512" y="23"/>
                </a:cubicBezTo>
                <a:cubicBezTo>
                  <a:pt x="511" y="47"/>
                  <a:pt x="511" y="47"/>
                  <a:pt x="497" y="50"/>
                </a:cubicBezTo>
                <a:cubicBezTo>
                  <a:pt x="490" y="51"/>
                  <a:pt x="485" y="49"/>
                  <a:pt x="481" y="42"/>
                </a:cubicBezTo>
                <a:cubicBezTo>
                  <a:pt x="476" y="34"/>
                  <a:pt x="471" y="32"/>
                  <a:pt x="459" y="32"/>
                </a:cubicBezTo>
                <a:cubicBezTo>
                  <a:pt x="451" y="32"/>
                  <a:pt x="398" y="32"/>
                  <a:pt x="342" y="32"/>
                </a:cubicBezTo>
                <a:cubicBezTo>
                  <a:pt x="239" y="32"/>
                  <a:pt x="239" y="32"/>
                  <a:pt x="239" y="32"/>
                </a:cubicBezTo>
                <a:cubicBezTo>
                  <a:pt x="236" y="19"/>
                  <a:pt x="236" y="19"/>
                  <a:pt x="236" y="19"/>
                </a:cubicBezTo>
                <a:cubicBezTo>
                  <a:pt x="233" y="7"/>
                  <a:pt x="233" y="7"/>
                  <a:pt x="233" y="7"/>
                </a:cubicBezTo>
                <a:cubicBezTo>
                  <a:pt x="129" y="9"/>
                  <a:pt x="129" y="9"/>
                  <a:pt x="129" y="9"/>
                </a:cubicBezTo>
                <a:cubicBezTo>
                  <a:pt x="71" y="11"/>
                  <a:pt x="21" y="13"/>
                  <a:pt x="16" y="13"/>
                </a:cubicBezTo>
                <a:cubicBezTo>
                  <a:pt x="12" y="14"/>
                  <a:pt x="7" y="15"/>
                  <a:pt x="5" y="15"/>
                </a:cubicBezTo>
                <a:cubicBezTo>
                  <a:pt x="0" y="16"/>
                  <a:pt x="2" y="25"/>
                  <a:pt x="10" y="46"/>
                </a:cubicBezTo>
                <a:cubicBezTo>
                  <a:pt x="14" y="57"/>
                  <a:pt x="19" y="71"/>
                  <a:pt x="20" y="77"/>
                </a:cubicBezTo>
                <a:cubicBezTo>
                  <a:pt x="22" y="85"/>
                  <a:pt x="24" y="87"/>
                  <a:pt x="29" y="86"/>
                </a:cubicBezTo>
                <a:cubicBezTo>
                  <a:pt x="33" y="85"/>
                  <a:pt x="55" y="83"/>
                  <a:pt x="77" y="82"/>
                </a:cubicBezTo>
                <a:cubicBezTo>
                  <a:pt x="118" y="79"/>
                  <a:pt x="118" y="79"/>
                  <a:pt x="118" y="79"/>
                </a:cubicBezTo>
                <a:cubicBezTo>
                  <a:pt x="141" y="93"/>
                  <a:pt x="141" y="93"/>
                  <a:pt x="141" y="93"/>
                </a:cubicBezTo>
                <a:cubicBezTo>
                  <a:pt x="154" y="101"/>
                  <a:pt x="170" y="109"/>
                  <a:pt x="178" y="111"/>
                </a:cubicBezTo>
                <a:cubicBezTo>
                  <a:pt x="187" y="114"/>
                  <a:pt x="196" y="121"/>
                  <a:pt x="202" y="130"/>
                </a:cubicBezTo>
                <a:cubicBezTo>
                  <a:pt x="211" y="143"/>
                  <a:pt x="213" y="144"/>
                  <a:pt x="226" y="141"/>
                </a:cubicBezTo>
                <a:cubicBezTo>
                  <a:pt x="234" y="140"/>
                  <a:pt x="255" y="131"/>
                  <a:pt x="272" y="123"/>
                </a:cubicBezTo>
                <a:cubicBezTo>
                  <a:pt x="321" y="98"/>
                  <a:pt x="330" y="96"/>
                  <a:pt x="344" y="102"/>
                </a:cubicBezTo>
                <a:cubicBezTo>
                  <a:pt x="351" y="106"/>
                  <a:pt x="361" y="114"/>
                  <a:pt x="366" y="122"/>
                </a:cubicBezTo>
                <a:cubicBezTo>
                  <a:pt x="371" y="130"/>
                  <a:pt x="390" y="149"/>
                  <a:pt x="409" y="166"/>
                </a:cubicBezTo>
                <a:cubicBezTo>
                  <a:pt x="447" y="201"/>
                  <a:pt x="449" y="206"/>
                  <a:pt x="453" y="266"/>
                </a:cubicBezTo>
                <a:cubicBezTo>
                  <a:pt x="454" y="291"/>
                  <a:pt x="459" y="317"/>
                  <a:pt x="465" y="337"/>
                </a:cubicBezTo>
                <a:cubicBezTo>
                  <a:pt x="470" y="354"/>
                  <a:pt x="474" y="371"/>
                  <a:pt x="474" y="375"/>
                </a:cubicBezTo>
                <a:cubicBezTo>
                  <a:pt x="474" y="379"/>
                  <a:pt x="480" y="387"/>
                  <a:pt x="488" y="394"/>
                </a:cubicBezTo>
                <a:cubicBezTo>
                  <a:pt x="497" y="401"/>
                  <a:pt x="505" y="414"/>
                  <a:pt x="510" y="430"/>
                </a:cubicBezTo>
                <a:cubicBezTo>
                  <a:pt x="517" y="448"/>
                  <a:pt x="523" y="456"/>
                  <a:pt x="535" y="465"/>
                </a:cubicBezTo>
                <a:cubicBezTo>
                  <a:pt x="543" y="471"/>
                  <a:pt x="555" y="484"/>
                  <a:pt x="561" y="495"/>
                </a:cubicBezTo>
                <a:cubicBezTo>
                  <a:pt x="567" y="506"/>
                  <a:pt x="577" y="516"/>
                  <a:pt x="583" y="519"/>
                </a:cubicBezTo>
                <a:cubicBezTo>
                  <a:pt x="588" y="522"/>
                  <a:pt x="603" y="535"/>
                  <a:pt x="616" y="549"/>
                </a:cubicBezTo>
                <a:cubicBezTo>
                  <a:pt x="639" y="576"/>
                  <a:pt x="671" y="597"/>
                  <a:pt x="682" y="594"/>
                </a:cubicBezTo>
                <a:cubicBezTo>
                  <a:pt x="698" y="589"/>
                  <a:pt x="722" y="587"/>
                  <a:pt x="722" y="591"/>
                </a:cubicBezTo>
                <a:cubicBezTo>
                  <a:pt x="722" y="605"/>
                  <a:pt x="678" y="638"/>
                  <a:pt x="648" y="648"/>
                </a:cubicBezTo>
                <a:cubicBezTo>
                  <a:pt x="639" y="650"/>
                  <a:pt x="630" y="654"/>
                  <a:pt x="628" y="657"/>
                </a:cubicBezTo>
                <a:cubicBezTo>
                  <a:pt x="625" y="659"/>
                  <a:pt x="626" y="660"/>
                  <a:pt x="630" y="659"/>
                </a:cubicBezTo>
                <a:cubicBezTo>
                  <a:pt x="633" y="658"/>
                  <a:pt x="645" y="654"/>
                  <a:pt x="656" y="650"/>
                </a:cubicBezTo>
                <a:cubicBezTo>
                  <a:pt x="678" y="643"/>
                  <a:pt x="711" y="620"/>
                  <a:pt x="720" y="607"/>
                </a:cubicBezTo>
                <a:cubicBezTo>
                  <a:pt x="723" y="602"/>
                  <a:pt x="727" y="584"/>
                  <a:pt x="728" y="568"/>
                </a:cubicBezTo>
                <a:cubicBezTo>
                  <a:pt x="729" y="552"/>
                  <a:pt x="733" y="533"/>
                  <a:pt x="736" y="527"/>
                </a:cubicBezTo>
                <a:cubicBezTo>
                  <a:pt x="741" y="519"/>
                  <a:pt x="742" y="503"/>
                  <a:pt x="741" y="461"/>
                </a:cubicBezTo>
                <a:cubicBezTo>
                  <a:pt x="740" y="408"/>
                  <a:pt x="740" y="404"/>
                  <a:pt x="728" y="381"/>
                </a:cubicBezTo>
                <a:cubicBezTo>
                  <a:pt x="721" y="368"/>
                  <a:pt x="708" y="343"/>
                  <a:pt x="699" y="325"/>
                </a:cubicBezTo>
                <a:cubicBezTo>
                  <a:pt x="690" y="307"/>
                  <a:pt x="680" y="284"/>
                  <a:pt x="678" y="273"/>
                </a:cubicBezTo>
                <a:cubicBezTo>
                  <a:pt x="670" y="234"/>
                  <a:pt x="661" y="214"/>
                  <a:pt x="640" y="186"/>
                </a:cubicBezTo>
                <a:cubicBezTo>
                  <a:pt x="607" y="142"/>
                  <a:pt x="561" y="45"/>
                  <a:pt x="561" y="17"/>
                </a:cubicBezTo>
                <a:cubicBezTo>
                  <a:pt x="561" y="6"/>
                  <a:pt x="553" y="0"/>
                  <a:pt x="537" y="0"/>
                </a:cubicBezTo>
                <a:close/>
                <a:moveTo>
                  <a:pt x="652" y="372"/>
                </a:moveTo>
                <a:cubicBezTo>
                  <a:pt x="653" y="372"/>
                  <a:pt x="654" y="373"/>
                  <a:pt x="656" y="373"/>
                </a:cubicBezTo>
                <a:cubicBezTo>
                  <a:pt x="666" y="376"/>
                  <a:pt x="667" y="377"/>
                  <a:pt x="665" y="397"/>
                </a:cubicBezTo>
                <a:cubicBezTo>
                  <a:pt x="664" y="420"/>
                  <a:pt x="659" y="423"/>
                  <a:pt x="642" y="414"/>
                </a:cubicBezTo>
                <a:cubicBezTo>
                  <a:pt x="622" y="404"/>
                  <a:pt x="631" y="372"/>
                  <a:pt x="652" y="372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19" name="Freeform 79"/>
          <p:cNvSpPr/>
          <p:nvPr userDrawn="1">
            <p:custDataLst>
              <p:tags r:id="rId120"/>
            </p:custDataLst>
          </p:nvPr>
        </p:nvSpPr>
        <p:spPr bwMode="black">
          <a:xfrm>
            <a:off x="4549144" y="3514616"/>
            <a:ext cx="622300" cy="681038"/>
          </a:xfrm>
          <a:custGeom>
            <a:gdLst>
              <a:gd name="T0" fmla="*/ 333 w 433"/>
              <a:gd name="T1" fmla="*/ 465 h 474"/>
              <a:gd name="T2" fmla="*/ 210 w 433"/>
              <a:gd name="T3" fmla="*/ 457 h 474"/>
              <a:gd name="T4" fmla="*/ 93 w 433"/>
              <a:gd name="T5" fmla="*/ 457 h 474"/>
              <a:gd name="T6" fmla="*/ 90 w 433"/>
              <a:gd name="T7" fmla="*/ 444 h 474"/>
              <a:gd name="T8" fmla="*/ 82 w 433"/>
              <a:gd name="T9" fmla="*/ 432 h 474"/>
              <a:gd name="T10" fmla="*/ 77 w 433"/>
              <a:gd name="T11" fmla="*/ 431 h 474"/>
              <a:gd name="T12" fmla="*/ 71 w 433"/>
              <a:gd name="T13" fmla="*/ 396 h 474"/>
              <a:gd name="T14" fmla="*/ 65 w 433"/>
              <a:gd name="T15" fmla="*/ 335 h 474"/>
              <a:gd name="T16" fmla="*/ 56 w 433"/>
              <a:gd name="T17" fmla="*/ 245 h 474"/>
              <a:gd name="T18" fmla="*/ 35 w 433"/>
              <a:gd name="T19" fmla="*/ 157 h 474"/>
              <a:gd name="T20" fmla="*/ 23 w 433"/>
              <a:gd name="T21" fmla="*/ 107 h 474"/>
              <a:gd name="T22" fmla="*/ 3 w 433"/>
              <a:gd name="T23" fmla="*/ 17 h 474"/>
              <a:gd name="T24" fmla="*/ 14 w 433"/>
              <a:gd name="T25" fmla="*/ 13 h 474"/>
              <a:gd name="T26" fmla="*/ 105 w 433"/>
              <a:gd name="T27" fmla="*/ 7 h 474"/>
              <a:gd name="T28" fmla="*/ 154 w 433"/>
              <a:gd name="T29" fmla="*/ 2 h 474"/>
              <a:gd name="T30" fmla="*/ 189 w 433"/>
              <a:gd name="T31" fmla="*/ 0 h 474"/>
              <a:gd name="T32" fmla="*/ 185 w 433"/>
              <a:gd name="T33" fmla="*/ 12 h 474"/>
              <a:gd name="T34" fmla="*/ 193 w 433"/>
              <a:gd name="T35" fmla="*/ 34 h 474"/>
              <a:gd name="T36" fmla="*/ 212 w 433"/>
              <a:gd name="T37" fmla="*/ 46 h 474"/>
              <a:gd name="T38" fmla="*/ 243 w 433"/>
              <a:gd name="T39" fmla="*/ 77 h 474"/>
              <a:gd name="T40" fmla="*/ 287 w 433"/>
              <a:gd name="T41" fmla="*/ 121 h 474"/>
              <a:gd name="T42" fmla="*/ 363 w 433"/>
              <a:gd name="T43" fmla="*/ 215 h 474"/>
              <a:gd name="T44" fmla="*/ 380 w 433"/>
              <a:gd name="T45" fmla="*/ 238 h 474"/>
              <a:gd name="T46" fmla="*/ 395 w 433"/>
              <a:gd name="T47" fmla="*/ 254 h 474"/>
              <a:gd name="T48" fmla="*/ 428 w 433"/>
              <a:gd name="T49" fmla="*/ 289 h 474"/>
              <a:gd name="T50" fmla="*/ 432 w 433"/>
              <a:gd name="T51" fmla="*/ 296 h 474"/>
              <a:gd name="T52" fmla="*/ 415 w 433"/>
              <a:gd name="T53" fmla="*/ 343 h 474"/>
              <a:gd name="T54" fmla="*/ 401 w 433"/>
              <a:gd name="T55" fmla="*/ 406 h 474"/>
              <a:gd name="T56" fmla="*/ 396 w 433"/>
              <a:gd name="T57" fmla="*/ 426 h 474"/>
              <a:gd name="T58" fmla="*/ 345 w 433"/>
              <a:gd name="T59" fmla="*/ 427 h 474"/>
              <a:gd name="T60" fmla="*/ 341 w 433"/>
              <a:gd name="T61" fmla="*/ 444 h 474"/>
              <a:gd name="T62" fmla="*/ 341 w 433"/>
              <a:gd name="T63" fmla="*/ 467 h 474"/>
              <a:gd name="T64" fmla="*/ 333 w 433"/>
              <a:gd name="T65" fmla="*/ 465 h 47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32" h="473">
                <a:moveTo>
                  <a:pt x="333" y="465"/>
                </a:moveTo>
                <a:cubicBezTo>
                  <a:pt x="327" y="457"/>
                  <a:pt x="327" y="457"/>
                  <a:pt x="210" y="457"/>
                </a:cubicBezTo>
                <a:cubicBezTo>
                  <a:pt x="93" y="457"/>
                  <a:pt x="93" y="457"/>
                  <a:pt x="93" y="457"/>
                </a:cubicBezTo>
                <a:cubicBezTo>
                  <a:pt x="90" y="444"/>
                  <a:pt x="90" y="444"/>
                  <a:pt x="90" y="444"/>
                </a:cubicBezTo>
                <a:cubicBezTo>
                  <a:pt x="88" y="436"/>
                  <a:pt x="84" y="431"/>
                  <a:pt x="82" y="432"/>
                </a:cubicBezTo>
                <a:cubicBezTo>
                  <a:pt x="79" y="432"/>
                  <a:pt x="77" y="432"/>
                  <a:pt x="77" y="431"/>
                </a:cubicBezTo>
                <a:cubicBezTo>
                  <a:pt x="77" y="430"/>
                  <a:pt x="74" y="414"/>
                  <a:pt x="71" y="396"/>
                </a:cubicBezTo>
                <a:cubicBezTo>
                  <a:pt x="67" y="378"/>
                  <a:pt x="65" y="350"/>
                  <a:pt x="65" y="335"/>
                </a:cubicBezTo>
                <a:cubicBezTo>
                  <a:pt x="68" y="274"/>
                  <a:pt x="67" y="261"/>
                  <a:pt x="56" y="245"/>
                </a:cubicBezTo>
                <a:cubicBezTo>
                  <a:pt x="46" y="230"/>
                  <a:pt x="40" y="205"/>
                  <a:pt x="35" y="157"/>
                </a:cubicBezTo>
                <a:cubicBezTo>
                  <a:pt x="33" y="147"/>
                  <a:pt x="28" y="124"/>
                  <a:pt x="23" y="107"/>
                </a:cubicBezTo>
                <a:cubicBezTo>
                  <a:pt x="8" y="54"/>
                  <a:pt x="0" y="21"/>
                  <a:pt x="3" y="17"/>
                </a:cubicBezTo>
                <a:cubicBezTo>
                  <a:pt x="4" y="15"/>
                  <a:pt x="9" y="13"/>
                  <a:pt x="14" y="13"/>
                </a:cubicBezTo>
                <a:cubicBezTo>
                  <a:pt x="23" y="14"/>
                  <a:pt x="75" y="10"/>
                  <a:pt x="105" y="7"/>
                </a:cubicBezTo>
                <a:cubicBezTo>
                  <a:pt x="113" y="6"/>
                  <a:pt x="135" y="4"/>
                  <a:pt x="154" y="2"/>
                </a:cubicBezTo>
                <a:cubicBezTo>
                  <a:pt x="189" y="0"/>
                  <a:pt x="189" y="0"/>
                  <a:pt x="189" y="0"/>
                </a:cubicBezTo>
                <a:cubicBezTo>
                  <a:pt x="185" y="12"/>
                  <a:pt x="185" y="12"/>
                  <a:pt x="185" y="12"/>
                </a:cubicBezTo>
                <a:cubicBezTo>
                  <a:pt x="182" y="22"/>
                  <a:pt x="183" y="25"/>
                  <a:pt x="193" y="34"/>
                </a:cubicBezTo>
                <a:cubicBezTo>
                  <a:pt x="198" y="39"/>
                  <a:pt x="207" y="45"/>
                  <a:pt x="212" y="46"/>
                </a:cubicBezTo>
                <a:cubicBezTo>
                  <a:pt x="217" y="48"/>
                  <a:pt x="231" y="61"/>
                  <a:pt x="243" y="77"/>
                </a:cubicBezTo>
                <a:cubicBezTo>
                  <a:pt x="256" y="92"/>
                  <a:pt x="275" y="112"/>
                  <a:pt x="287" y="121"/>
                </a:cubicBezTo>
                <a:cubicBezTo>
                  <a:pt x="311" y="140"/>
                  <a:pt x="349" y="186"/>
                  <a:pt x="363" y="215"/>
                </a:cubicBezTo>
                <a:cubicBezTo>
                  <a:pt x="369" y="227"/>
                  <a:pt x="377" y="237"/>
                  <a:pt x="380" y="238"/>
                </a:cubicBezTo>
                <a:cubicBezTo>
                  <a:pt x="384" y="240"/>
                  <a:pt x="391" y="246"/>
                  <a:pt x="395" y="254"/>
                </a:cubicBezTo>
                <a:cubicBezTo>
                  <a:pt x="405" y="271"/>
                  <a:pt x="421" y="289"/>
                  <a:pt x="428" y="289"/>
                </a:cubicBezTo>
                <a:cubicBezTo>
                  <a:pt x="432" y="289"/>
                  <a:pt x="433" y="291"/>
                  <a:pt x="432" y="296"/>
                </a:cubicBezTo>
                <a:cubicBezTo>
                  <a:pt x="430" y="299"/>
                  <a:pt x="423" y="321"/>
                  <a:pt x="415" y="343"/>
                </a:cubicBezTo>
                <a:cubicBezTo>
                  <a:pt x="406" y="370"/>
                  <a:pt x="401" y="390"/>
                  <a:pt x="401" y="406"/>
                </a:cubicBezTo>
                <a:cubicBezTo>
                  <a:pt x="401" y="423"/>
                  <a:pt x="400" y="428"/>
                  <a:pt x="396" y="426"/>
                </a:cubicBezTo>
                <a:cubicBezTo>
                  <a:pt x="391" y="423"/>
                  <a:pt x="356" y="424"/>
                  <a:pt x="345" y="427"/>
                </a:cubicBezTo>
                <a:cubicBezTo>
                  <a:pt x="340" y="428"/>
                  <a:pt x="339" y="432"/>
                  <a:pt x="341" y="444"/>
                </a:cubicBezTo>
                <a:cubicBezTo>
                  <a:pt x="343" y="452"/>
                  <a:pt x="343" y="462"/>
                  <a:pt x="341" y="467"/>
                </a:cubicBezTo>
                <a:cubicBezTo>
                  <a:pt x="338" y="474"/>
                  <a:pt x="338" y="474"/>
                  <a:pt x="333" y="465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0" name="Freeform 86"/>
          <p:cNvSpPr/>
          <p:nvPr userDrawn="1">
            <p:custDataLst>
              <p:tags r:id="rId121"/>
            </p:custDataLst>
          </p:nvPr>
        </p:nvSpPr>
        <p:spPr bwMode="black">
          <a:xfrm>
            <a:off x="3288669" y="2235090"/>
            <a:ext cx="668338" cy="458788"/>
          </a:xfrm>
          <a:custGeom>
            <a:gdLst>
              <a:gd name="T0" fmla="*/ 359 w 465"/>
              <a:gd name="T1" fmla="*/ 311 h 319"/>
              <a:gd name="T2" fmla="*/ 249 w 465"/>
              <a:gd name="T3" fmla="*/ 301 h 319"/>
              <a:gd name="T4" fmla="*/ 123 w 465"/>
              <a:gd name="T5" fmla="*/ 297 h 319"/>
              <a:gd name="T6" fmla="*/ 75 w 465"/>
              <a:gd name="T7" fmla="*/ 296 h 319"/>
              <a:gd name="T8" fmla="*/ 50 w 465"/>
              <a:gd name="T9" fmla="*/ 296 h 319"/>
              <a:gd name="T10" fmla="*/ 42 w 465"/>
              <a:gd name="T11" fmla="*/ 279 h 319"/>
              <a:gd name="T12" fmla="*/ 32 w 465"/>
              <a:gd name="T13" fmla="*/ 236 h 319"/>
              <a:gd name="T14" fmla="*/ 23 w 465"/>
              <a:gd name="T15" fmla="*/ 160 h 319"/>
              <a:gd name="T16" fmla="*/ 11 w 465"/>
              <a:gd name="T17" fmla="*/ 128 h 319"/>
              <a:gd name="T18" fmla="*/ 1 w 465"/>
              <a:gd name="T19" fmla="*/ 59 h 319"/>
              <a:gd name="T20" fmla="*/ 1 w 465"/>
              <a:gd name="T21" fmla="*/ 5 h 319"/>
              <a:gd name="T22" fmla="*/ 194 w 465"/>
              <a:gd name="T23" fmla="*/ 1 h 319"/>
              <a:gd name="T24" fmla="*/ 387 w 465"/>
              <a:gd name="T25" fmla="*/ 2 h 319"/>
              <a:gd name="T26" fmla="*/ 390 w 465"/>
              <a:gd name="T27" fmla="*/ 16 h 319"/>
              <a:gd name="T28" fmla="*/ 396 w 465"/>
              <a:gd name="T29" fmla="*/ 54 h 319"/>
              <a:gd name="T30" fmla="*/ 423 w 465"/>
              <a:gd name="T31" fmla="*/ 102 h 319"/>
              <a:gd name="T32" fmla="*/ 436 w 465"/>
              <a:gd name="T33" fmla="*/ 115 h 319"/>
              <a:gd name="T34" fmla="*/ 450 w 465"/>
              <a:gd name="T35" fmla="*/ 136 h 319"/>
              <a:gd name="T36" fmla="*/ 438 w 465"/>
              <a:gd name="T37" fmla="*/ 211 h 319"/>
              <a:gd name="T38" fmla="*/ 414 w 465"/>
              <a:gd name="T39" fmla="*/ 217 h 319"/>
              <a:gd name="T40" fmla="*/ 397 w 465"/>
              <a:gd name="T41" fmla="*/ 237 h 319"/>
              <a:gd name="T42" fmla="*/ 378 w 465"/>
              <a:gd name="T43" fmla="*/ 311 h 319"/>
              <a:gd name="T44" fmla="*/ 359 w 465"/>
              <a:gd name="T45" fmla="*/ 311 h 31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65" h="319">
                <a:moveTo>
                  <a:pt x="359" y="311"/>
                </a:moveTo>
                <a:cubicBezTo>
                  <a:pt x="352" y="304"/>
                  <a:pt x="342" y="304"/>
                  <a:pt x="249" y="301"/>
                </a:cubicBezTo>
                <a:cubicBezTo>
                  <a:pt x="193" y="300"/>
                  <a:pt x="136" y="298"/>
                  <a:pt x="123" y="297"/>
                </a:cubicBezTo>
                <a:cubicBezTo>
                  <a:pt x="110" y="297"/>
                  <a:pt x="88" y="296"/>
                  <a:pt x="75" y="296"/>
                </a:cubicBezTo>
                <a:cubicBezTo>
                  <a:pt x="50" y="296"/>
                  <a:pt x="50" y="296"/>
                  <a:pt x="50" y="296"/>
                </a:cubicBezTo>
                <a:cubicBezTo>
                  <a:pt x="42" y="279"/>
                  <a:pt x="42" y="279"/>
                  <a:pt x="42" y="279"/>
                </a:cubicBezTo>
                <a:cubicBezTo>
                  <a:pt x="38" y="269"/>
                  <a:pt x="33" y="250"/>
                  <a:pt x="32" y="236"/>
                </a:cubicBezTo>
                <a:cubicBezTo>
                  <a:pt x="29" y="210"/>
                  <a:pt x="26" y="186"/>
                  <a:pt x="23" y="160"/>
                </a:cubicBezTo>
                <a:cubicBezTo>
                  <a:pt x="22" y="153"/>
                  <a:pt x="17" y="139"/>
                  <a:pt x="11" y="128"/>
                </a:cubicBezTo>
                <a:cubicBezTo>
                  <a:pt x="3" y="111"/>
                  <a:pt x="2" y="103"/>
                  <a:pt x="1" y="59"/>
                </a:cubicBezTo>
                <a:cubicBezTo>
                  <a:pt x="1" y="32"/>
                  <a:pt x="0" y="7"/>
                  <a:pt x="1" y="5"/>
                </a:cubicBezTo>
                <a:cubicBezTo>
                  <a:pt x="1" y="1"/>
                  <a:pt x="41" y="0"/>
                  <a:pt x="194" y="1"/>
                </a:cubicBezTo>
                <a:cubicBezTo>
                  <a:pt x="387" y="2"/>
                  <a:pt x="387" y="2"/>
                  <a:pt x="387" y="2"/>
                </a:cubicBezTo>
                <a:cubicBezTo>
                  <a:pt x="390" y="16"/>
                  <a:pt x="390" y="16"/>
                  <a:pt x="390" y="16"/>
                </a:cubicBezTo>
                <a:cubicBezTo>
                  <a:pt x="392" y="23"/>
                  <a:pt x="394" y="40"/>
                  <a:pt x="396" y="54"/>
                </a:cubicBezTo>
                <a:cubicBezTo>
                  <a:pt x="398" y="80"/>
                  <a:pt x="409" y="98"/>
                  <a:pt x="423" y="102"/>
                </a:cubicBezTo>
                <a:cubicBezTo>
                  <a:pt x="428" y="103"/>
                  <a:pt x="434" y="109"/>
                  <a:pt x="436" y="115"/>
                </a:cubicBezTo>
                <a:cubicBezTo>
                  <a:pt x="439" y="121"/>
                  <a:pt x="445" y="130"/>
                  <a:pt x="450" y="136"/>
                </a:cubicBezTo>
                <a:cubicBezTo>
                  <a:pt x="465" y="155"/>
                  <a:pt x="458" y="201"/>
                  <a:pt x="438" y="211"/>
                </a:cubicBezTo>
                <a:cubicBezTo>
                  <a:pt x="434" y="213"/>
                  <a:pt x="423" y="216"/>
                  <a:pt x="414" y="217"/>
                </a:cubicBezTo>
                <a:cubicBezTo>
                  <a:pt x="397" y="220"/>
                  <a:pt x="397" y="221"/>
                  <a:pt x="397" y="237"/>
                </a:cubicBezTo>
                <a:cubicBezTo>
                  <a:pt x="395" y="298"/>
                  <a:pt x="395" y="299"/>
                  <a:pt x="378" y="311"/>
                </a:cubicBezTo>
                <a:cubicBezTo>
                  <a:pt x="367" y="319"/>
                  <a:pt x="366" y="319"/>
                  <a:pt x="359" y="311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1" name="Freeform 87"/>
          <p:cNvSpPr/>
          <p:nvPr userDrawn="1">
            <p:custDataLst>
              <p:tags r:id="rId122"/>
            </p:custDataLst>
          </p:nvPr>
        </p:nvSpPr>
        <p:spPr bwMode="black">
          <a:xfrm>
            <a:off x="1055055" y="995252"/>
            <a:ext cx="706438" cy="1173163"/>
          </a:xfrm>
          <a:custGeom>
            <a:gdLst>
              <a:gd name="T0" fmla="*/ 417 w 492"/>
              <a:gd name="T1" fmla="*/ 812 h 817"/>
              <a:gd name="T2" fmla="*/ 283 w 492"/>
              <a:gd name="T3" fmla="*/ 771 h 817"/>
              <a:gd name="T4" fmla="*/ 127 w 492"/>
              <a:gd name="T5" fmla="*/ 722 h 817"/>
              <a:gd name="T6" fmla="*/ 48 w 492"/>
              <a:gd name="T7" fmla="*/ 698 h 817"/>
              <a:gd name="T8" fmla="*/ 28 w 492"/>
              <a:gd name="T9" fmla="*/ 619 h 817"/>
              <a:gd name="T10" fmla="*/ 49 w 492"/>
              <a:gd name="T11" fmla="*/ 549 h 817"/>
              <a:gd name="T12" fmla="*/ 64 w 492"/>
              <a:gd name="T13" fmla="*/ 516 h 817"/>
              <a:gd name="T14" fmla="*/ 73 w 492"/>
              <a:gd name="T15" fmla="*/ 480 h 817"/>
              <a:gd name="T16" fmla="*/ 70 w 492"/>
              <a:gd name="T17" fmla="*/ 455 h 817"/>
              <a:gd name="T18" fmla="*/ 84 w 492"/>
              <a:gd name="T19" fmla="*/ 436 h 817"/>
              <a:gd name="T20" fmla="*/ 119 w 492"/>
              <a:gd name="T21" fmla="*/ 400 h 817"/>
              <a:gd name="T22" fmla="*/ 135 w 492"/>
              <a:gd name="T23" fmla="*/ 380 h 817"/>
              <a:gd name="T24" fmla="*/ 151 w 492"/>
              <a:gd name="T25" fmla="*/ 365 h 817"/>
              <a:gd name="T26" fmla="*/ 145 w 492"/>
              <a:gd name="T27" fmla="*/ 333 h 817"/>
              <a:gd name="T28" fmla="*/ 156 w 492"/>
              <a:gd name="T29" fmla="*/ 197 h 817"/>
              <a:gd name="T30" fmla="*/ 198 w 492"/>
              <a:gd name="T31" fmla="*/ 79 h 817"/>
              <a:gd name="T32" fmla="*/ 225 w 492"/>
              <a:gd name="T33" fmla="*/ 3 h 817"/>
              <a:gd name="T34" fmla="*/ 275 w 492"/>
              <a:gd name="T35" fmla="*/ 19 h 817"/>
              <a:gd name="T36" fmla="*/ 265 w 492"/>
              <a:gd name="T37" fmla="*/ 61 h 817"/>
              <a:gd name="T38" fmla="*/ 255 w 492"/>
              <a:gd name="T39" fmla="*/ 131 h 817"/>
              <a:gd name="T40" fmla="*/ 255 w 492"/>
              <a:gd name="T41" fmla="*/ 169 h 817"/>
              <a:gd name="T42" fmla="*/ 271 w 492"/>
              <a:gd name="T43" fmla="*/ 205 h 817"/>
              <a:gd name="T44" fmla="*/ 289 w 492"/>
              <a:gd name="T45" fmla="*/ 247 h 817"/>
              <a:gd name="T46" fmla="*/ 312 w 492"/>
              <a:gd name="T47" fmla="*/ 286 h 817"/>
              <a:gd name="T48" fmla="*/ 307 w 492"/>
              <a:gd name="T49" fmla="*/ 317 h 817"/>
              <a:gd name="T50" fmla="*/ 299 w 492"/>
              <a:gd name="T51" fmla="*/ 341 h 817"/>
              <a:gd name="T52" fmla="*/ 291 w 492"/>
              <a:gd name="T53" fmla="*/ 357 h 817"/>
              <a:gd name="T54" fmla="*/ 275 w 492"/>
              <a:gd name="T55" fmla="*/ 391 h 817"/>
              <a:gd name="T56" fmla="*/ 289 w 492"/>
              <a:gd name="T57" fmla="*/ 406 h 817"/>
              <a:gd name="T58" fmla="*/ 312 w 492"/>
              <a:gd name="T59" fmla="*/ 408 h 817"/>
              <a:gd name="T60" fmla="*/ 326 w 492"/>
              <a:gd name="T61" fmla="*/ 419 h 817"/>
              <a:gd name="T62" fmla="*/ 333 w 492"/>
              <a:gd name="T63" fmla="*/ 452 h 817"/>
              <a:gd name="T64" fmla="*/ 337 w 492"/>
              <a:gd name="T65" fmla="*/ 474 h 817"/>
              <a:gd name="T66" fmla="*/ 341 w 492"/>
              <a:gd name="T67" fmla="*/ 491 h 817"/>
              <a:gd name="T68" fmla="*/ 359 w 492"/>
              <a:gd name="T69" fmla="*/ 545 h 817"/>
              <a:gd name="T70" fmla="*/ 391 w 492"/>
              <a:gd name="T71" fmla="*/ 552 h 817"/>
              <a:gd name="T72" fmla="*/ 440 w 492"/>
              <a:gd name="T73" fmla="*/ 556 h 817"/>
              <a:gd name="T74" fmla="*/ 474 w 492"/>
              <a:gd name="T75" fmla="*/ 561 h 817"/>
              <a:gd name="T76" fmla="*/ 490 w 492"/>
              <a:gd name="T77" fmla="*/ 577 h 817"/>
              <a:gd name="T78" fmla="*/ 469 w 492"/>
              <a:gd name="T79" fmla="*/ 667 h 817"/>
              <a:gd name="T80" fmla="*/ 442 w 492"/>
              <a:gd name="T81" fmla="*/ 781 h 817"/>
              <a:gd name="T82" fmla="*/ 433 w 492"/>
              <a:gd name="T83" fmla="*/ 817 h 817"/>
              <a:gd name="T84" fmla="*/ 417 w 492"/>
              <a:gd name="T85" fmla="*/ 812 h 81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92" h="817">
                <a:moveTo>
                  <a:pt x="417" y="812"/>
                </a:moveTo>
                <a:cubicBezTo>
                  <a:pt x="408" y="809"/>
                  <a:pt x="348" y="791"/>
                  <a:pt x="283" y="771"/>
                </a:cubicBezTo>
                <a:cubicBezTo>
                  <a:pt x="218" y="750"/>
                  <a:pt x="148" y="728"/>
                  <a:pt x="127" y="722"/>
                </a:cubicBezTo>
                <a:cubicBezTo>
                  <a:pt x="106" y="715"/>
                  <a:pt x="71" y="705"/>
                  <a:pt x="48" y="698"/>
                </a:cubicBezTo>
                <a:cubicBezTo>
                  <a:pt x="0" y="683"/>
                  <a:pt x="2" y="692"/>
                  <a:pt x="28" y="619"/>
                </a:cubicBezTo>
                <a:cubicBezTo>
                  <a:pt x="38" y="591"/>
                  <a:pt x="47" y="560"/>
                  <a:pt x="49" y="549"/>
                </a:cubicBezTo>
                <a:cubicBezTo>
                  <a:pt x="51" y="534"/>
                  <a:pt x="55" y="525"/>
                  <a:pt x="64" y="516"/>
                </a:cubicBezTo>
                <a:cubicBezTo>
                  <a:pt x="75" y="504"/>
                  <a:pt x="76" y="502"/>
                  <a:pt x="73" y="480"/>
                </a:cubicBezTo>
                <a:cubicBezTo>
                  <a:pt x="72" y="467"/>
                  <a:pt x="70" y="456"/>
                  <a:pt x="70" y="455"/>
                </a:cubicBezTo>
                <a:cubicBezTo>
                  <a:pt x="70" y="446"/>
                  <a:pt x="73" y="442"/>
                  <a:pt x="84" y="436"/>
                </a:cubicBezTo>
                <a:cubicBezTo>
                  <a:pt x="98" y="429"/>
                  <a:pt x="119" y="407"/>
                  <a:pt x="119" y="400"/>
                </a:cubicBezTo>
                <a:cubicBezTo>
                  <a:pt x="119" y="398"/>
                  <a:pt x="126" y="389"/>
                  <a:pt x="135" y="380"/>
                </a:cubicBezTo>
                <a:cubicBezTo>
                  <a:pt x="151" y="365"/>
                  <a:pt x="151" y="365"/>
                  <a:pt x="151" y="365"/>
                </a:cubicBezTo>
                <a:cubicBezTo>
                  <a:pt x="145" y="333"/>
                  <a:pt x="145" y="333"/>
                  <a:pt x="145" y="333"/>
                </a:cubicBezTo>
                <a:cubicBezTo>
                  <a:pt x="135" y="280"/>
                  <a:pt x="138" y="249"/>
                  <a:pt x="156" y="197"/>
                </a:cubicBezTo>
                <a:cubicBezTo>
                  <a:pt x="165" y="173"/>
                  <a:pt x="183" y="119"/>
                  <a:pt x="198" y="79"/>
                </a:cubicBezTo>
                <a:cubicBezTo>
                  <a:pt x="212" y="38"/>
                  <a:pt x="224" y="4"/>
                  <a:pt x="225" y="3"/>
                </a:cubicBezTo>
                <a:cubicBezTo>
                  <a:pt x="228" y="0"/>
                  <a:pt x="275" y="15"/>
                  <a:pt x="275" y="19"/>
                </a:cubicBezTo>
                <a:cubicBezTo>
                  <a:pt x="275" y="20"/>
                  <a:pt x="271" y="39"/>
                  <a:pt x="265" y="61"/>
                </a:cubicBezTo>
                <a:cubicBezTo>
                  <a:pt x="258" y="87"/>
                  <a:pt x="255" y="111"/>
                  <a:pt x="255" y="131"/>
                </a:cubicBezTo>
                <a:cubicBezTo>
                  <a:pt x="255" y="147"/>
                  <a:pt x="255" y="164"/>
                  <a:pt x="255" y="169"/>
                </a:cubicBezTo>
                <a:cubicBezTo>
                  <a:pt x="255" y="173"/>
                  <a:pt x="262" y="189"/>
                  <a:pt x="271" y="205"/>
                </a:cubicBezTo>
                <a:cubicBezTo>
                  <a:pt x="279" y="220"/>
                  <a:pt x="287" y="239"/>
                  <a:pt x="289" y="247"/>
                </a:cubicBezTo>
                <a:cubicBezTo>
                  <a:pt x="292" y="260"/>
                  <a:pt x="305" y="283"/>
                  <a:pt x="312" y="286"/>
                </a:cubicBezTo>
                <a:cubicBezTo>
                  <a:pt x="318" y="288"/>
                  <a:pt x="315" y="304"/>
                  <a:pt x="307" y="317"/>
                </a:cubicBezTo>
                <a:cubicBezTo>
                  <a:pt x="303" y="323"/>
                  <a:pt x="299" y="334"/>
                  <a:pt x="299" y="341"/>
                </a:cubicBezTo>
                <a:cubicBezTo>
                  <a:pt x="299" y="351"/>
                  <a:pt x="297" y="355"/>
                  <a:pt x="291" y="357"/>
                </a:cubicBezTo>
                <a:cubicBezTo>
                  <a:pt x="282" y="360"/>
                  <a:pt x="275" y="374"/>
                  <a:pt x="275" y="391"/>
                </a:cubicBezTo>
                <a:cubicBezTo>
                  <a:pt x="275" y="400"/>
                  <a:pt x="277" y="403"/>
                  <a:pt x="289" y="406"/>
                </a:cubicBezTo>
                <a:cubicBezTo>
                  <a:pt x="296" y="408"/>
                  <a:pt x="307" y="409"/>
                  <a:pt x="312" y="408"/>
                </a:cubicBezTo>
                <a:cubicBezTo>
                  <a:pt x="321" y="406"/>
                  <a:pt x="323" y="408"/>
                  <a:pt x="326" y="419"/>
                </a:cubicBezTo>
                <a:cubicBezTo>
                  <a:pt x="329" y="427"/>
                  <a:pt x="332" y="441"/>
                  <a:pt x="333" y="452"/>
                </a:cubicBezTo>
                <a:cubicBezTo>
                  <a:pt x="334" y="463"/>
                  <a:pt x="336" y="473"/>
                  <a:pt x="337" y="474"/>
                </a:cubicBezTo>
                <a:cubicBezTo>
                  <a:pt x="338" y="476"/>
                  <a:pt x="339" y="483"/>
                  <a:pt x="341" y="491"/>
                </a:cubicBezTo>
                <a:cubicBezTo>
                  <a:pt x="346" y="522"/>
                  <a:pt x="351" y="536"/>
                  <a:pt x="359" y="545"/>
                </a:cubicBezTo>
                <a:cubicBezTo>
                  <a:pt x="367" y="553"/>
                  <a:pt x="371" y="554"/>
                  <a:pt x="391" y="552"/>
                </a:cubicBezTo>
                <a:cubicBezTo>
                  <a:pt x="406" y="550"/>
                  <a:pt x="422" y="552"/>
                  <a:pt x="440" y="556"/>
                </a:cubicBezTo>
                <a:cubicBezTo>
                  <a:pt x="455" y="560"/>
                  <a:pt x="470" y="562"/>
                  <a:pt x="474" y="561"/>
                </a:cubicBezTo>
                <a:cubicBezTo>
                  <a:pt x="485" y="557"/>
                  <a:pt x="492" y="564"/>
                  <a:pt x="490" y="577"/>
                </a:cubicBezTo>
                <a:cubicBezTo>
                  <a:pt x="489" y="583"/>
                  <a:pt x="480" y="624"/>
                  <a:pt x="469" y="667"/>
                </a:cubicBezTo>
                <a:cubicBezTo>
                  <a:pt x="459" y="709"/>
                  <a:pt x="446" y="761"/>
                  <a:pt x="442" y="781"/>
                </a:cubicBezTo>
                <a:cubicBezTo>
                  <a:pt x="433" y="817"/>
                  <a:pt x="433" y="817"/>
                  <a:pt x="433" y="817"/>
                </a:cubicBezTo>
                <a:lnTo>
                  <a:pt x="417" y="812"/>
                </a:ln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2" name="Freeform 88"/>
          <p:cNvSpPr/>
          <p:nvPr userDrawn="1">
            <p:custDataLst>
              <p:tags r:id="rId123"/>
            </p:custDataLst>
          </p:nvPr>
        </p:nvSpPr>
        <p:spPr bwMode="black">
          <a:xfrm>
            <a:off x="3820481" y="2392253"/>
            <a:ext cx="447675" cy="819150"/>
          </a:xfrm>
          <a:custGeom>
            <a:gdLst>
              <a:gd name="T0" fmla="*/ 175 w 311"/>
              <a:gd name="T1" fmla="*/ 562 h 571"/>
              <a:gd name="T2" fmla="*/ 129 w 311"/>
              <a:gd name="T3" fmla="*/ 482 h 571"/>
              <a:gd name="T4" fmla="*/ 101 w 311"/>
              <a:gd name="T5" fmla="*/ 449 h 571"/>
              <a:gd name="T6" fmla="*/ 106 w 311"/>
              <a:gd name="T7" fmla="*/ 416 h 571"/>
              <a:gd name="T8" fmla="*/ 80 w 311"/>
              <a:gd name="T9" fmla="*/ 373 h 571"/>
              <a:gd name="T10" fmla="*/ 59 w 311"/>
              <a:gd name="T11" fmla="*/ 341 h 571"/>
              <a:gd name="T12" fmla="*/ 34 w 311"/>
              <a:gd name="T13" fmla="*/ 308 h 571"/>
              <a:gd name="T14" fmla="*/ 2 w 311"/>
              <a:gd name="T15" fmla="*/ 245 h 571"/>
              <a:gd name="T16" fmla="*/ 0 w 311"/>
              <a:gd name="T17" fmla="*/ 225 h 571"/>
              <a:gd name="T18" fmla="*/ 19 w 311"/>
              <a:gd name="T19" fmla="*/ 210 h 571"/>
              <a:gd name="T20" fmla="*/ 38 w 311"/>
              <a:gd name="T21" fmla="*/ 195 h 571"/>
              <a:gd name="T22" fmla="*/ 39 w 311"/>
              <a:gd name="T23" fmla="*/ 160 h 571"/>
              <a:gd name="T24" fmla="*/ 40 w 311"/>
              <a:gd name="T25" fmla="*/ 124 h 571"/>
              <a:gd name="T26" fmla="*/ 52 w 311"/>
              <a:gd name="T27" fmla="*/ 121 h 571"/>
              <a:gd name="T28" fmla="*/ 102 w 311"/>
              <a:gd name="T29" fmla="*/ 57 h 571"/>
              <a:gd name="T30" fmla="*/ 91 w 311"/>
              <a:gd name="T31" fmla="*/ 20 h 571"/>
              <a:gd name="T32" fmla="*/ 79 w 311"/>
              <a:gd name="T33" fmla="*/ 1 h 571"/>
              <a:gd name="T34" fmla="*/ 130 w 311"/>
              <a:gd name="T35" fmla="*/ 1 h 571"/>
              <a:gd name="T36" fmla="*/ 234 w 311"/>
              <a:gd name="T37" fmla="*/ 2 h 571"/>
              <a:gd name="T38" fmla="*/ 287 w 311"/>
              <a:gd name="T39" fmla="*/ 3 h 571"/>
              <a:gd name="T40" fmla="*/ 287 w 311"/>
              <a:gd name="T41" fmla="*/ 13 h 571"/>
              <a:gd name="T42" fmla="*/ 293 w 311"/>
              <a:gd name="T43" fmla="*/ 32 h 571"/>
              <a:gd name="T44" fmla="*/ 307 w 311"/>
              <a:gd name="T45" fmla="*/ 223 h 571"/>
              <a:gd name="T46" fmla="*/ 310 w 311"/>
              <a:gd name="T47" fmla="*/ 381 h 571"/>
              <a:gd name="T48" fmla="*/ 294 w 311"/>
              <a:gd name="T49" fmla="*/ 425 h 571"/>
              <a:gd name="T50" fmla="*/ 274 w 311"/>
              <a:gd name="T51" fmla="*/ 482 h 571"/>
              <a:gd name="T52" fmla="*/ 251 w 311"/>
              <a:gd name="T53" fmla="*/ 540 h 571"/>
              <a:gd name="T54" fmla="*/ 239 w 311"/>
              <a:gd name="T55" fmla="*/ 551 h 571"/>
              <a:gd name="T56" fmla="*/ 212 w 311"/>
              <a:gd name="T57" fmla="*/ 559 h 571"/>
              <a:gd name="T58" fmla="*/ 182 w 311"/>
              <a:gd name="T59" fmla="*/ 565 h 571"/>
              <a:gd name="T60" fmla="*/ 175 w 311"/>
              <a:gd name="T61" fmla="*/ 562 h 571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11" h="571">
                <a:moveTo>
                  <a:pt x="175" y="562"/>
                </a:moveTo>
                <a:cubicBezTo>
                  <a:pt x="173" y="517"/>
                  <a:pt x="170" y="512"/>
                  <a:pt x="129" y="482"/>
                </a:cubicBezTo>
                <a:cubicBezTo>
                  <a:pt x="101" y="462"/>
                  <a:pt x="99" y="460"/>
                  <a:pt x="101" y="449"/>
                </a:cubicBezTo>
                <a:cubicBezTo>
                  <a:pt x="102" y="442"/>
                  <a:pt x="104" y="427"/>
                  <a:pt x="106" y="416"/>
                </a:cubicBezTo>
                <a:cubicBezTo>
                  <a:pt x="108" y="393"/>
                  <a:pt x="104" y="386"/>
                  <a:pt x="80" y="373"/>
                </a:cubicBezTo>
                <a:cubicBezTo>
                  <a:pt x="68" y="365"/>
                  <a:pt x="59" y="352"/>
                  <a:pt x="59" y="341"/>
                </a:cubicBezTo>
                <a:cubicBezTo>
                  <a:pt x="59" y="338"/>
                  <a:pt x="48" y="323"/>
                  <a:pt x="34" y="308"/>
                </a:cubicBezTo>
                <a:cubicBezTo>
                  <a:pt x="8" y="280"/>
                  <a:pt x="6" y="276"/>
                  <a:pt x="2" y="245"/>
                </a:cubicBezTo>
                <a:cubicBezTo>
                  <a:pt x="0" y="225"/>
                  <a:pt x="0" y="225"/>
                  <a:pt x="0" y="225"/>
                </a:cubicBezTo>
                <a:cubicBezTo>
                  <a:pt x="19" y="210"/>
                  <a:pt x="19" y="210"/>
                  <a:pt x="19" y="210"/>
                </a:cubicBezTo>
                <a:cubicBezTo>
                  <a:pt x="38" y="195"/>
                  <a:pt x="38" y="195"/>
                  <a:pt x="38" y="195"/>
                </a:cubicBezTo>
                <a:cubicBezTo>
                  <a:pt x="39" y="160"/>
                  <a:pt x="39" y="160"/>
                  <a:pt x="39" y="160"/>
                </a:cubicBezTo>
                <a:cubicBezTo>
                  <a:pt x="39" y="141"/>
                  <a:pt x="40" y="125"/>
                  <a:pt x="40" y="124"/>
                </a:cubicBezTo>
                <a:cubicBezTo>
                  <a:pt x="41" y="123"/>
                  <a:pt x="46" y="122"/>
                  <a:pt x="52" y="121"/>
                </a:cubicBezTo>
                <a:cubicBezTo>
                  <a:pt x="83" y="116"/>
                  <a:pt x="99" y="94"/>
                  <a:pt x="102" y="57"/>
                </a:cubicBezTo>
                <a:cubicBezTo>
                  <a:pt x="103" y="40"/>
                  <a:pt x="101" y="34"/>
                  <a:pt x="91" y="20"/>
                </a:cubicBezTo>
                <a:cubicBezTo>
                  <a:pt x="84" y="11"/>
                  <a:pt x="79" y="2"/>
                  <a:pt x="79" y="1"/>
                </a:cubicBezTo>
                <a:cubicBezTo>
                  <a:pt x="79" y="0"/>
                  <a:pt x="102" y="0"/>
                  <a:pt x="130" y="1"/>
                </a:cubicBezTo>
                <a:cubicBezTo>
                  <a:pt x="158" y="1"/>
                  <a:pt x="205" y="2"/>
                  <a:pt x="234" y="2"/>
                </a:cubicBezTo>
                <a:cubicBezTo>
                  <a:pt x="287" y="3"/>
                  <a:pt x="287" y="3"/>
                  <a:pt x="287" y="3"/>
                </a:cubicBezTo>
                <a:cubicBezTo>
                  <a:pt x="287" y="13"/>
                  <a:pt x="287" y="13"/>
                  <a:pt x="287" y="13"/>
                </a:cubicBezTo>
                <a:cubicBezTo>
                  <a:pt x="287" y="18"/>
                  <a:pt x="290" y="27"/>
                  <a:pt x="293" y="32"/>
                </a:cubicBezTo>
                <a:cubicBezTo>
                  <a:pt x="303" y="48"/>
                  <a:pt x="306" y="80"/>
                  <a:pt x="307" y="223"/>
                </a:cubicBezTo>
                <a:cubicBezTo>
                  <a:pt x="307" y="301"/>
                  <a:pt x="308" y="372"/>
                  <a:pt x="310" y="381"/>
                </a:cubicBezTo>
                <a:cubicBezTo>
                  <a:pt x="311" y="396"/>
                  <a:pt x="310" y="401"/>
                  <a:pt x="294" y="425"/>
                </a:cubicBezTo>
                <a:cubicBezTo>
                  <a:pt x="278" y="449"/>
                  <a:pt x="276" y="457"/>
                  <a:pt x="274" y="482"/>
                </a:cubicBezTo>
                <a:cubicBezTo>
                  <a:pt x="271" y="516"/>
                  <a:pt x="263" y="537"/>
                  <a:pt x="251" y="540"/>
                </a:cubicBezTo>
                <a:cubicBezTo>
                  <a:pt x="247" y="542"/>
                  <a:pt x="241" y="547"/>
                  <a:pt x="239" y="551"/>
                </a:cubicBezTo>
                <a:cubicBezTo>
                  <a:pt x="236" y="557"/>
                  <a:pt x="230" y="559"/>
                  <a:pt x="212" y="559"/>
                </a:cubicBezTo>
                <a:cubicBezTo>
                  <a:pt x="197" y="559"/>
                  <a:pt x="187" y="561"/>
                  <a:pt x="182" y="565"/>
                </a:cubicBezTo>
                <a:cubicBezTo>
                  <a:pt x="176" y="571"/>
                  <a:pt x="175" y="571"/>
                  <a:pt x="175" y="562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3" name="Freeform 89"/>
          <p:cNvSpPr/>
          <p:nvPr userDrawn="1">
            <p:custDataLst>
              <p:tags r:id="rId124"/>
            </p:custDataLst>
          </p:nvPr>
        </p:nvSpPr>
        <p:spPr bwMode="black">
          <a:xfrm>
            <a:off x="4231644" y="2490678"/>
            <a:ext cx="347663" cy="603250"/>
          </a:xfrm>
          <a:custGeom>
            <a:gdLst>
              <a:gd name="T0" fmla="*/ 2 w 242"/>
              <a:gd name="T1" fmla="*/ 403 h 420"/>
              <a:gd name="T2" fmla="*/ 20 w 242"/>
              <a:gd name="T3" fmla="*/ 362 h 420"/>
              <a:gd name="T4" fmla="*/ 36 w 242"/>
              <a:gd name="T5" fmla="*/ 337 h 420"/>
              <a:gd name="T6" fmla="*/ 34 w 242"/>
              <a:gd name="T7" fmla="*/ 180 h 420"/>
              <a:gd name="T8" fmla="*/ 31 w 242"/>
              <a:gd name="T9" fmla="*/ 17 h 420"/>
              <a:gd name="T10" fmla="*/ 41 w 242"/>
              <a:gd name="T11" fmla="*/ 10 h 420"/>
              <a:gd name="T12" fmla="*/ 56 w 242"/>
              <a:gd name="T13" fmla="*/ 5 h 420"/>
              <a:gd name="T14" fmla="*/ 143 w 242"/>
              <a:gd name="T15" fmla="*/ 0 h 420"/>
              <a:gd name="T16" fmla="*/ 227 w 242"/>
              <a:gd name="T17" fmla="*/ 6 h 420"/>
              <a:gd name="T18" fmla="*/ 239 w 242"/>
              <a:gd name="T19" fmla="*/ 308 h 420"/>
              <a:gd name="T20" fmla="*/ 226 w 242"/>
              <a:gd name="T21" fmla="*/ 314 h 420"/>
              <a:gd name="T22" fmla="*/ 187 w 242"/>
              <a:gd name="T23" fmla="*/ 346 h 420"/>
              <a:gd name="T24" fmla="*/ 144 w 242"/>
              <a:gd name="T25" fmla="*/ 383 h 420"/>
              <a:gd name="T26" fmla="*/ 109 w 242"/>
              <a:gd name="T27" fmla="*/ 397 h 420"/>
              <a:gd name="T28" fmla="*/ 59 w 242"/>
              <a:gd name="T29" fmla="*/ 409 h 420"/>
              <a:gd name="T30" fmla="*/ 20 w 242"/>
              <a:gd name="T31" fmla="*/ 413 h 420"/>
              <a:gd name="T32" fmla="*/ 2 w 242"/>
              <a:gd name="T33" fmla="*/ 403 h 42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41" h="420">
                <a:moveTo>
                  <a:pt x="2" y="403"/>
                </a:moveTo>
                <a:cubicBezTo>
                  <a:pt x="3" y="394"/>
                  <a:pt x="11" y="376"/>
                  <a:pt x="20" y="362"/>
                </a:cubicBezTo>
                <a:cubicBezTo>
                  <a:pt x="36" y="337"/>
                  <a:pt x="36" y="337"/>
                  <a:pt x="36" y="337"/>
                </a:cubicBezTo>
                <a:cubicBezTo>
                  <a:pt x="34" y="180"/>
                  <a:pt x="34" y="180"/>
                  <a:pt x="34" y="180"/>
                </a:cubicBezTo>
                <a:cubicBezTo>
                  <a:pt x="34" y="94"/>
                  <a:pt x="32" y="20"/>
                  <a:pt x="31" y="17"/>
                </a:cubicBezTo>
                <a:cubicBezTo>
                  <a:pt x="30" y="11"/>
                  <a:pt x="32" y="10"/>
                  <a:pt x="41" y="10"/>
                </a:cubicBezTo>
                <a:cubicBezTo>
                  <a:pt x="47" y="10"/>
                  <a:pt x="53" y="8"/>
                  <a:pt x="56" y="5"/>
                </a:cubicBezTo>
                <a:cubicBezTo>
                  <a:pt x="58" y="3"/>
                  <a:pt x="93" y="1"/>
                  <a:pt x="143" y="0"/>
                </a:cubicBezTo>
                <a:cubicBezTo>
                  <a:pt x="215" y="0"/>
                  <a:pt x="226" y="0"/>
                  <a:pt x="227" y="6"/>
                </a:cubicBezTo>
                <a:cubicBezTo>
                  <a:pt x="232" y="38"/>
                  <a:pt x="242" y="299"/>
                  <a:pt x="239" y="308"/>
                </a:cubicBezTo>
                <a:cubicBezTo>
                  <a:pt x="237" y="311"/>
                  <a:pt x="232" y="314"/>
                  <a:pt x="226" y="314"/>
                </a:cubicBezTo>
                <a:cubicBezTo>
                  <a:pt x="212" y="314"/>
                  <a:pt x="210" y="315"/>
                  <a:pt x="187" y="346"/>
                </a:cubicBezTo>
                <a:cubicBezTo>
                  <a:pt x="160" y="381"/>
                  <a:pt x="158" y="383"/>
                  <a:pt x="144" y="383"/>
                </a:cubicBezTo>
                <a:cubicBezTo>
                  <a:pt x="137" y="384"/>
                  <a:pt x="121" y="390"/>
                  <a:pt x="109" y="397"/>
                </a:cubicBezTo>
                <a:cubicBezTo>
                  <a:pt x="90" y="408"/>
                  <a:pt x="84" y="410"/>
                  <a:pt x="59" y="409"/>
                </a:cubicBezTo>
                <a:cubicBezTo>
                  <a:pt x="44" y="409"/>
                  <a:pt x="26" y="410"/>
                  <a:pt x="20" y="413"/>
                </a:cubicBezTo>
                <a:cubicBezTo>
                  <a:pt x="2" y="420"/>
                  <a:pt x="0" y="419"/>
                  <a:pt x="2" y="403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4" name="Freeform 90"/>
          <p:cNvSpPr/>
          <p:nvPr userDrawn="1">
            <p:custDataLst>
              <p:tags r:id="rId125"/>
            </p:custDataLst>
          </p:nvPr>
        </p:nvSpPr>
        <p:spPr bwMode="black">
          <a:xfrm>
            <a:off x="2574293" y="2687528"/>
            <a:ext cx="866775" cy="519113"/>
          </a:xfrm>
          <a:custGeom>
            <a:gdLst>
              <a:gd name="T0" fmla="*/ 569 w 603"/>
              <a:gd name="T1" fmla="*/ 358 h 361"/>
              <a:gd name="T2" fmla="*/ 528 w 603"/>
              <a:gd name="T3" fmla="*/ 355 h 361"/>
              <a:gd name="T4" fmla="*/ 482 w 603"/>
              <a:gd name="T5" fmla="*/ 351 h 361"/>
              <a:gd name="T6" fmla="*/ 438 w 603"/>
              <a:gd name="T7" fmla="*/ 346 h 361"/>
              <a:gd name="T8" fmla="*/ 394 w 603"/>
              <a:gd name="T9" fmla="*/ 343 h 361"/>
              <a:gd name="T10" fmla="*/ 348 w 603"/>
              <a:gd name="T11" fmla="*/ 338 h 361"/>
              <a:gd name="T12" fmla="*/ 302 w 603"/>
              <a:gd name="T13" fmla="*/ 335 h 361"/>
              <a:gd name="T14" fmla="*/ 258 w 603"/>
              <a:gd name="T15" fmla="*/ 331 h 361"/>
              <a:gd name="T16" fmla="*/ 214 w 603"/>
              <a:gd name="T17" fmla="*/ 327 h 361"/>
              <a:gd name="T18" fmla="*/ 170 w 603"/>
              <a:gd name="T19" fmla="*/ 323 h 361"/>
              <a:gd name="T20" fmla="*/ 126 w 603"/>
              <a:gd name="T21" fmla="*/ 318 h 361"/>
              <a:gd name="T22" fmla="*/ 80 w 603"/>
              <a:gd name="T23" fmla="*/ 314 h 361"/>
              <a:gd name="T24" fmla="*/ 34 w 603"/>
              <a:gd name="T25" fmla="*/ 310 h 361"/>
              <a:gd name="T26" fmla="*/ 14 w 603"/>
              <a:gd name="T27" fmla="*/ 309 h 361"/>
              <a:gd name="T28" fmla="*/ 0 w 603"/>
              <a:gd name="T29" fmla="*/ 309 h 361"/>
              <a:gd name="T30" fmla="*/ 7 w 603"/>
              <a:gd name="T31" fmla="*/ 258 h 361"/>
              <a:gd name="T32" fmla="*/ 16 w 603"/>
              <a:gd name="T33" fmla="*/ 189 h 361"/>
              <a:gd name="T34" fmla="*/ 20 w 603"/>
              <a:gd name="T35" fmla="*/ 161 h 361"/>
              <a:gd name="T36" fmla="*/ 24 w 603"/>
              <a:gd name="T37" fmla="*/ 137 h 361"/>
              <a:gd name="T38" fmla="*/ 30 w 603"/>
              <a:gd name="T39" fmla="*/ 91 h 361"/>
              <a:gd name="T40" fmla="*/ 37 w 603"/>
              <a:gd name="T41" fmla="*/ 45 h 361"/>
              <a:gd name="T42" fmla="*/ 41 w 603"/>
              <a:gd name="T43" fmla="*/ 15 h 361"/>
              <a:gd name="T44" fmla="*/ 43 w 603"/>
              <a:gd name="T45" fmla="*/ 0 h 361"/>
              <a:gd name="T46" fmla="*/ 70 w 603"/>
              <a:gd name="T47" fmla="*/ 2 h 361"/>
              <a:gd name="T48" fmla="*/ 186 w 603"/>
              <a:gd name="T49" fmla="*/ 14 h 361"/>
              <a:gd name="T50" fmla="*/ 226 w 603"/>
              <a:gd name="T51" fmla="*/ 19 h 361"/>
              <a:gd name="T52" fmla="*/ 262 w 603"/>
              <a:gd name="T53" fmla="*/ 23 h 361"/>
              <a:gd name="T54" fmla="*/ 298 w 603"/>
              <a:gd name="T55" fmla="*/ 27 h 361"/>
              <a:gd name="T56" fmla="*/ 334 w 603"/>
              <a:gd name="T57" fmla="*/ 31 h 361"/>
              <a:gd name="T58" fmla="*/ 374 w 603"/>
              <a:gd name="T59" fmla="*/ 35 h 361"/>
              <a:gd name="T60" fmla="*/ 410 w 603"/>
              <a:gd name="T61" fmla="*/ 39 h 361"/>
              <a:gd name="T62" fmla="*/ 446 w 603"/>
              <a:gd name="T63" fmla="*/ 43 h 361"/>
              <a:gd name="T64" fmla="*/ 484 w 603"/>
              <a:gd name="T65" fmla="*/ 47 h 361"/>
              <a:gd name="T66" fmla="*/ 526 w 603"/>
              <a:gd name="T67" fmla="*/ 51 h 361"/>
              <a:gd name="T68" fmla="*/ 572 w 603"/>
              <a:gd name="T69" fmla="*/ 65 h 361"/>
              <a:gd name="T70" fmla="*/ 576 w 603"/>
              <a:gd name="T71" fmla="*/ 87 h 361"/>
              <a:gd name="T72" fmla="*/ 574 w 603"/>
              <a:gd name="T73" fmla="*/ 113 h 361"/>
              <a:gd name="T74" fmla="*/ 584 w 603"/>
              <a:gd name="T75" fmla="*/ 129 h 361"/>
              <a:gd name="T76" fmla="*/ 594 w 603"/>
              <a:gd name="T77" fmla="*/ 136 h 361"/>
              <a:gd name="T78" fmla="*/ 598 w 603"/>
              <a:gd name="T79" fmla="*/ 311 h 361"/>
              <a:gd name="T80" fmla="*/ 593 w 603"/>
              <a:gd name="T81" fmla="*/ 361 h 361"/>
              <a:gd name="T82" fmla="*/ 581 w 603"/>
              <a:gd name="T83" fmla="*/ 360 h 361"/>
              <a:gd name="T84" fmla="*/ 569 w 603"/>
              <a:gd name="T85" fmla="*/ 358 h 361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03" h="361">
                <a:moveTo>
                  <a:pt x="569" y="358"/>
                </a:moveTo>
                <a:cubicBezTo>
                  <a:pt x="568" y="358"/>
                  <a:pt x="550" y="356"/>
                  <a:pt x="528" y="355"/>
                </a:cubicBezTo>
                <a:cubicBezTo>
                  <a:pt x="506" y="353"/>
                  <a:pt x="485" y="351"/>
                  <a:pt x="482" y="351"/>
                </a:cubicBezTo>
                <a:cubicBezTo>
                  <a:pt x="479" y="350"/>
                  <a:pt x="459" y="348"/>
                  <a:pt x="438" y="346"/>
                </a:cubicBezTo>
                <a:cubicBezTo>
                  <a:pt x="417" y="345"/>
                  <a:pt x="397" y="343"/>
                  <a:pt x="394" y="343"/>
                </a:cubicBezTo>
                <a:cubicBezTo>
                  <a:pt x="391" y="342"/>
                  <a:pt x="370" y="340"/>
                  <a:pt x="348" y="338"/>
                </a:cubicBezTo>
                <a:cubicBezTo>
                  <a:pt x="326" y="337"/>
                  <a:pt x="305" y="335"/>
                  <a:pt x="302" y="335"/>
                </a:cubicBezTo>
                <a:cubicBezTo>
                  <a:pt x="299" y="334"/>
                  <a:pt x="279" y="332"/>
                  <a:pt x="258" y="331"/>
                </a:cubicBezTo>
                <a:cubicBezTo>
                  <a:pt x="237" y="329"/>
                  <a:pt x="217" y="327"/>
                  <a:pt x="214" y="327"/>
                </a:cubicBezTo>
                <a:cubicBezTo>
                  <a:pt x="211" y="326"/>
                  <a:pt x="191" y="324"/>
                  <a:pt x="170" y="323"/>
                </a:cubicBezTo>
                <a:cubicBezTo>
                  <a:pt x="149" y="321"/>
                  <a:pt x="129" y="319"/>
                  <a:pt x="126" y="318"/>
                </a:cubicBezTo>
                <a:cubicBezTo>
                  <a:pt x="123" y="318"/>
                  <a:pt x="102" y="316"/>
                  <a:pt x="80" y="314"/>
                </a:cubicBezTo>
                <a:cubicBezTo>
                  <a:pt x="58" y="313"/>
                  <a:pt x="37" y="311"/>
                  <a:pt x="34" y="310"/>
                </a:cubicBezTo>
                <a:cubicBezTo>
                  <a:pt x="31" y="310"/>
                  <a:pt x="22" y="309"/>
                  <a:pt x="14" y="309"/>
                </a:cubicBezTo>
                <a:cubicBezTo>
                  <a:pt x="0" y="309"/>
                  <a:pt x="0" y="309"/>
                  <a:pt x="0" y="309"/>
                </a:cubicBezTo>
                <a:cubicBezTo>
                  <a:pt x="7" y="258"/>
                  <a:pt x="7" y="258"/>
                  <a:pt x="7" y="258"/>
                </a:cubicBezTo>
                <a:cubicBezTo>
                  <a:pt x="11" y="230"/>
                  <a:pt x="15" y="198"/>
                  <a:pt x="16" y="189"/>
                </a:cubicBezTo>
                <a:cubicBezTo>
                  <a:pt x="17" y="179"/>
                  <a:pt x="19" y="166"/>
                  <a:pt x="20" y="161"/>
                </a:cubicBezTo>
                <a:cubicBezTo>
                  <a:pt x="21" y="155"/>
                  <a:pt x="23" y="144"/>
                  <a:pt x="24" y="137"/>
                </a:cubicBezTo>
                <a:cubicBezTo>
                  <a:pt x="25" y="129"/>
                  <a:pt x="28" y="108"/>
                  <a:pt x="30" y="91"/>
                </a:cubicBezTo>
                <a:cubicBezTo>
                  <a:pt x="33" y="73"/>
                  <a:pt x="36" y="52"/>
                  <a:pt x="37" y="45"/>
                </a:cubicBezTo>
                <a:cubicBezTo>
                  <a:pt x="38" y="37"/>
                  <a:pt x="39" y="24"/>
                  <a:pt x="41" y="15"/>
                </a:cubicBezTo>
                <a:cubicBezTo>
                  <a:pt x="43" y="0"/>
                  <a:pt x="43" y="0"/>
                  <a:pt x="43" y="0"/>
                </a:cubicBezTo>
                <a:cubicBezTo>
                  <a:pt x="70" y="2"/>
                  <a:pt x="70" y="2"/>
                  <a:pt x="70" y="2"/>
                </a:cubicBezTo>
                <a:cubicBezTo>
                  <a:pt x="95" y="4"/>
                  <a:pt x="157" y="11"/>
                  <a:pt x="186" y="14"/>
                </a:cubicBezTo>
                <a:cubicBezTo>
                  <a:pt x="194" y="15"/>
                  <a:pt x="212" y="17"/>
                  <a:pt x="226" y="19"/>
                </a:cubicBezTo>
                <a:cubicBezTo>
                  <a:pt x="240" y="20"/>
                  <a:pt x="257" y="22"/>
                  <a:pt x="262" y="23"/>
                </a:cubicBezTo>
                <a:cubicBezTo>
                  <a:pt x="268" y="23"/>
                  <a:pt x="284" y="25"/>
                  <a:pt x="298" y="27"/>
                </a:cubicBezTo>
                <a:cubicBezTo>
                  <a:pt x="312" y="28"/>
                  <a:pt x="329" y="30"/>
                  <a:pt x="334" y="31"/>
                </a:cubicBezTo>
                <a:cubicBezTo>
                  <a:pt x="340" y="31"/>
                  <a:pt x="358" y="33"/>
                  <a:pt x="374" y="35"/>
                </a:cubicBezTo>
                <a:cubicBezTo>
                  <a:pt x="391" y="36"/>
                  <a:pt x="407" y="38"/>
                  <a:pt x="410" y="39"/>
                </a:cubicBezTo>
                <a:cubicBezTo>
                  <a:pt x="413" y="39"/>
                  <a:pt x="430" y="41"/>
                  <a:pt x="446" y="43"/>
                </a:cubicBezTo>
                <a:cubicBezTo>
                  <a:pt x="463" y="44"/>
                  <a:pt x="480" y="46"/>
                  <a:pt x="484" y="47"/>
                </a:cubicBezTo>
                <a:cubicBezTo>
                  <a:pt x="488" y="48"/>
                  <a:pt x="507" y="49"/>
                  <a:pt x="526" y="51"/>
                </a:cubicBezTo>
                <a:cubicBezTo>
                  <a:pt x="557" y="53"/>
                  <a:pt x="561" y="54"/>
                  <a:pt x="572" y="65"/>
                </a:cubicBezTo>
                <a:cubicBezTo>
                  <a:pt x="583" y="76"/>
                  <a:pt x="583" y="76"/>
                  <a:pt x="576" y="87"/>
                </a:cubicBezTo>
                <a:cubicBezTo>
                  <a:pt x="570" y="96"/>
                  <a:pt x="570" y="100"/>
                  <a:pt x="574" y="113"/>
                </a:cubicBezTo>
                <a:cubicBezTo>
                  <a:pt x="576" y="122"/>
                  <a:pt x="581" y="129"/>
                  <a:pt x="584" y="129"/>
                </a:cubicBezTo>
                <a:cubicBezTo>
                  <a:pt x="587" y="129"/>
                  <a:pt x="592" y="132"/>
                  <a:pt x="594" y="136"/>
                </a:cubicBezTo>
                <a:cubicBezTo>
                  <a:pt x="601" y="149"/>
                  <a:pt x="603" y="258"/>
                  <a:pt x="598" y="311"/>
                </a:cubicBezTo>
                <a:cubicBezTo>
                  <a:pt x="593" y="361"/>
                  <a:pt x="593" y="361"/>
                  <a:pt x="593" y="361"/>
                </a:cubicBezTo>
                <a:cubicBezTo>
                  <a:pt x="581" y="360"/>
                  <a:pt x="581" y="360"/>
                  <a:pt x="581" y="360"/>
                </a:cubicBezTo>
                <a:cubicBezTo>
                  <a:pt x="575" y="359"/>
                  <a:pt x="569" y="358"/>
                  <a:pt x="569" y="358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5" name="Freeform 91"/>
          <p:cNvSpPr/>
          <p:nvPr userDrawn="1">
            <p:custDataLst>
              <p:tags r:id="rId126"/>
            </p:custDataLst>
          </p:nvPr>
        </p:nvSpPr>
        <p:spPr bwMode="black">
          <a:xfrm>
            <a:off x="4090357" y="2900253"/>
            <a:ext cx="830263" cy="385763"/>
          </a:xfrm>
          <a:custGeom>
            <a:gdLst>
              <a:gd name="T0" fmla="*/ 1 w 578"/>
              <a:gd name="T1" fmla="*/ 248 h 269"/>
              <a:gd name="T2" fmla="*/ 5 w 578"/>
              <a:gd name="T3" fmla="*/ 222 h 269"/>
              <a:gd name="T4" fmla="*/ 33 w 578"/>
              <a:gd name="T5" fmla="*/ 217 h 269"/>
              <a:gd name="T6" fmla="*/ 59 w 578"/>
              <a:gd name="T7" fmla="*/ 211 h 269"/>
              <a:gd name="T8" fmla="*/ 74 w 578"/>
              <a:gd name="T9" fmla="*/ 197 h 269"/>
              <a:gd name="T10" fmla="*/ 92 w 578"/>
              <a:gd name="T11" fmla="*/ 169 h 269"/>
              <a:gd name="T12" fmla="*/ 116 w 578"/>
              <a:gd name="T13" fmla="*/ 143 h 269"/>
              <a:gd name="T14" fmla="*/ 163 w 578"/>
              <a:gd name="T15" fmla="*/ 138 h 269"/>
              <a:gd name="T16" fmla="*/ 212 w 578"/>
              <a:gd name="T17" fmla="*/ 125 h 269"/>
              <a:gd name="T18" fmla="*/ 246 w 578"/>
              <a:gd name="T19" fmla="*/ 113 h 269"/>
              <a:gd name="T20" fmla="*/ 300 w 578"/>
              <a:gd name="T21" fmla="*/ 65 h 269"/>
              <a:gd name="T22" fmla="*/ 315 w 578"/>
              <a:gd name="T23" fmla="*/ 45 h 269"/>
              <a:gd name="T24" fmla="*/ 333 w 578"/>
              <a:gd name="T25" fmla="*/ 41 h 269"/>
              <a:gd name="T26" fmla="*/ 350 w 578"/>
              <a:gd name="T27" fmla="*/ 39 h 269"/>
              <a:gd name="T28" fmla="*/ 351 w 578"/>
              <a:gd name="T29" fmla="*/ 19 h 269"/>
              <a:gd name="T30" fmla="*/ 353 w 578"/>
              <a:gd name="T31" fmla="*/ 0 h 269"/>
              <a:gd name="T32" fmla="*/ 366 w 578"/>
              <a:gd name="T33" fmla="*/ 2 h 269"/>
              <a:gd name="T34" fmla="*/ 396 w 578"/>
              <a:gd name="T35" fmla="*/ 16 h 269"/>
              <a:gd name="T36" fmla="*/ 484 w 578"/>
              <a:gd name="T37" fmla="*/ 33 h 269"/>
              <a:gd name="T38" fmla="*/ 522 w 578"/>
              <a:gd name="T39" fmla="*/ 41 h 269"/>
              <a:gd name="T40" fmla="*/ 529 w 578"/>
              <a:gd name="T41" fmla="*/ 63 h 269"/>
              <a:gd name="T42" fmla="*/ 561 w 578"/>
              <a:gd name="T43" fmla="*/ 125 h 269"/>
              <a:gd name="T44" fmla="*/ 578 w 578"/>
              <a:gd name="T45" fmla="*/ 145 h 269"/>
              <a:gd name="T46" fmla="*/ 568 w 578"/>
              <a:gd name="T47" fmla="*/ 152 h 269"/>
              <a:gd name="T48" fmla="*/ 514 w 578"/>
              <a:gd name="T49" fmla="*/ 207 h 269"/>
              <a:gd name="T50" fmla="*/ 472 w 578"/>
              <a:gd name="T51" fmla="*/ 239 h 269"/>
              <a:gd name="T52" fmla="*/ 176 w 578"/>
              <a:gd name="T53" fmla="*/ 247 h 269"/>
              <a:gd name="T54" fmla="*/ 129 w 578"/>
              <a:gd name="T55" fmla="*/ 248 h 269"/>
              <a:gd name="T56" fmla="*/ 97 w 578"/>
              <a:gd name="T57" fmla="*/ 256 h 269"/>
              <a:gd name="T58" fmla="*/ 43 w 578"/>
              <a:gd name="T59" fmla="*/ 266 h 269"/>
              <a:gd name="T60" fmla="*/ 0 w 578"/>
              <a:gd name="T61" fmla="*/ 269 h 269"/>
              <a:gd name="T62" fmla="*/ 1 w 578"/>
              <a:gd name="T63" fmla="*/ 248 h 26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78" h="269">
                <a:moveTo>
                  <a:pt x="1" y="248"/>
                </a:moveTo>
                <a:cubicBezTo>
                  <a:pt x="1" y="236"/>
                  <a:pt x="3" y="224"/>
                  <a:pt x="5" y="222"/>
                </a:cubicBezTo>
                <a:cubicBezTo>
                  <a:pt x="8" y="219"/>
                  <a:pt x="18" y="217"/>
                  <a:pt x="33" y="217"/>
                </a:cubicBezTo>
                <a:cubicBezTo>
                  <a:pt x="50" y="217"/>
                  <a:pt x="57" y="215"/>
                  <a:pt x="59" y="211"/>
                </a:cubicBezTo>
                <a:cubicBezTo>
                  <a:pt x="60" y="208"/>
                  <a:pt x="67" y="201"/>
                  <a:pt x="74" y="197"/>
                </a:cubicBezTo>
                <a:cubicBezTo>
                  <a:pt x="84" y="191"/>
                  <a:pt x="88" y="185"/>
                  <a:pt x="92" y="169"/>
                </a:cubicBezTo>
                <a:cubicBezTo>
                  <a:pt x="97" y="150"/>
                  <a:pt x="99" y="149"/>
                  <a:pt x="116" y="143"/>
                </a:cubicBezTo>
                <a:cubicBezTo>
                  <a:pt x="126" y="140"/>
                  <a:pt x="147" y="137"/>
                  <a:pt x="163" y="138"/>
                </a:cubicBezTo>
                <a:cubicBezTo>
                  <a:pt x="189" y="138"/>
                  <a:pt x="194" y="136"/>
                  <a:pt x="212" y="125"/>
                </a:cubicBezTo>
                <a:cubicBezTo>
                  <a:pt x="224" y="118"/>
                  <a:pt x="238" y="113"/>
                  <a:pt x="246" y="113"/>
                </a:cubicBezTo>
                <a:cubicBezTo>
                  <a:pt x="259" y="113"/>
                  <a:pt x="274" y="100"/>
                  <a:pt x="300" y="65"/>
                </a:cubicBezTo>
                <a:cubicBezTo>
                  <a:pt x="308" y="55"/>
                  <a:pt x="314" y="46"/>
                  <a:pt x="315" y="45"/>
                </a:cubicBezTo>
                <a:cubicBezTo>
                  <a:pt x="316" y="44"/>
                  <a:pt x="324" y="42"/>
                  <a:pt x="333" y="41"/>
                </a:cubicBezTo>
                <a:cubicBezTo>
                  <a:pt x="350" y="39"/>
                  <a:pt x="350" y="39"/>
                  <a:pt x="350" y="39"/>
                </a:cubicBezTo>
                <a:cubicBezTo>
                  <a:pt x="351" y="19"/>
                  <a:pt x="351" y="19"/>
                  <a:pt x="351" y="19"/>
                </a:cubicBezTo>
                <a:cubicBezTo>
                  <a:pt x="353" y="0"/>
                  <a:pt x="353" y="0"/>
                  <a:pt x="353" y="0"/>
                </a:cubicBezTo>
                <a:cubicBezTo>
                  <a:pt x="366" y="2"/>
                  <a:pt x="366" y="2"/>
                  <a:pt x="366" y="2"/>
                </a:cubicBezTo>
                <a:cubicBezTo>
                  <a:pt x="374" y="4"/>
                  <a:pt x="387" y="10"/>
                  <a:pt x="396" y="16"/>
                </a:cubicBezTo>
                <a:cubicBezTo>
                  <a:pt x="414" y="29"/>
                  <a:pt x="440" y="34"/>
                  <a:pt x="484" y="33"/>
                </a:cubicBezTo>
                <a:cubicBezTo>
                  <a:pt x="511" y="32"/>
                  <a:pt x="516" y="33"/>
                  <a:pt x="522" y="41"/>
                </a:cubicBezTo>
                <a:cubicBezTo>
                  <a:pt x="527" y="46"/>
                  <a:pt x="529" y="54"/>
                  <a:pt x="529" y="63"/>
                </a:cubicBezTo>
                <a:cubicBezTo>
                  <a:pt x="527" y="79"/>
                  <a:pt x="536" y="95"/>
                  <a:pt x="561" y="125"/>
                </a:cubicBezTo>
                <a:cubicBezTo>
                  <a:pt x="578" y="145"/>
                  <a:pt x="578" y="145"/>
                  <a:pt x="578" y="145"/>
                </a:cubicBezTo>
                <a:cubicBezTo>
                  <a:pt x="568" y="152"/>
                  <a:pt x="568" y="152"/>
                  <a:pt x="568" y="152"/>
                </a:cubicBezTo>
                <a:cubicBezTo>
                  <a:pt x="557" y="159"/>
                  <a:pt x="552" y="164"/>
                  <a:pt x="514" y="207"/>
                </a:cubicBezTo>
                <a:cubicBezTo>
                  <a:pt x="489" y="235"/>
                  <a:pt x="483" y="239"/>
                  <a:pt x="472" y="239"/>
                </a:cubicBezTo>
                <a:cubicBezTo>
                  <a:pt x="434" y="240"/>
                  <a:pt x="192" y="246"/>
                  <a:pt x="176" y="247"/>
                </a:cubicBezTo>
                <a:cubicBezTo>
                  <a:pt x="166" y="247"/>
                  <a:pt x="145" y="248"/>
                  <a:pt x="129" y="248"/>
                </a:cubicBezTo>
                <a:cubicBezTo>
                  <a:pt x="105" y="248"/>
                  <a:pt x="99" y="250"/>
                  <a:pt x="97" y="256"/>
                </a:cubicBezTo>
                <a:cubicBezTo>
                  <a:pt x="94" y="264"/>
                  <a:pt x="98" y="263"/>
                  <a:pt x="43" y="266"/>
                </a:cubicBezTo>
                <a:cubicBezTo>
                  <a:pt x="0" y="269"/>
                  <a:pt x="0" y="269"/>
                  <a:pt x="0" y="269"/>
                </a:cubicBezTo>
                <a:lnTo>
                  <a:pt x="1" y="248"/>
                </a:ln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6" name="Freeform 92"/>
          <p:cNvSpPr/>
          <p:nvPr userDrawn="1">
            <p:custDataLst>
              <p:tags r:id="rId127"/>
            </p:custDataLst>
          </p:nvPr>
        </p:nvSpPr>
        <p:spPr bwMode="black">
          <a:xfrm>
            <a:off x="3480756" y="3855928"/>
            <a:ext cx="655638" cy="611188"/>
          </a:xfrm>
          <a:custGeom>
            <a:gdLst>
              <a:gd name="T0" fmla="*/ 418 w 456"/>
              <a:gd name="T1" fmla="*/ 423 h 426"/>
              <a:gd name="T2" fmla="*/ 387 w 456"/>
              <a:gd name="T3" fmla="*/ 411 h 426"/>
              <a:gd name="T4" fmla="*/ 355 w 456"/>
              <a:gd name="T5" fmla="*/ 409 h 426"/>
              <a:gd name="T6" fmla="*/ 304 w 456"/>
              <a:gd name="T7" fmla="*/ 422 h 426"/>
              <a:gd name="T8" fmla="*/ 233 w 456"/>
              <a:gd name="T9" fmla="*/ 388 h 426"/>
              <a:gd name="T10" fmla="*/ 198 w 456"/>
              <a:gd name="T11" fmla="*/ 360 h 426"/>
              <a:gd name="T12" fmla="*/ 180 w 456"/>
              <a:gd name="T13" fmla="*/ 351 h 426"/>
              <a:gd name="T14" fmla="*/ 171 w 456"/>
              <a:gd name="T15" fmla="*/ 359 h 426"/>
              <a:gd name="T16" fmla="*/ 88 w 456"/>
              <a:gd name="T17" fmla="*/ 354 h 426"/>
              <a:gd name="T18" fmla="*/ 9 w 456"/>
              <a:gd name="T19" fmla="*/ 352 h 426"/>
              <a:gd name="T20" fmla="*/ 10 w 456"/>
              <a:gd name="T21" fmla="*/ 325 h 426"/>
              <a:gd name="T22" fmla="*/ 22 w 456"/>
              <a:gd name="T23" fmla="*/ 280 h 426"/>
              <a:gd name="T24" fmla="*/ 36 w 456"/>
              <a:gd name="T25" fmla="*/ 227 h 426"/>
              <a:gd name="T26" fmla="*/ 38 w 456"/>
              <a:gd name="T27" fmla="*/ 188 h 426"/>
              <a:gd name="T28" fmla="*/ 22 w 456"/>
              <a:gd name="T29" fmla="*/ 138 h 426"/>
              <a:gd name="T30" fmla="*/ 9 w 456"/>
              <a:gd name="T31" fmla="*/ 57 h 426"/>
              <a:gd name="T32" fmla="*/ 8 w 456"/>
              <a:gd name="T33" fmla="*/ 0 h 426"/>
              <a:gd name="T34" fmla="*/ 130 w 456"/>
              <a:gd name="T35" fmla="*/ 0 h 426"/>
              <a:gd name="T36" fmla="*/ 252 w 456"/>
              <a:gd name="T37" fmla="*/ 5 h 426"/>
              <a:gd name="T38" fmla="*/ 261 w 456"/>
              <a:gd name="T39" fmla="*/ 49 h 426"/>
              <a:gd name="T40" fmla="*/ 234 w 456"/>
              <a:gd name="T41" fmla="*/ 135 h 426"/>
              <a:gd name="T42" fmla="*/ 217 w 456"/>
              <a:gd name="T43" fmla="*/ 215 h 426"/>
              <a:gd name="T44" fmla="*/ 264 w 456"/>
              <a:gd name="T45" fmla="*/ 220 h 426"/>
              <a:gd name="T46" fmla="*/ 363 w 456"/>
              <a:gd name="T47" fmla="*/ 223 h 426"/>
              <a:gd name="T48" fmla="*/ 373 w 456"/>
              <a:gd name="T49" fmla="*/ 254 h 426"/>
              <a:gd name="T50" fmla="*/ 411 w 456"/>
              <a:gd name="T51" fmla="*/ 308 h 426"/>
              <a:gd name="T52" fmla="*/ 428 w 456"/>
              <a:gd name="T53" fmla="*/ 331 h 426"/>
              <a:gd name="T54" fmla="*/ 421 w 456"/>
              <a:gd name="T55" fmla="*/ 353 h 426"/>
              <a:gd name="T56" fmla="*/ 424 w 456"/>
              <a:gd name="T57" fmla="*/ 384 h 426"/>
              <a:gd name="T58" fmla="*/ 456 w 456"/>
              <a:gd name="T59" fmla="*/ 418 h 426"/>
              <a:gd name="T60" fmla="*/ 448 w 456"/>
              <a:gd name="T61" fmla="*/ 424 h 426"/>
              <a:gd name="T62" fmla="*/ 435 w 456"/>
              <a:gd name="T63" fmla="*/ 425 h 426"/>
              <a:gd name="T64" fmla="*/ 418 w 456"/>
              <a:gd name="T65" fmla="*/ 423 h 426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56" h="426">
                <a:moveTo>
                  <a:pt x="418" y="423"/>
                </a:moveTo>
                <a:cubicBezTo>
                  <a:pt x="412" y="421"/>
                  <a:pt x="398" y="415"/>
                  <a:pt x="387" y="411"/>
                </a:cubicBezTo>
                <a:cubicBezTo>
                  <a:pt x="370" y="404"/>
                  <a:pt x="367" y="404"/>
                  <a:pt x="355" y="409"/>
                </a:cubicBezTo>
                <a:cubicBezTo>
                  <a:pt x="341" y="416"/>
                  <a:pt x="330" y="418"/>
                  <a:pt x="304" y="422"/>
                </a:cubicBezTo>
                <a:cubicBezTo>
                  <a:pt x="279" y="425"/>
                  <a:pt x="255" y="413"/>
                  <a:pt x="233" y="388"/>
                </a:cubicBezTo>
                <a:cubicBezTo>
                  <a:pt x="224" y="378"/>
                  <a:pt x="208" y="365"/>
                  <a:pt x="198" y="360"/>
                </a:cubicBezTo>
                <a:cubicBezTo>
                  <a:pt x="180" y="351"/>
                  <a:pt x="180" y="351"/>
                  <a:pt x="180" y="351"/>
                </a:cubicBezTo>
                <a:cubicBezTo>
                  <a:pt x="171" y="359"/>
                  <a:pt x="171" y="359"/>
                  <a:pt x="171" y="359"/>
                </a:cubicBezTo>
                <a:cubicBezTo>
                  <a:pt x="155" y="374"/>
                  <a:pt x="120" y="372"/>
                  <a:pt x="88" y="354"/>
                </a:cubicBezTo>
                <a:cubicBezTo>
                  <a:pt x="74" y="346"/>
                  <a:pt x="16" y="345"/>
                  <a:pt x="9" y="352"/>
                </a:cubicBezTo>
                <a:cubicBezTo>
                  <a:pt x="0" y="361"/>
                  <a:pt x="1" y="354"/>
                  <a:pt x="10" y="325"/>
                </a:cubicBezTo>
                <a:cubicBezTo>
                  <a:pt x="15" y="310"/>
                  <a:pt x="20" y="289"/>
                  <a:pt x="22" y="280"/>
                </a:cubicBezTo>
                <a:cubicBezTo>
                  <a:pt x="26" y="248"/>
                  <a:pt x="28" y="240"/>
                  <a:pt x="36" y="227"/>
                </a:cubicBezTo>
                <a:cubicBezTo>
                  <a:pt x="43" y="215"/>
                  <a:pt x="43" y="211"/>
                  <a:pt x="38" y="188"/>
                </a:cubicBezTo>
                <a:cubicBezTo>
                  <a:pt x="36" y="173"/>
                  <a:pt x="28" y="151"/>
                  <a:pt x="22" y="138"/>
                </a:cubicBezTo>
                <a:cubicBezTo>
                  <a:pt x="12" y="116"/>
                  <a:pt x="11" y="108"/>
                  <a:pt x="9" y="57"/>
                </a:cubicBezTo>
                <a:cubicBezTo>
                  <a:pt x="8" y="0"/>
                  <a:pt x="8" y="0"/>
                  <a:pt x="8" y="0"/>
                </a:cubicBezTo>
                <a:cubicBezTo>
                  <a:pt x="130" y="0"/>
                  <a:pt x="130" y="0"/>
                  <a:pt x="130" y="0"/>
                </a:cubicBezTo>
                <a:cubicBezTo>
                  <a:pt x="225" y="0"/>
                  <a:pt x="252" y="1"/>
                  <a:pt x="252" y="5"/>
                </a:cubicBezTo>
                <a:cubicBezTo>
                  <a:pt x="253" y="21"/>
                  <a:pt x="257" y="39"/>
                  <a:pt x="261" y="49"/>
                </a:cubicBezTo>
                <a:cubicBezTo>
                  <a:pt x="267" y="64"/>
                  <a:pt x="261" y="83"/>
                  <a:pt x="234" y="135"/>
                </a:cubicBezTo>
                <a:cubicBezTo>
                  <a:pt x="208" y="184"/>
                  <a:pt x="203" y="210"/>
                  <a:pt x="217" y="215"/>
                </a:cubicBezTo>
                <a:cubicBezTo>
                  <a:pt x="222" y="217"/>
                  <a:pt x="243" y="219"/>
                  <a:pt x="264" y="220"/>
                </a:cubicBezTo>
                <a:cubicBezTo>
                  <a:pt x="297" y="221"/>
                  <a:pt x="333" y="222"/>
                  <a:pt x="363" y="223"/>
                </a:cubicBezTo>
                <a:cubicBezTo>
                  <a:pt x="370" y="224"/>
                  <a:pt x="371" y="227"/>
                  <a:pt x="373" y="254"/>
                </a:cubicBezTo>
                <a:cubicBezTo>
                  <a:pt x="376" y="289"/>
                  <a:pt x="379" y="293"/>
                  <a:pt x="411" y="308"/>
                </a:cubicBezTo>
                <a:cubicBezTo>
                  <a:pt x="427" y="315"/>
                  <a:pt x="428" y="317"/>
                  <a:pt x="428" y="331"/>
                </a:cubicBezTo>
                <a:cubicBezTo>
                  <a:pt x="428" y="341"/>
                  <a:pt x="425" y="349"/>
                  <a:pt x="421" y="353"/>
                </a:cubicBezTo>
                <a:cubicBezTo>
                  <a:pt x="409" y="364"/>
                  <a:pt x="410" y="378"/>
                  <a:pt x="424" y="384"/>
                </a:cubicBezTo>
                <a:cubicBezTo>
                  <a:pt x="438" y="389"/>
                  <a:pt x="456" y="409"/>
                  <a:pt x="456" y="418"/>
                </a:cubicBezTo>
                <a:cubicBezTo>
                  <a:pt x="456" y="421"/>
                  <a:pt x="453" y="424"/>
                  <a:pt x="448" y="424"/>
                </a:cubicBezTo>
                <a:cubicBezTo>
                  <a:pt x="444" y="424"/>
                  <a:pt x="438" y="424"/>
                  <a:pt x="435" y="425"/>
                </a:cubicBezTo>
                <a:cubicBezTo>
                  <a:pt x="433" y="426"/>
                  <a:pt x="425" y="425"/>
                  <a:pt x="418" y="423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7" name="Freeform 93"/>
          <p:cNvSpPr/>
          <p:nvPr userDrawn="1">
            <p:custDataLst>
              <p:tags r:id="rId128"/>
            </p:custDataLst>
          </p:nvPr>
        </p:nvSpPr>
        <p:spPr bwMode="black">
          <a:xfrm>
            <a:off x="6125532" y="2289065"/>
            <a:ext cx="28575" cy="20638"/>
          </a:xfrm>
          <a:custGeom>
            <a:gdLst>
              <a:gd name="T0" fmla="*/ 1 w 20"/>
              <a:gd name="T1" fmla="*/ 7 h 14"/>
              <a:gd name="T2" fmla="*/ 10 w 20"/>
              <a:gd name="T3" fmla="*/ 0 h 14"/>
              <a:gd name="T4" fmla="*/ 19 w 20"/>
              <a:gd name="T5" fmla="*/ 7 h 14"/>
              <a:gd name="T6" fmla="*/ 10 w 20"/>
              <a:gd name="T7" fmla="*/ 14 h 14"/>
              <a:gd name="T8" fmla="*/ 1 w 20"/>
              <a:gd name="T9" fmla="*/ 7 h 1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14">
                <a:moveTo>
                  <a:pt x="1" y="7"/>
                </a:moveTo>
                <a:cubicBezTo>
                  <a:pt x="2" y="3"/>
                  <a:pt x="6" y="0"/>
                  <a:pt x="10" y="0"/>
                </a:cubicBezTo>
                <a:cubicBezTo>
                  <a:pt x="14" y="0"/>
                  <a:pt x="19" y="3"/>
                  <a:pt x="19" y="7"/>
                </a:cubicBezTo>
                <a:cubicBezTo>
                  <a:pt x="20" y="12"/>
                  <a:pt x="18" y="14"/>
                  <a:pt x="10" y="14"/>
                </a:cubicBezTo>
                <a:cubicBezTo>
                  <a:pt x="2" y="14"/>
                  <a:pt x="0" y="12"/>
                  <a:pt x="1" y="7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8" name="Freeform 94"/>
          <p:cNvSpPr/>
          <p:nvPr userDrawn="1">
            <p:custDataLst>
              <p:tags r:id="rId129"/>
            </p:custDataLst>
          </p:nvPr>
        </p:nvSpPr>
        <p:spPr bwMode="black">
          <a:xfrm>
            <a:off x="6181095" y="2270015"/>
            <a:ext cx="39688" cy="22225"/>
          </a:xfrm>
          <a:custGeom>
            <a:gdLst>
              <a:gd name="T0" fmla="*/ 7 w 28"/>
              <a:gd name="T1" fmla="*/ 13 h 16"/>
              <a:gd name="T2" fmla="*/ 19 w 28"/>
              <a:gd name="T3" fmla="*/ 0 h 16"/>
              <a:gd name="T4" fmla="*/ 21 w 28"/>
              <a:gd name="T5" fmla="*/ 11 h 16"/>
              <a:gd name="T6" fmla="*/ 7 w 28"/>
              <a:gd name="T7" fmla="*/ 13 h 16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8" h="16">
                <a:moveTo>
                  <a:pt x="7" y="13"/>
                </a:moveTo>
                <a:cubicBezTo>
                  <a:pt x="0" y="10"/>
                  <a:pt x="9" y="0"/>
                  <a:pt x="19" y="0"/>
                </a:cubicBezTo>
                <a:cubicBezTo>
                  <a:pt x="27" y="0"/>
                  <a:pt x="28" y="4"/>
                  <a:pt x="21" y="11"/>
                </a:cubicBezTo>
                <a:cubicBezTo>
                  <a:pt x="16" y="16"/>
                  <a:pt x="15" y="16"/>
                  <a:pt x="7" y="13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9" name="Freeform 95"/>
          <p:cNvSpPr/>
          <p:nvPr userDrawn="1">
            <p:custDataLst>
              <p:tags r:id="rId130"/>
            </p:custDataLst>
          </p:nvPr>
        </p:nvSpPr>
        <p:spPr bwMode="black">
          <a:xfrm>
            <a:off x="5814382" y="2085865"/>
            <a:ext cx="404813" cy="206375"/>
          </a:xfrm>
          <a:custGeom>
            <a:gdLst>
              <a:gd name="T0" fmla="*/ 171 w 281"/>
              <a:gd name="T1" fmla="*/ 116 h 144"/>
              <a:gd name="T2" fmla="*/ 151 w 281"/>
              <a:gd name="T3" fmla="*/ 91 h 144"/>
              <a:gd name="T4" fmla="*/ 140 w 281"/>
              <a:gd name="T5" fmla="*/ 90 h 144"/>
              <a:gd name="T6" fmla="*/ 14 w 281"/>
              <a:gd name="T7" fmla="*/ 113 h 144"/>
              <a:gd name="T8" fmla="*/ 5 w 281"/>
              <a:gd name="T9" fmla="*/ 92 h 144"/>
              <a:gd name="T10" fmla="*/ 2 w 281"/>
              <a:gd name="T11" fmla="*/ 59 h 144"/>
              <a:gd name="T12" fmla="*/ 15 w 281"/>
              <a:gd name="T13" fmla="*/ 47 h 144"/>
              <a:gd name="T14" fmla="*/ 40 w 281"/>
              <a:gd name="T15" fmla="*/ 45 h 144"/>
              <a:gd name="T16" fmla="*/ 92 w 281"/>
              <a:gd name="T17" fmla="*/ 37 h 144"/>
              <a:gd name="T18" fmla="*/ 147 w 281"/>
              <a:gd name="T19" fmla="*/ 15 h 144"/>
              <a:gd name="T20" fmla="*/ 174 w 281"/>
              <a:gd name="T21" fmla="*/ 0 h 144"/>
              <a:gd name="T22" fmla="*/ 190 w 281"/>
              <a:gd name="T23" fmla="*/ 29 h 144"/>
              <a:gd name="T24" fmla="*/ 191 w 281"/>
              <a:gd name="T25" fmla="*/ 58 h 144"/>
              <a:gd name="T26" fmla="*/ 213 w 281"/>
              <a:gd name="T27" fmla="*/ 76 h 144"/>
              <a:gd name="T28" fmla="*/ 228 w 281"/>
              <a:gd name="T29" fmla="*/ 88 h 144"/>
              <a:gd name="T30" fmla="*/ 258 w 281"/>
              <a:gd name="T31" fmla="*/ 101 h 144"/>
              <a:gd name="T32" fmla="*/ 253 w 281"/>
              <a:gd name="T33" fmla="*/ 73 h 144"/>
              <a:gd name="T34" fmla="*/ 255 w 281"/>
              <a:gd name="T35" fmla="*/ 68 h 144"/>
              <a:gd name="T36" fmla="*/ 272 w 281"/>
              <a:gd name="T37" fmla="*/ 80 h 144"/>
              <a:gd name="T38" fmla="*/ 273 w 281"/>
              <a:gd name="T39" fmla="*/ 103 h 144"/>
              <a:gd name="T40" fmla="*/ 246 w 281"/>
              <a:gd name="T41" fmla="*/ 120 h 144"/>
              <a:gd name="T42" fmla="*/ 214 w 281"/>
              <a:gd name="T43" fmla="*/ 133 h 144"/>
              <a:gd name="T44" fmla="*/ 171 w 281"/>
              <a:gd name="T45" fmla="*/ 116 h 14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81" h="144">
                <a:moveTo>
                  <a:pt x="171" y="116"/>
                </a:moveTo>
                <a:cubicBezTo>
                  <a:pt x="162" y="102"/>
                  <a:pt x="153" y="91"/>
                  <a:pt x="151" y="91"/>
                </a:cubicBezTo>
                <a:cubicBezTo>
                  <a:pt x="148" y="91"/>
                  <a:pt x="143" y="90"/>
                  <a:pt x="140" y="90"/>
                </a:cubicBezTo>
                <a:cubicBezTo>
                  <a:pt x="134" y="89"/>
                  <a:pt x="53" y="104"/>
                  <a:pt x="14" y="113"/>
                </a:cubicBezTo>
                <a:cubicBezTo>
                  <a:pt x="6" y="115"/>
                  <a:pt x="5" y="113"/>
                  <a:pt x="5" y="92"/>
                </a:cubicBezTo>
                <a:cubicBezTo>
                  <a:pt x="4" y="80"/>
                  <a:pt x="3" y="65"/>
                  <a:pt x="2" y="59"/>
                </a:cubicBezTo>
                <a:cubicBezTo>
                  <a:pt x="0" y="48"/>
                  <a:pt x="0" y="48"/>
                  <a:pt x="15" y="47"/>
                </a:cubicBezTo>
                <a:cubicBezTo>
                  <a:pt x="23" y="47"/>
                  <a:pt x="35" y="46"/>
                  <a:pt x="40" y="45"/>
                </a:cubicBezTo>
                <a:cubicBezTo>
                  <a:pt x="46" y="44"/>
                  <a:pt x="69" y="41"/>
                  <a:pt x="92" y="37"/>
                </a:cubicBezTo>
                <a:cubicBezTo>
                  <a:pt x="131" y="31"/>
                  <a:pt x="134" y="30"/>
                  <a:pt x="147" y="15"/>
                </a:cubicBezTo>
                <a:cubicBezTo>
                  <a:pt x="158" y="3"/>
                  <a:pt x="164" y="0"/>
                  <a:pt x="174" y="0"/>
                </a:cubicBezTo>
                <a:cubicBezTo>
                  <a:pt x="193" y="0"/>
                  <a:pt x="197" y="6"/>
                  <a:pt x="190" y="29"/>
                </a:cubicBezTo>
                <a:cubicBezTo>
                  <a:pt x="185" y="47"/>
                  <a:pt x="185" y="49"/>
                  <a:pt x="191" y="58"/>
                </a:cubicBezTo>
                <a:cubicBezTo>
                  <a:pt x="195" y="63"/>
                  <a:pt x="205" y="71"/>
                  <a:pt x="213" y="76"/>
                </a:cubicBezTo>
                <a:cubicBezTo>
                  <a:pt x="221" y="81"/>
                  <a:pt x="228" y="86"/>
                  <a:pt x="228" y="88"/>
                </a:cubicBezTo>
                <a:cubicBezTo>
                  <a:pt x="228" y="93"/>
                  <a:pt x="252" y="103"/>
                  <a:pt x="258" y="101"/>
                </a:cubicBezTo>
                <a:cubicBezTo>
                  <a:pt x="266" y="98"/>
                  <a:pt x="263" y="80"/>
                  <a:pt x="253" y="73"/>
                </a:cubicBezTo>
                <a:cubicBezTo>
                  <a:pt x="247" y="68"/>
                  <a:pt x="247" y="68"/>
                  <a:pt x="255" y="68"/>
                </a:cubicBezTo>
                <a:cubicBezTo>
                  <a:pt x="260" y="68"/>
                  <a:pt x="267" y="73"/>
                  <a:pt x="272" y="80"/>
                </a:cubicBezTo>
                <a:cubicBezTo>
                  <a:pt x="281" y="92"/>
                  <a:pt x="281" y="92"/>
                  <a:pt x="273" y="103"/>
                </a:cubicBezTo>
                <a:cubicBezTo>
                  <a:pt x="269" y="108"/>
                  <a:pt x="257" y="116"/>
                  <a:pt x="246" y="120"/>
                </a:cubicBezTo>
                <a:cubicBezTo>
                  <a:pt x="235" y="123"/>
                  <a:pt x="221" y="129"/>
                  <a:pt x="214" y="133"/>
                </a:cubicBezTo>
                <a:cubicBezTo>
                  <a:pt x="194" y="144"/>
                  <a:pt x="187" y="142"/>
                  <a:pt x="171" y="116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30" name="Freeform 96"/>
          <p:cNvSpPr/>
          <p:nvPr userDrawn="1">
            <p:custDataLst>
              <p:tags r:id="rId131"/>
            </p:custDataLst>
          </p:nvPr>
        </p:nvSpPr>
        <p:spPr bwMode="black">
          <a:xfrm>
            <a:off x="5209545" y="2676416"/>
            <a:ext cx="525463" cy="241300"/>
          </a:xfrm>
          <a:custGeom>
            <a:gdLst>
              <a:gd name="T0" fmla="*/ 306 w 365"/>
              <a:gd name="T1" fmla="*/ 158 h 168"/>
              <a:gd name="T2" fmla="*/ 293 w 365"/>
              <a:gd name="T3" fmla="*/ 150 h 168"/>
              <a:gd name="T4" fmla="*/ 261 w 365"/>
              <a:gd name="T5" fmla="*/ 93 h 168"/>
              <a:gd name="T6" fmla="*/ 259 w 365"/>
              <a:gd name="T7" fmla="*/ 64 h 168"/>
              <a:gd name="T8" fmla="*/ 261 w 365"/>
              <a:gd name="T9" fmla="*/ 43 h 168"/>
              <a:gd name="T10" fmla="*/ 264 w 365"/>
              <a:gd name="T11" fmla="*/ 30 h 168"/>
              <a:gd name="T12" fmla="*/ 239 w 365"/>
              <a:gd name="T13" fmla="*/ 45 h 168"/>
              <a:gd name="T14" fmla="*/ 246 w 365"/>
              <a:gd name="T15" fmla="*/ 146 h 168"/>
              <a:gd name="T16" fmla="*/ 254 w 365"/>
              <a:gd name="T17" fmla="*/ 162 h 168"/>
              <a:gd name="T18" fmla="*/ 245 w 365"/>
              <a:gd name="T19" fmla="*/ 159 h 168"/>
              <a:gd name="T20" fmla="*/ 224 w 365"/>
              <a:gd name="T21" fmla="*/ 154 h 168"/>
              <a:gd name="T22" fmla="*/ 193 w 365"/>
              <a:gd name="T23" fmla="*/ 123 h 168"/>
              <a:gd name="T24" fmla="*/ 207 w 365"/>
              <a:gd name="T25" fmla="*/ 98 h 168"/>
              <a:gd name="T26" fmla="*/ 220 w 365"/>
              <a:gd name="T27" fmla="*/ 83 h 168"/>
              <a:gd name="T28" fmla="*/ 210 w 365"/>
              <a:gd name="T29" fmla="*/ 72 h 168"/>
              <a:gd name="T30" fmla="*/ 200 w 365"/>
              <a:gd name="T31" fmla="*/ 61 h 168"/>
              <a:gd name="T32" fmla="*/ 188 w 365"/>
              <a:gd name="T33" fmla="*/ 71 h 168"/>
              <a:gd name="T34" fmla="*/ 155 w 365"/>
              <a:gd name="T35" fmla="*/ 70 h 168"/>
              <a:gd name="T36" fmla="*/ 138 w 365"/>
              <a:gd name="T37" fmla="*/ 50 h 168"/>
              <a:gd name="T38" fmla="*/ 106 w 365"/>
              <a:gd name="T39" fmla="*/ 37 h 168"/>
              <a:gd name="T40" fmla="*/ 29 w 365"/>
              <a:gd name="T41" fmla="*/ 63 h 168"/>
              <a:gd name="T42" fmla="*/ 7 w 365"/>
              <a:gd name="T43" fmla="*/ 76 h 168"/>
              <a:gd name="T44" fmla="*/ 3 w 365"/>
              <a:gd name="T45" fmla="*/ 60 h 168"/>
              <a:gd name="T46" fmla="*/ 18 w 365"/>
              <a:gd name="T47" fmla="*/ 44 h 168"/>
              <a:gd name="T48" fmla="*/ 107 w 365"/>
              <a:gd name="T49" fmla="*/ 29 h 168"/>
              <a:gd name="T50" fmla="*/ 213 w 365"/>
              <a:gd name="T51" fmla="*/ 11 h 168"/>
              <a:gd name="T52" fmla="*/ 239 w 365"/>
              <a:gd name="T53" fmla="*/ 6 h 168"/>
              <a:gd name="T54" fmla="*/ 259 w 365"/>
              <a:gd name="T55" fmla="*/ 2 h 168"/>
              <a:gd name="T56" fmla="*/ 272 w 365"/>
              <a:gd name="T57" fmla="*/ 0 h 168"/>
              <a:gd name="T58" fmla="*/ 279 w 365"/>
              <a:gd name="T59" fmla="*/ 37 h 168"/>
              <a:gd name="T60" fmla="*/ 294 w 365"/>
              <a:gd name="T61" fmla="*/ 100 h 168"/>
              <a:gd name="T62" fmla="*/ 302 w 365"/>
              <a:gd name="T63" fmla="*/ 125 h 168"/>
              <a:gd name="T64" fmla="*/ 333 w 365"/>
              <a:gd name="T65" fmla="*/ 125 h 168"/>
              <a:gd name="T66" fmla="*/ 365 w 365"/>
              <a:gd name="T67" fmla="*/ 125 h 168"/>
              <a:gd name="T68" fmla="*/ 364 w 365"/>
              <a:gd name="T69" fmla="*/ 142 h 168"/>
              <a:gd name="T70" fmla="*/ 361 w 365"/>
              <a:gd name="T71" fmla="*/ 162 h 168"/>
              <a:gd name="T72" fmla="*/ 335 w 365"/>
              <a:gd name="T73" fmla="*/ 166 h 168"/>
              <a:gd name="T74" fmla="*/ 306 w 365"/>
              <a:gd name="T75" fmla="*/ 158 h 168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65" h="168">
                <a:moveTo>
                  <a:pt x="306" y="158"/>
                </a:moveTo>
                <a:cubicBezTo>
                  <a:pt x="302" y="151"/>
                  <a:pt x="299" y="148"/>
                  <a:pt x="293" y="150"/>
                </a:cubicBezTo>
                <a:cubicBezTo>
                  <a:pt x="278" y="154"/>
                  <a:pt x="262" y="125"/>
                  <a:pt x="261" y="93"/>
                </a:cubicBezTo>
                <a:cubicBezTo>
                  <a:pt x="261" y="85"/>
                  <a:pt x="260" y="72"/>
                  <a:pt x="259" y="64"/>
                </a:cubicBezTo>
                <a:cubicBezTo>
                  <a:pt x="257" y="54"/>
                  <a:pt x="258" y="46"/>
                  <a:pt x="261" y="43"/>
                </a:cubicBezTo>
                <a:cubicBezTo>
                  <a:pt x="264" y="39"/>
                  <a:pt x="265" y="34"/>
                  <a:pt x="264" y="30"/>
                </a:cubicBezTo>
                <a:cubicBezTo>
                  <a:pt x="260" y="22"/>
                  <a:pt x="247" y="29"/>
                  <a:pt x="239" y="45"/>
                </a:cubicBezTo>
                <a:cubicBezTo>
                  <a:pt x="230" y="62"/>
                  <a:pt x="235" y="124"/>
                  <a:pt x="246" y="146"/>
                </a:cubicBezTo>
                <a:cubicBezTo>
                  <a:pt x="254" y="162"/>
                  <a:pt x="254" y="162"/>
                  <a:pt x="254" y="162"/>
                </a:cubicBezTo>
                <a:cubicBezTo>
                  <a:pt x="245" y="159"/>
                  <a:pt x="245" y="159"/>
                  <a:pt x="245" y="159"/>
                </a:cubicBezTo>
                <a:cubicBezTo>
                  <a:pt x="239" y="158"/>
                  <a:pt x="230" y="155"/>
                  <a:pt x="224" y="154"/>
                </a:cubicBezTo>
                <a:cubicBezTo>
                  <a:pt x="209" y="151"/>
                  <a:pt x="193" y="135"/>
                  <a:pt x="193" y="123"/>
                </a:cubicBezTo>
                <a:cubicBezTo>
                  <a:pt x="193" y="118"/>
                  <a:pt x="199" y="107"/>
                  <a:pt x="207" y="98"/>
                </a:cubicBezTo>
                <a:cubicBezTo>
                  <a:pt x="220" y="83"/>
                  <a:pt x="220" y="83"/>
                  <a:pt x="220" y="83"/>
                </a:cubicBezTo>
                <a:cubicBezTo>
                  <a:pt x="210" y="72"/>
                  <a:pt x="210" y="72"/>
                  <a:pt x="210" y="72"/>
                </a:cubicBezTo>
                <a:cubicBezTo>
                  <a:pt x="200" y="61"/>
                  <a:pt x="200" y="61"/>
                  <a:pt x="200" y="61"/>
                </a:cubicBezTo>
                <a:cubicBezTo>
                  <a:pt x="188" y="71"/>
                  <a:pt x="188" y="71"/>
                  <a:pt x="188" y="71"/>
                </a:cubicBezTo>
                <a:cubicBezTo>
                  <a:pt x="175" y="82"/>
                  <a:pt x="162" y="81"/>
                  <a:pt x="155" y="70"/>
                </a:cubicBezTo>
                <a:cubicBezTo>
                  <a:pt x="153" y="66"/>
                  <a:pt x="145" y="57"/>
                  <a:pt x="138" y="50"/>
                </a:cubicBezTo>
                <a:cubicBezTo>
                  <a:pt x="126" y="39"/>
                  <a:pt x="122" y="37"/>
                  <a:pt x="106" y="37"/>
                </a:cubicBezTo>
                <a:cubicBezTo>
                  <a:pt x="79" y="37"/>
                  <a:pt x="53" y="46"/>
                  <a:pt x="29" y="63"/>
                </a:cubicBezTo>
                <a:cubicBezTo>
                  <a:pt x="18" y="71"/>
                  <a:pt x="8" y="77"/>
                  <a:pt x="7" y="76"/>
                </a:cubicBezTo>
                <a:cubicBezTo>
                  <a:pt x="6" y="74"/>
                  <a:pt x="4" y="67"/>
                  <a:pt x="3" y="60"/>
                </a:cubicBezTo>
                <a:cubicBezTo>
                  <a:pt x="0" y="46"/>
                  <a:pt x="0" y="46"/>
                  <a:pt x="18" y="44"/>
                </a:cubicBezTo>
                <a:cubicBezTo>
                  <a:pt x="27" y="42"/>
                  <a:pt x="68" y="36"/>
                  <a:pt x="107" y="29"/>
                </a:cubicBezTo>
                <a:cubicBezTo>
                  <a:pt x="181" y="16"/>
                  <a:pt x="183" y="16"/>
                  <a:pt x="213" y="11"/>
                </a:cubicBezTo>
                <a:cubicBezTo>
                  <a:pt x="223" y="9"/>
                  <a:pt x="235" y="7"/>
                  <a:pt x="239" y="6"/>
                </a:cubicBezTo>
                <a:cubicBezTo>
                  <a:pt x="244" y="5"/>
                  <a:pt x="253" y="3"/>
                  <a:pt x="259" y="2"/>
                </a:cubicBezTo>
                <a:cubicBezTo>
                  <a:pt x="272" y="0"/>
                  <a:pt x="272" y="0"/>
                  <a:pt x="272" y="0"/>
                </a:cubicBezTo>
                <a:cubicBezTo>
                  <a:pt x="279" y="37"/>
                  <a:pt x="279" y="37"/>
                  <a:pt x="279" y="37"/>
                </a:cubicBezTo>
                <a:cubicBezTo>
                  <a:pt x="282" y="58"/>
                  <a:pt x="289" y="86"/>
                  <a:pt x="294" y="100"/>
                </a:cubicBezTo>
                <a:cubicBezTo>
                  <a:pt x="302" y="125"/>
                  <a:pt x="302" y="125"/>
                  <a:pt x="302" y="125"/>
                </a:cubicBezTo>
                <a:cubicBezTo>
                  <a:pt x="333" y="125"/>
                  <a:pt x="333" y="125"/>
                  <a:pt x="333" y="125"/>
                </a:cubicBezTo>
                <a:cubicBezTo>
                  <a:pt x="365" y="125"/>
                  <a:pt x="365" y="125"/>
                  <a:pt x="365" y="125"/>
                </a:cubicBezTo>
                <a:cubicBezTo>
                  <a:pt x="364" y="142"/>
                  <a:pt x="364" y="142"/>
                  <a:pt x="364" y="142"/>
                </a:cubicBezTo>
                <a:cubicBezTo>
                  <a:pt x="363" y="152"/>
                  <a:pt x="362" y="161"/>
                  <a:pt x="361" y="162"/>
                </a:cubicBezTo>
                <a:cubicBezTo>
                  <a:pt x="360" y="163"/>
                  <a:pt x="348" y="165"/>
                  <a:pt x="335" y="166"/>
                </a:cubicBezTo>
                <a:cubicBezTo>
                  <a:pt x="311" y="168"/>
                  <a:pt x="310" y="168"/>
                  <a:pt x="306" y="158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31" name="Freeform 97"/>
          <p:cNvSpPr/>
          <p:nvPr userDrawn="1">
            <p:custDataLst>
              <p:tags r:id="rId132"/>
            </p:custDataLst>
          </p:nvPr>
        </p:nvSpPr>
        <p:spPr bwMode="black">
          <a:xfrm>
            <a:off x="5966782" y="1368315"/>
            <a:ext cx="450850" cy="652463"/>
          </a:xfrm>
          <a:custGeom>
            <a:gdLst>
              <a:gd name="T0" fmla="*/ 57 w 314"/>
              <a:gd name="T1" fmla="*/ 440 h 454"/>
              <a:gd name="T2" fmla="*/ 5 w 314"/>
              <a:gd name="T3" fmla="*/ 279 h 454"/>
              <a:gd name="T4" fmla="*/ 1 w 314"/>
              <a:gd name="T5" fmla="*/ 262 h 454"/>
              <a:gd name="T6" fmla="*/ 3 w 314"/>
              <a:gd name="T7" fmla="*/ 253 h 454"/>
              <a:gd name="T8" fmla="*/ 26 w 314"/>
              <a:gd name="T9" fmla="*/ 187 h 454"/>
              <a:gd name="T10" fmla="*/ 32 w 314"/>
              <a:gd name="T11" fmla="*/ 147 h 454"/>
              <a:gd name="T12" fmla="*/ 38 w 314"/>
              <a:gd name="T13" fmla="*/ 101 h 454"/>
              <a:gd name="T14" fmla="*/ 51 w 314"/>
              <a:gd name="T15" fmla="*/ 45 h 454"/>
              <a:gd name="T16" fmla="*/ 61 w 314"/>
              <a:gd name="T17" fmla="*/ 13 h 454"/>
              <a:gd name="T18" fmla="*/ 88 w 314"/>
              <a:gd name="T19" fmla="*/ 10 h 454"/>
              <a:gd name="T20" fmla="*/ 120 w 314"/>
              <a:gd name="T21" fmla="*/ 4 h 454"/>
              <a:gd name="T22" fmla="*/ 134 w 314"/>
              <a:gd name="T23" fmla="*/ 1 h 454"/>
              <a:gd name="T24" fmla="*/ 149 w 314"/>
              <a:gd name="T25" fmla="*/ 2 h 454"/>
              <a:gd name="T26" fmla="*/ 169 w 314"/>
              <a:gd name="T27" fmla="*/ 15 h 454"/>
              <a:gd name="T28" fmla="*/ 182 w 314"/>
              <a:gd name="T29" fmla="*/ 42 h 454"/>
              <a:gd name="T30" fmla="*/ 229 w 314"/>
              <a:gd name="T31" fmla="*/ 159 h 454"/>
              <a:gd name="T32" fmla="*/ 239 w 314"/>
              <a:gd name="T33" fmla="*/ 168 h 454"/>
              <a:gd name="T34" fmla="*/ 251 w 314"/>
              <a:gd name="T35" fmla="*/ 187 h 454"/>
              <a:gd name="T36" fmla="*/ 283 w 314"/>
              <a:gd name="T37" fmla="*/ 206 h 454"/>
              <a:gd name="T38" fmla="*/ 308 w 314"/>
              <a:gd name="T39" fmla="*/ 232 h 454"/>
              <a:gd name="T40" fmla="*/ 259 w 314"/>
              <a:gd name="T41" fmla="*/ 276 h 454"/>
              <a:gd name="T42" fmla="*/ 205 w 314"/>
              <a:gd name="T43" fmla="*/ 316 h 454"/>
              <a:gd name="T44" fmla="*/ 151 w 314"/>
              <a:gd name="T45" fmla="*/ 364 h 454"/>
              <a:gd name="T46" fmla="*/ 117 w 314"/>
              <a:gd name="T47" fmla="*/ 397 h 454"/>
              <a:gd name="T48" fmla="*/ 86 w 314"/>
              <a:gd name="T49" fmla="*/ 434 h 454"/>
              <a:gd name="T50" fmla="*/ 69 w 314"/>
              <a:gd name="T51" fmla="*/ 454 h 454"/>
              <a:gd name="T52" fmla="*/ 57 w 314"/>
              <a:gd name="T53" fmla="*/ 440 h 45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14" h="453">
                <a:moveTo>
                  <a:pt x="57" y="440"/>
                </a:moveTo>
                <a:cubicBezTo>
                  <a:pt x="44" y="423"/>
                  <a:pt x="14" y="332"/>
                  <a:pt x="5" y="279"/>
                </a:cubicBezTo>
                <a:cubicBezTo>
                  <a:pt x="4" y="273"/>
                  <a:pt x="2" y="266"/>
                  <a:pt x="1" y="262"/>
                </a:cubicBezTo>
                <a:cubicBezTo>
                  <a:pt x="0" y="258"/>
                  <a:pt x="1" y="254"/>
                  <a:pt x="3" y="253"/>
                </a:cubicBezTo>
                <a:cubicBezTo>
                  <a:pt x="9" y="249"/>
                  <a:pt x="24" y="206"/>
                  <a:pt x="26" y="187"/>
                </a:cubicBezTo>
                <a:cubicBezTo>
                  <a:pt x="27" y="177"/>
                  <a:pt x="29" y="159"/>
                  <a:pt x="32" y="147"/>
                </a:cubicBezTo>
                <a:cubicBezTo>
                  <a:pt x="34" y="134"/>
                  <a:pt x="37" y="114"/>
                  <a:pt x="38" y="101"/>
                </a:cubicBezTo>
                <a:cubicBezTo>
                  <a:pt x="39" y="88"/>
                  <a:pt x="45" y="63"/>
                  <a:pt x="51" y="45"/>
                </a:cubicBezTo>
                <a:cubicBezTo>
                  <a:pt x="61" y="13"/>
                  <a:pt x="61" y="13"/>
                  <a:pt x="61" y="13"/>
                </a:cubicBezTo>
                <a:cubicBezTo>
                  <a:pt x="88" y="10"/>
                  <a:pt x="88" y="10"/>
                  <a:pt x="88" y="10"/>
                </a:cubicBezTo>
                <a:cubicBezTo>
                  <a:pt x="103" y="8"/>
                  <a:pt x="118" y="6"/>
                  <a:pt x="120" y="4"/>
                </a:cubicBezTo>
                <a:cubicBezTo>
                  <a:pt x="123" y="2"/>
                  <a:pt x="129" y="0"/>
                  <a:pt x="134" y="1"/>
                </a:cubicBezTo>
                <a:cubicBezTo>
                  <a:pt x="139" y="1"/>
                  <a:pt x="146" y="2"/>
                  <a:pt x="149" y="2"/>
                </a:cubicBezTo>
                <a:cubicBezTo>
                  <a:pt x="152" y="2"/>
                  <a:pt x="161" y="8"/>
                  <a:pt x="169" y="15"/>
                </a:cubicBezTo>
                <a:cubicBezTo>
                  <a:pt x="180" y="24"/>
                  <a:pt x="182" y="29"/>
                  <a:pt x="182" y="42"/>
                </a:cubicBezTo>
                <a:cubicBezTo>
                  <a:pt x="181" y="79"/>
                  <a:pt x="210" y="151"/>
                  <a:pt x="229" y="159"/>
                </a:cubicBezTo>
                <a:cubicBezTo>
                  <a:pt x="235" y="162"/>
                  <a:pt x="239" y="166"/>
                  <a:pt x="239" y="168"/>
                </a:cubicBezTo>
                <a:cubicBezTo>
                  <a:pt x="239" y="171"/>
                  <a:pt x="245" y="179"/>
                  <a:pt x="251" y="187"/>
                </a:cubicBezTo>
                <a:cubicBezTo>
                  <a:pt x="260" y="198"/>
                  <a:pt x="268" y="203"/>
                  <a:pt x="283" y="206"/>
                </a:cubicBezTo>
                <a:cubicBezTo>
                  <a:pt x="307" y="212"/>
                  <a:pt x="314" y="219"/>
                  <a:pt x="308" y="232"/>
                </a:cubicBezTo>
                <a:cubicBezTo>
                  <a:pt x="296" y="253"/>
                  <a:pt x="276" y="271"/>
                  <a:pt x="259" y="276"/>
                </a:cubicBezTo>
                <a:cubicBezTo>
                  <a:pt x="245" y="280"/>
                  <a:pt x="232" y="290"/>
                  <a:pt x="205" y="316"/>
                </a:cubicBezTo>
                <a:cubicBezTo>
                  <a:pt x="185" y="335"/>
                  <a:pt x="161" y="356"/>
                  <a:pt x="151" y="364"/>
                </a:cubicBezTo>
                <a:cubicBezTo>
                  <a:pt x="141" y="371"/>
                  <a:pt x="126" y="386"/>
                  <a:pt x="117" y="397"/>
                </a:cubicBezTo>
                <a:cubicBezTo>
                  <a:pt x="108" y="407"/>
                  <a:pt x="94" y="424"/>
                  <a:pt x="86" y="434"/>
                </a:cubicBezTo>
                <a:cubicBezTo>
                  <a:pt x="77" y="444"/>
                  <a:pt x="70" y="453"/>
                  <a:pt x="69" y="454"/>
                </a:cubicBezTo>
                <a:cubicBezTo>
                  <a:pt x="69" y="454"/>
                  <a:pt x="63" y="448"/>
                  <a:pt x="57" y="440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32" name="Freeform 98"/>
          <p:cNvSpPr/>
          <p:nvPr userDrawn="1">
            <p:custDataLst>
              <p:tags r:id="rId133"/>
            </p:custDataLst>
          </p:nvPr>
        </p:nvSpPr>
        <p:spPr bwMode="black">
          <a:xfrm>
            <a:off x="4349119" y="1863615"/>
            <a:ext cx="466725" cy="611188"/>
          </a:xfrm>
          <a:custGeom>
            <a:gdLst>
              <a:gd name="T0" fmla="*/ 8 w 325"/>
              <a:gd name="T1" fmla="*/ 423 h 426"/>
              <a:gd name="T2" fmla="*/ 14 w 325"/>
              <a:gd name="T3" fmla="*/ 412 h 426"/>
              <a:gd name="T4" fmla="*/ 20 w 325"/>
              <a:gd name="T5" fmla="*/ 396 h 426"/>
              <a:gd name="T6" fmla="*/ 29 w 325"/>
              <a:gd name="T7" fmla="*/ 361 h 426"/>
              <a:gd name="T8" fmla="*/ 33 w 325"/>
              <a:gd name="T9" fmla="*/ 324 h 426"/>
              <a:gd name="T10" fmla="*/ 28 w 325"/>
              <a:gd name="T11" fmla="*/ 296 h 426"/>
              <a:gd name="T12" fmla="*/ 25 w 325"/>
              <a:gd name="T13" fmla="*/ 279 h 426"/>
              <a:gd name="T14" fmla="*/ 12 w 325"/>
              <a:gd name="T15" fmla="*/ 258 h 426"/>
              <a:gd name="T16" fmla="*/ 11 w 325"/>
              <a:gd name="T17" fmla="*/ 180 h 426"/>
              <a:gd name="T18" fmla="*/ 19 w 325"/>
              <a:gd name="T19" fmla="*/ 152 h 426"/>
              <a:gd name="T20" fmla="*/ 26 w 325"/>
              <a:gd name="T21" fmla="*/ 128 h 426"/>
              <a:gd name="T22" fmla="*/ 32 w 325"/>
              <a:gd name="T23" fmla="*/ 113 h 426"/>
              <a:gd name="T24" fmla="*/ 42 w 325"/>
              <a:gd name="T25" fmla="*/ 99 h 426"/>
              <a:gd name="T26" fmla="*/ 52 w 325"/>
              <a:gd name="T27" fmla="*/ 91 h 426"/>
              <a:gd name="T28" fmla="*/ 63 w 325"/>
              <a:gd name="T29" fmla="*/ 98 h 426"/>
              <a:gd name="T30" fmla="*/ 74 w 325"/>
              <a:gd name="T31" fmla="*/ 112 h 426"/>
              <a:gd name="T32" fmla="*/ 80 w 325"/>
              <a:gd name="T33" fmla="*/ 99 h 426"/>
              <a:gd name="T34" fmla="*/ 86 w 325"/>
              <a:gd name="T35" fmla="*/ 82 h 426"/>
              <a:gd name="T36" fmla="*/ 89 w 325"/>
              <a:gd name="T37" fmla="*/ 65 h 426"/>
              <a:gd name="T38" fmla="*/ 97 w 325"/>
              <a:gd name="T39" fmla="*/ 54 h 426"/>
              <a:gd name="T40" fmla="*/ 107 w 325"/>
              <a:gd name="T41" fmla="*/ 37 h 426"/>
              <a:gd name="T42" fmla="*/ 125 w 325"/>
              <a:gd name="T43" fmla="*/ 6 h 426"/>
              <a:gd name="T44" fmla="*/ 144 w 325"/>
              <a:gd name="T45" fmla="*/ 3 h 426"/>
              <a:gd name="T46" fmla="*/ 163 w 325"/>
              <a:gd name="T47" fmla="*/ 14 h 426"/>
              <a:gd name="T48" fmla="*/ 196 w 325"/>
              <a:gd name="T49" fmla="*/ 35 h 426"/>
              <a:gd name="T50" fmla="*/ 238 w 325"/>
              <a:gd name="T51" fmla="*/ 97 h 426"/>
              <a:gd name="T52" fmla="*/ 232 w 325"/>
              <a:gd name="T53" fmla="*/ 155 h 426"/>
              <a:gd name="T54" fmla="*/ 220 w 325"/>
              <a:gd name="T55" fmla="*/ 184 h 426"/>
              <a:gd name="T56" fmla="*/ 214 w 325"/>
              <a:gd name="T57" fmla="*/ 187 h 426"/>
              <a:gd name="T58" fmla="*/ 208 w 325"/>
              <a:gd name="T59" fmla="*/ 200 h 426"/>
              <a:gd name="T60" fmla="*/ 214 w 325"/>
              <a:gd name="T61" fmla="*/ 219 h 426"/>
              <a:gd name="T62" fmla="*/ 255 w 325"/>
              <a:gd name="T63" fmla="*/ 193 h 426"/>
              <a:gd name="T64" fmla="*/ 276 w 325"/>
              <a:gd name="T65" fmla="*/ 173 h 426"/>
              <a:gd name="T66" fmla="*/ 289 w 325"/>
              <a:gd name="T67" fmla="*/ 188 h 426"/>
              <a:gd name="T68" fmla="*/ 315 w 325"/>
              <a:gd name="T69" fmla="*/ 249 h 426"/>
              <a:gd name="T70" fmla="*/ 320 w 325"/>
              <a:gd name="T71" fmla="*/ 271 h 426"/>
              <a:gd name="T72" fmla="*/ 294 w 325"/>
              <a:gd name="T73" fmla="*/ 334 h 426"/>
              <a:gd name="T74" fmla="*/ 276 w 325"/>
              <a:gd name="T75" fmla="*/ 358 h 426"/>
              <a:gd name="T76" fmla="*/ 270 w 325"/>
              <a:gd name="T77" fmla="*/ 373 h 426"/>
              <a:gd name="T78" fmla="*/ 263 w 325"/>
              <a:gd name="T79" fmla="*/ 401 h 426"/>
              <a:gd name="T80" fmla="*/ 263 w 325"/>
              <a:gd name="T81" fmla="*/ 419 h 426"/>
              <a:gd name="T82" fmla="*/ 240 w 325"/>
              <a:gd name="T83" fmla="*/ 419 h 426"/>
              <a:gd name="T84" fmla="*/ 210 w 325"/>
              <a:gd name="T85" fmla="*/ 421 h 426"/>
              <a:gd name="T86" fmla="*/ 124 w 325"/>
              <a:gd name="T87" fmla="*/ 422 h 426"/>
              <a:gd name="T88" fmla="*/ 61 w 325"/>
              <a:gd name="T89" fmla="*/ 424 h 426"/>
              <a:gd name="T90" fmla="*/ 8 w 325"/>
              <a:gd name="T91" fmla="*/ 423 h 426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25" h="426">
                <a:moveTo>
                  <a:pt x="8" y="423"/>
                </a:moveTo>
                <a:cubicBezTo>
                  <a:pt x="8" y="420"/>
                  <a:pt x="11" y="415"/>
                  <a:pt x="14" y="412"/>
                </a:cubicBezTo>
                <a:cubicBezTo>
                  <a:pt x="17" y="409"/>
                  <a:pt x="20" y="402"/>
                  <a:pt x="20" y="396"/>
                </a:cubicBezTo>
                <a:cubicBezTo>
                  <a:pt x="20" y="391"/>
                  <a:pt x="24" y="375"/>
                  <a:pt x="29" y="361"/>
                </a:cubicBezTo>
                <a:cubicBezTo>
                  <a:pt x="36" y="339"/>
                  <a:pt x="36" y="332"/>
                  <a:pt x="33" y="324"/>
                </a:cubicBezTo>
                <a:cubicBezTo>
                  <a:pt x="30" y="319"/>
                  <a:pt x="28" y="306"/>
                  <a:pt x="28" y="296"/>
                </a:cubicBezTo>
                <a:cubicBezTo>
                  <a:pt x="28" y="287"/>
                  <a:pt x="27" y="279"/>
                  <a:pt x="25" y="279"/>
                </a:cubicBezTo>
                <a:cubicBezTo>
                  <a:pt x="23" y="279"/>
                  <a:pt x="17" y="269"/>
                  <a:pt x="12" y="258"/>
                </a:cubicBezTo>
                <a:cubicBezTo>
                  <a:pt x="1" y="234"/>
                  <a:pt x="0" y="197"/>
                  <a:pt x="11" y="180"/>
                </a:cubicBezTo>
                <a:cubicBezTo>
                  <a:pt x="14" y="175"/>
                  <a:pt x="18" y="162"/>
                  <a:pt x="19" y="152"/>
                </a:cubicBezTo>
                <a:cubicBezTo>
                  <a:pt x="20" y="142"/>
                  <a:pt x="23" y="131"/>
                  <a:pt x="26" y="128"/>
                </a:cubicBezTo>
                <a:cubicBezTo>
                  <a:pt x="29" y="125"/>
                  <a:pt x="32" y="118"/>
                  <a:pt x="32" y="113"/>
                </a:cubicBezTo>
                <a:cubicBezTo>
                  <a:pt x="32" y="107"/>
                  <a:pt x="36" y="102"/>
                  <a:pt x="42" y="99"/>
                </a:cubicBezTo>
                <a:cubicBezTo>
                  <a:pt x="48" y="97"/>
                  <a:pt x="52" y="93"/>
                  <a:pt x="52" y="91"/>
                </a:cubicBezTo>
                <a:cubicBezTo>
                  <a:pt x="52" y="82"/>
                  <a:pt x="60" y="87"/>
                  <a:pt x="63" y="98"/>
                </a:cubicBezTo>
                <a:cubicBezTo>
                  <a:pt x="66" y="113"/>
                  <a:pt x="68" y="115"/>
                  <a:pt x="74" y="112"/>
                </a:cubicBezTo>
                <a:cubicBezTo>
                  <a:pt x="77" y="111"/>
                  <a:pt x="80" y="105"/>
                  <a:pt x="80" y="99"/>
                </a:cubicBezTo>
                <a:cubicBezTo>
                  <a:pt x="80" y="93"/>
                  <a:pt x="83" y="85"/>
                  <a:pt x="86" y="82"/>
                </a:cubicBezTo>
                <a:cubicBezTo>
                  <a:pt x="89" y="78"/>
                  <a:pt x="90" y="70"/>
                  <a:pt x="89" y="65"/>
                </a:cubicBezTo>
                <a:cubicBezTo>
                  <a:pt x="88" y="57"/>
                  <a:pt x="89" y="55"/>
                  <a:pt x="97" y="54"/>
                </a:cubicBezTo>
                <a:cubicBezTo>
                  <a:pt x="105" y="53"/>
                  <a:pt x="106" y="50"/>
                  <a:pt x="107" y="37"/>
                </a:cubicBezTo>
                <a:cubicBezTo>
                  <a:pt x="108" y="0"/>
                  <a:pt x="106" y="3"/>
                  <a:pt x="125" y="6"/>
                </a:cubicBezTo>
                <a:cubicBezTo>
                  <a:pt x="135" y="7"/>
                  <a:pt x="142" y="6"/>
                  <a:pt x="144" y="3"/>
                </a:cubicBezTo>
                <a:cubicBezTo>
                  <a:pt x="146" y="0"/>
                  <a:pt x="152" y="4"/>
                  <a:pt x="163" y="14"/>
                </a:cubicBezTo>
                <a:cubicBezTo>
                  <a:pt x="173" y="23"/>
                  <a:pt x="187" y="32"/>
                  <a:pt x="196" y="35"/>
                </a:cubicBezTo>
                <a:cubicBezTo>
                  <a:pt x="223" y="42"/>
                  <a:pt x="234" y="58"/>
                  <a:pt x="238" y="97"/>
                </a:cubicBezTo>
                <a:cubicBezTo>
                  <a:pt x="242" y="134"/>
                  <a:pt x="242" y="141"/>
                  <a:pt x="232" y="155"/>
                </a:cubicBezTo>
                <a:cubicBezTo>
                  <a:pt x="224" y="165"/>
                  <a:pt x="222" y="173"/>
                  <a:pt x="220" y="184"/>
                </a:cubicBezTo>
                <a:cubicBezTo>
                  <a:pt x="220" y="185"/>
                  <a:pt x="217" y="187"/>
                  <a:pt x="214" y="187"/>
                </a:cubicBezTo>
                <a:cubicBezTo>
                  <a:pt x="210" y="187"/>
                  <a:pt x="208" y="191"/>
                  <a:pt x="208" y="200"/>
                </a:cubicBezTo>
                <a:cubicBezTo>
                  <a:pt x="208" y="207"/>
                  <a:pt x="211" y="216"/>
                  <a:pt x="214" y="219"/>
                </a:cubicBezTo>
                <a:cubicBezTo>
                  <a:pt x="221" y="224"/>
                  <a:pt x="224" y="223"/>
                  <a:pt x="255" y="193"/>
                </a:cubicBezTo>
                <a:cubicBezTo>
                  <a:pt x="276" y="173"/>
                  <a:pt x="276" y="173"/>
                  <a:pt x="276" y="173"/>
                </a:cubicBezTo>
                <a:cubicBezTo>
                  <a:pt x="289" y="188"/>
                  <a:pt x="289" y="188"/>
                  <a:pt x="289" y="188"/>
                </a:cubicBezTo>
                <a:cubicBezTo>
                  <a:pt x="302" y="202"/>
                  <a:pt x="311" y="223"/>
                  <a:pt x="315" y="249"/>
                </a:cubicBezTo>
                <a:cubicBezTo>
                  <a:pt x="316" y="255"/>
                  <a:pt x="318" y="265"/>
                  <a:pt x="320" y="271"/>
                </a:cubicBezTo>
                <a:cubicBezTo>
                  <a:pt x="325" y="288"/>
                  <a:pt x="315" y="315"/>
                  <a:pt x="294" y="334"/>
                </a:cubicBezTo>
                <a:cubicBezTo>
                  <a:pt x="284" y="344"/>
                  <a:pt x="276" y="355"/>
                  <a:pt x="276" y="358"/>
                </a:cubicBezTo>
                <a:cubicBezTo>
                  <a:pt x="276" y="360"/>
                  <a:pt x="273" y="367"/>
                  <a:pt x="270" y="373"/>
                </a:cubicBezTo>
                <a:cubicBezTo>
                  <a:pt x="266" y="378"/>
                  <a:pt x="263" y="391"/>
                  <a:pt x="263" y="401"/>
                </a:cubicBezTo>
                <a:cubicBezTo>
                  <a:pt x="263" y="419"/>
                  <a:pt x="263" y="419"/>
                  <a:pt x="263" y="419"/>
                </a:cubicBezTo>
                <a:cubicBezTo>
                  <a:pt x="240" y="419"/>
                  <a:pt x="240" y="419"/>
                  <a:pt x="240" y="419"/>
                </a:cubicBezTo>
                <a:cubicBezTo>
                  <a:pt x="228" y="419"/>
                  <a:pt x="215" y="420"/>
                  <a:pt x="210" y="421"/>
                </a:cubicBezTo>
                <a:cubicBezTo>
                  <a:pt x="203" y="422"/>
                  <a:pt x="148" y="423"/>
                  <a:pt x="124" y="422"/>
                </a:cubicBezTo>
                <a:cubicBezTo>
                  <a:pt x="119" y="421"/>
                  <a:pt x="90" y="423"/>
                  <a:pt x="61" y="424"/>
                </a:cubicBezTo>
                <a:cubicBezTo>
                  <a:pt x="22" y="426"/>
                  <a:pt x="8" y="426"/>
                  <a:pt x="8" y="423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33" name="Freeform 99"/>
          <p:cNvSpPr/>
          <p:nvPr userDrawn="1">
            <p:custDataLst>
              <p:tags r:id="rId134"/>
            </p:custDataLst>
          </p:nvPr>
        </p:nvSpPr>
        <p:spPr bwMode="black">
          <a:xfrm>
            <a:off x="3957006" y="1641365"/>
            <a:ext cx="658813" cy="315913"/>
          </a:xfrm>
          <a:custGeom>
            <a:gdLst>
              <a:gd name="T0" fmla="*/ 189 w 458"/>
              <a:gd name="T1" fmla="*/ 192 h 219"/>
              <a:gd name="T2" fmla="*/ 151 w 458"/>
              <a:gd name="T3" fmla="*/ 155 h 219"/>
              <a:gd name="T4" fmla="*/ 42 w 458"/>
              <a:gd name="T5" fmla="*/ 117 h 219"/>
              <a:gd name="T6" fmla="*/ 7 w 458"/>
              <a:gd name="T7" fmla="*/ 97 h 219"/>
              <a:gd name="T8" fmla="*/ 8 w 458"/>
              <a:gd name="T9" fmla="*/ 77 h 219"/>
              <a:gd name="T10" fmla="*/ 24 w 458"/>
              <a:gd name="T11" fmla="*/ 69 h 219"/>
              <a:gd name="T12" fmla="*/ 88 w 458"/>
              <a:gd name="T13" fmla="*/ 45 h 219"/>
              <a:gd name="T14" fmla="*/ 161 w 458"/>
              <a:gd name="T15" fmla="*/ 3 h 219"/>
              <a:gd name="T16" fmla="*/ 156 w 458"/>
              <a:gd name="T17" fmla="*/ 11 h 219"/>
              <a:gd name="T18" fmla="*/ 140 w 458"/>
              <a:gd name="T19" fmla="*/ 44 h 219"/>
              <a:gd name="T20" fmla="*/ 167 w 458"/>
              <a:gd name="T21" fmla="*/ 52 h 219"/>
              <a:gd name="T22" fmla="*/ 196 w 458"/>
              <a:gd name="T23" fmla="*/ 71 h 219"/>
              <a:gd name="T24" fmla="*/ 278 w 458"/>
              <a:gd name="T25" fmla="*/ 76 h 219"/>
              <a:gd name="T26" fmla="*/ 386 w 458"/>
              <a:gd name="T27" fmla="*/ 79 h 219"/>
              <a:gd name="T28" fmla="*/ 395 w 458"/>
              <a:gd name="T29" fmla="*/ 83 h 219"/>
              <a:gd name="T30" fmla="*/ 450 w 458"/>
              <a:gd name="T31" fmla="*/ 112 h 219"/>
              <a:gd name="T32" fmla="*/ 448 w 458"/>
              <a:gd name="T33" fmla="*/ 134 h 219"/>
              <a:gd name="T34" fmla="*/ 380 w 458"/>
              <a:gd name="T35" fmla="*/ 142 h 219"/>
              <a:gd name="T36" fmla="*/ 327 w 458"/>
              <a:gd name="T37" fmla="*/ 148 h 219"/>
              <a:gd name="T38" fmla="*/ 299 w 458"/>
              <a:gd name="T39" fmla="*/ 153 h 219"/>
              <a:gd name="T40" fmla="*/ 273 w 458"/>
              <a:gd name="T41" fmla="*/ 165 h 219"/>
              <a:gd name="T42" fmla="*/ 255 w 458"/>
              <a:gd name="T43" fmla="*/ 177 h 219"/>
              <a:gd name="T44" fmla="*/ 216 w 458"/>
              <a:gd name="T45" fmla="*/ 206 h 219"/>
              <a:gd name="T46" fmla="*/ 211 w 458"/>
              <a:gd name="T47" fmla="*/ 214 h 219"/>
              <a:gd name="T48" fmla="*/ 189 w 458"/>
              <a:gd name="T49" fmla="*/ 192 h 21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58" h="219">
                <a:moveTo>
                  <a:pt x="189" y="192"/>
                </a:moveTo>
                <a:cubicBezTo>
                  <a:pt x="174" y="169"/>
                  <a:pt x="168" y="163"/>
                  <a:pt x="151" y="155"/>
                </a:cubicBezTo>
                <a:cubicBezTo>
                  <a:pt x="124" y="143"/>
                  <a:pt x="77" y="126"/>
                  <a:pt x="42" y="117"/>
                </a:cubicBezTo>
                <a:cubicBezTo>
                  <a:pt x="19" y="111"/>
                  <a:pt x="14" y="108"/>
                  <a:pt x="7" y="97"/>
                </a:cubicBezTo>
                <a:cubicBezTo>
                  <a:pt x="0" y="85"/>
                  <a:pt x="0" y="84"/>
                  <a:pt x="8" y="77"/>
                </a:cubicBezTo>
                <a:cubicBezTo>
                  <a:pt x="13" y="72"/>
                  <a:pt x="20" y="69"/>
                  <a:pt x="24" y="69"/>
                </a:cubicBezTo>
                <a:cubicBezTo>
                  <a:pt x="39" y="69"/>
                  <a:pt x="74" y="56"/>
                  <a:pt x="88" y="45"/>
                </a:cubicBezTo>
                <a:cubicBezTo>
                  <a:pt x="121" y="19"/>
                  <a:pt x="155" y="0"/>
                  <a:pt x="161" y="3"/>
                </a:cubicBezTo>
                <a:cubicBezTo>
                  <a:pt x="163" y="4"/>
                  <a:pt x="161" y="8"/>
                  <a:pt x="156" y="11"/>
                </a:cubicBezTo>
                <a:cubicBezTo>
                  <a:pt x="145" y="19"/>
                  <a:pt x="136" y="38"/>
                  <a:pt x="140" y="44"/>
                </a:cubicBezTo>
                <a:cubicBezTo>
                  <a:pt x="143" y="49"/>
                  <a:pt x="151" y="52"/>
                  <a:pt x="167" y="52"/>
                </a:cubicBezTo>
                <a:cubicBezTo>
                  <a:pt x="172" y="52"/>
                  <a:pt x="185" y="61"/>
                  <a:pt x="196" y="71"/>
                </a:cubicBezTo>
                <a:cubicBezTo>
                  <a:pt x="219" y="91"/>
                  <a:pt x="222" y="91"/>
                  <a:pt x="278" y="76"/>
                </a:cubicBezTo>
                <a:cubicBezTo>
                  <a:pt x="333" y="61"/>
                  <a:pt x="379" y="62"/>
                  <a:pt x="386" y="79"/>
                </a:cubicBezTo>
                <a:cubicBezTo>
                  <a:pt x="387" y="83"/>
                  <a:pt x="391" y="84"/>
                  <a:pt x="395" y="83"/>
                </a:cubicBezTo>
                <a:cubicBezTo>
                  <a:pt x="407" y="79"/>
                  <a:pt x="443" y="98"/>
                  <a:pt x="450" y="112"/>
                </a:cubicBezTo>
                <a:cubicBezTo>
                  <a:pt x="458" y="128"/>
                  <a:pt x="458" y="131"/>
                  <a:pt x="448" y="134"/>
                </a:cubicBezTo>
                <a:cubicBezTo>
                  <a:pt x="431" y="140"/>
                  <a:pt x="420" y="141"/>
                  <a:pt x="380" y="142"/>
                </a:cubicBezTo>
                <a:cubicBezTo>
                  <a:pt x="357" y="143"/>
                  <a:pt x="333" y="146"/>
                  <a:pt x="327" y="148"/>
                </a:cubicBezTo>
                <a:cubicBezTo>
                  <a:pt x="321" y="151"/>
                  <a:pt x="308" y="153"/>
                  <a:pt x="299" y="153"/>
                </a:cubicBezTo>
                <a:cubicBezTo>
                  <a:pt x="284" y="153"/>
                  <a:pt x="280" y="154"/>
                  <a:pt x="273" y="165"/>
                </a:cubicBezTo>
                <a:cubicBezTo>
                  <a:pt x="267" y="172"/>
                  <a:pt x="260" y="177"/>
                  <a:pt x="255" y="177"/>
                </a:cubicBezTo>
                <a:cubicBezTo>
                  <a:pt x="246" y="177"/>
                  <a:pt x="216" y="200"/>
                  <a:pt x="216" y="206"/>
                </a:cubicBezTo>
                <a:cubicBezTo>
                  <a:pt x="216" y="208"/>
                  <a:pt x="214" y="212"/>
                  <a:pt x="211" y="214"/>
                </a:cubicBezTo>
                <a:cubicBezTo>
                  <a:pt x="206" y="219"/>
                  <a:pt x="203" y="215"/>
                  <a:pt x="189" y="192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34" name="Freeform 100"/>
          <p:cNvSpPr/>
          <p:nvPr userDrawn="1">
            <p:custDataLst>
              <p:tags r:id="rId135"/>
            </p:custDataLst>
          </p:nvPr>
        </p:nvSpPr>
        <p:spPr bwMode="black">
          <a:xfrm>
            <a:off x="3295019" y="1347678"/>
            <a:ext cx="696913" cy="869950"/>
          </a:xfrm>
          <a:custGeom>
            <a:gdLst>
              <a:gd name="T0" fmla="*/ 4 w 485"/>
              <a:gd name="T1" fmla="*/ 578 h 606"/>
              <a:gd name="T2" fmla="*/ 12 w 485"/>
              <a:gd name="T3" fmla="*/ 440 h 606"/>
              <a:gd name="T4" fmla="*/ 7 w 485"/>
              <a:gd name="T5" fmla="*/ 393 h 606"/>
              <a:gd name="T6" fmla="*/ 7 w 485"/>
              <a:gd name="T7" fmla="*/ 357 h 606"/>
              <a:gd name="T8" fmla="*/ 11 w 485"/>
              <a:gd name="T9" fmla="*/ 294 h 606"/>
              <a:gd name="T10" fmla="*/ 7 w 485"/>
              <a:gd name="T11" fmla="*/ 226 h 606"/>
              <a:gd name="T12" fmla="*/ 3 w 485"/>
              <a:gd name="T13" fmla="*/ 115 h 606"/>
              <a:gd name="T14" fmla="*/ 0 w 485"/>
              <a:gd name="T15" fmla="*/ 22 h 606"/>
              <a:gd name="T16" fmla="*/ 28 w 485"/>
              <a:gd name="T17" fmla="*/ 24 h 606"/>
              <a:gd name="T18" fmla="*/ 123 w 485"/>
              <a:gd name="T19" fmla="*/ 23 h 606"/>
              <a:gd name="T20" fmla="*/ 129 w 485"/>
              <a:gd name="T21" fmla="*/ 9 h 606"/>
              <a:gd name="T22" fmla="*/ 141 w 485"/>
              <a:gd name="T23" fmla="*/ 6 h 606"/>
              <a:gd name="T24" fmla="*/ 151 w 485"/>
              <a:gd name="T25" fmla="*/ 32 h 606"/>
              <a:gd name="T26" fmla="*/ 183 w 485"/>
              <a:gd name="T27" fmla="*/ 71 h 606"/>
              <a:gd name="T28" fmla="*/ 205 w 485"/>
              <a:gd name="T29" fmla="*/ 80 h 606"/>
              <a:gd name="T30" fmla="*/ 249 w 485"/>
              <a:gd name="T31" fmla="*/ 86 h 606"/>
              <a:gd name="T32" fmla="*/ 300 w 485"/>
              <a:gd name="T33" fmla="*/ 100 h 606"/>
              <a:gd name="T34" fmla="*/ 321 w 485"/>
              <a:gd name="T35" fmla="*/ 114 h 606"/>
              <a:gd name="T36" fmla="*/ 345 w 485"/>
              <a:gd name="T37" fmla="*/ 126 h 606"/>
              <a:gd name="T38" fmla="*/ 389 w 485"/>
              <a:gd name="T39" fmla="*/ 137 h 606"/>
              <a:gd name="T40" fmla="*/ 478 w 485"/>
              <a:gd name="T41" fmla="*/ 148 h 606"/>
              <a:gd name="T42" fmla="*/ 475 w 485"/>
              <a:gd name="T43" fmla="*/ 160 h 606"/>
              <a:gd name="T44" fmla="*/ 456 w 485"/>
              <a:gd name="T45" fmla="*/ 170 h 606"/>
              <a:gd name="T46" fmla="*/ 405 w 485"/>
              <a:gd name="T47" fmla="*/ 199 h 606"/>
              <a:gd name="T48" fmla="*/ 385 w 485"/>
              <a:gd name="T49" fmla="*/ 220 h 606"/>
              <a:gd name="T50" fmla="*/ 373 w 485"/>
              <a:gd name="T51" fmla="*/ 230 h 606"/>
              <a:gd name="T52" fmla="*/ 368 w 485"/>
              <a:gd name="T53" fmla="*/ 234 h 606"/>
              <a:gd name="T54" fmla="*/ 356 w 485"/>
              <a:gd name="T55" fmla="*/ 243 h 606"/>
              <a:gd name="T56" fmla="*/ 332 w 485"/>
              <a:gd name="T57" fmla="*/ 266 h 606"/>
              <a:gd name="T58" fmla="*/ 306 w 485"/>
              <a:gd name="T59" fmla="*/ 312 h 606"/>
              <a:gd name="T60" fmla="*/ 303 w 485"/>
              <a:gd name="T61" fmla="*/ 340 h 606"/>
              <a:gd name="T62" fmla="*/ 301 w 485"/>
              <a:gd name="T63" fmla="*/ 350 h 606"/>
              <a:gd name="T64" fmla="*/ 287 w 485"/>
              <a:gd name="T65" fmla="*/ 359 h 606"/>
              <a:gd name="T66" fmla="*/ 264 w 485"/>
              <a:gd name="T67" fmla="*/ 396 h 606"/>
              <a:gd name="T68" fmla="*/ 264 w 485"/>
              <a:gd name="T69" fmla="*/ 468 h 606"/>
              <a:gd name="T70" fmla="*/ 270 w 485"/>
              <a:gd name="T71" fmla="*/ 486 h 606"/>
              <a:gd name="T72" fmla="*/ 359 w 485"/>
              <a:gd name="T73" fmla="*/ 565 h 606"/>
              <a:gd name="T74" fmla="*/ 377 w 485"/>
              <a:gd name="T75" fmla="*/ 601 h 606"/>
              <a:gd name="T76" fmla="*/ 190 w 485"/>
              <a:gd name="T77" fmla="*/ 605 h 606"/>
              <a:gd name="T78" fmla="*/ 3 w 485"/>
              <a:gd name="T79" fmla="*/ 604 h 606"/>
              <a:gd name="T80" fmla="*/ 4 w 485"/>
              <a:gd name="T81" fmla="*/ 578 h 606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85" h="606">
                <a:moveTo>
                  <a:pt x="4" y="578"/>
                </a:moveTo>
                <a:cubicBezTo>
                  <a:pt x="6" y="522"/>
                  <a:pt x="9" y="463"/>
                  <a:pt x="12" y="440"/>
                </a:cubicBezTo>
                <a:cubicBezTo>
                  <a:pt x="13" y="423"/>
                  <a:pt x="12" y="410"/>
                  <a:pt x="7" y="393"/>
                </a:cubicBezTo>
                <a:cubicBezTo>
                  <a:pt x="0" y="370"/>
                  <a:pt x="0" y="368"/>
                  <a:pt x="7" y="357"/>
                </a:cubicBezTo>
                <a:cubicBezTo>
                  <a:pt x="13" y="347"/>
                  <a:pt x="13" y="339"/>
                  <a:pt x="11" y="294"/>
                </a:cubicBezTo>
                <a:cubicBezTo>
                  <a:pt x="10" y="266"/>
                  <a:pt x="8" y="235"/>
                  <a:pt x="7" y="226"/>
                </a:cubicBezTo>
                <a:cubicBezTo>
                  <a:pt x="6" y="216"/>
                  <a:pt x="4" y="166"/>
                  <a:pt x="3" y="115"/>
                </a:cubicBezTo>
                <a:cubicBezTo>
                  <a:pt x="0" y="22"/>
                  <a:pt x="0" y="22"/>
                  <a:pt x="0" y="22"/>
                </a:cubicBezTo>
                <a:cubicBezTo>
                  <a:pt x="28" y="24"/>
                  <a:pt x="28" y="24"/>
                  <a:pt x="28" y="24"/>
                </a:cubicBezTo>
                <a:cubicBezTo>
                  <a:pt x="115" y="29"/>
                  <a:pt x="117" y="29"/>
                  <a:pt x="123" y="23"/>
                </a:cubicBezTo>
                <a:cubicBezTo>
                  <a:pt x="127" y="20"/>
                  <a:pt x="129" y="14"/>
                  <a:pt x="129" y="9"/>
                </a:cubicBezTo>
                <a:cubicBezTo>
                  <a:pt x="129" y="0"/>
                  <a:pt x="131" y="0"/>
                  <a:pt x="141" y="6"/>
                </a:cubicBezTo>
                <a:cubicBezTo>
                  <a:pt x="146" y="8"/>
                  <a:pt x="149" y="16"/>
                  <a:pt x="151" y="32"/>
                </a:cubicBezTo>
                <a:cubicBezTo>
                  <a:pt x="155" y="59"/>
                  <a:pt x="161" y="67"/>
                  <a:pt x="183" y="71"/>
                </a:cubicBezTo>
                <a:cubicBezTo>
                  <a:pt x="192" y="73"/>
                  <a:pt x="202" y="77"/>
                  <a:pt x="205" y="80"/>
                </a:cubicBezTo>
                <a:cubicBezTo>
                  <a:pt x="210" y="84"/>
                  <a:pt x="224" y="86"/>
                  <a:pt x="249" y="86"/>
                </a:cubicBezTo>
                <a:cubicBezTo>
                  <a:pt x="285" y="87"/>
                  <a:pt x="286" y="87"/>
                  <a:pt x="300" y="100"/>
                </a:cubicBezTo>
                <a:cubicBezTo>
                  <a:pt x="309" y="107"/>
                  <a:pt x="318" y="113"/>
                  <a:pt x="321" y="114"/>
                </a:cubicBezTo>
                <a:cubicBezTo>
                  <a:pt x="324" y="114"/>
                  <a:pt x="335" y="119"/>
                  <a:pt x="345" y="126"/>
                </a:cubicBezTo>
                <a:cubicBezTo>
                  <a:pt x="361" y="137"/>
                  <a:pt x="366" y="138"/>
                  <a:pt x="389" y="137"/>
                </a:cubicBezTo>
                <a:cubicBezTo>
                  <a:pt x="416" y="137"/>
                  <a:pt x="465" y="142"/>
                  <a:pt x="478" y="148"/>
                </a:cubicBezTo>
                <a:cubicBezTo>
                  <a:pt x="485" y="150"/>
                  <a:pt x="484" y="151"/>
                  <a:pt x="475" y="160"/>
                </a:cubicBezTo>
                <a:cubicBezTo>
                  <a:pt x="469" y="165"/>
                  <a:pt x="461" y="170"/>
                  <a:pt x="456" y="170"/>
                </a:cubicBezTo>
                <a:cubicBezTo>
                  <a:pt x="439" y="170"/>
                  <a:pt x="415" y="184"/>
                  <a:pt x="405" y="199"/>
                </a:cubicBezTo>
                <a:cubicBezTo>
                  <a:pt x="401" y="207"/>
                  <a:pt x="391" y="217"/>
                  <a:pt x="385" y="220"/>
                </a:cubicBezTo>
                <a:cubicBezTo>
                  <a:pt x="378" y="224"/>
                  <a:pt x="373" y="229"/>
                  <a:pt x="373" y="230"/>
                </a:cubicBezTo>
                <a:cubicBezTo>
                  <a:pt x="373" y="232"/>
                  <a:pt x="371" y="234"/>
                  <a:pt x="368" y="234"/>
                </a:cubicBezTo>
                <a:cubicBezTo>
                  <a:pt x="365" y="234"/>
                  <a:pt x="359" y="238"/>
                  <a:pt x="356" y="243"/>
                </a:cubicBezTo>
                <a:cubicBezTo>
                  <a:pt x="353" y="248"/>
                  <a:pt x="342" y="258"/>
                  <a:pt x="332" y="266"/>
                </a:cubicBezTo>
                <a:cubicBezTo>
                  <a:pt x="311" y="282"/>
                  <a:pt x="309" y="284"/>
                  <a:pt x="306" y="312"/>
                </a:cubicBezTo>
                <a:cubicBezTo>
                  <a:pt x="305" y="323"/>
                  <a:pt x="304" y="335"/>
                  <a:pt x="303" y="340"/>
                </a:cubicBezTo>
                <a:cubicBezTo>
                  <a:pt x="302" y="344"/>
                  <a:pt x="302" y="348"/>
                  <a:pt x="301" y="350"/>
                </a:cubicBezTo>
                <a:cubicBezTo>
                  <a:pt x="301" y="351"/>
                  <a:pt x="295" y="355"/>
                  <a:pt x="287" y="359"/>
                </a:cubicBezTo>
                <a:cubicBezTo>
                  <a:pt x="271" y="368"/>
                  <a:pt x="261" y="384"/>
                  <a:pt x="264" y="396"/>
                </a:cubicBezTo>
                <a:cubicBezTo>
                  <a:pt x="268" y="408"/>
                  <a:pt x="267" y="458"/>
                  <a:pt x="264" y="468"/>
                </a:cubicBezTo>
                <a:cubicBezTo>
                  <a:pt x="261" y="475"/>
                  <a:pt x="263" y="480"/>
                  <a:pt x="270" y="486"/>
                </a:cubicBezTo>
                <a:cubicBezTo>
                  <a:pt x="294" y="510"/>
                  <a:pt x="351" y="560"/>
                  <a:pt x="359" y="565"/>
                </a:cubicBezTo>
                <a:cubicBezTo>
                  <a:pt x="367" y="570"/>
                  <a:pt x="377" y="590"/>
                  <a:pt x="377" y="601"/>
                </a:cubicBezTo>
                <a:cubicBezTo>
                  <a:pt x="377" y="605"/>
                  <a:pt x="339" y="606"/>
                  <a:pt x="190" y="605"/>
                </a:cubicBezTo>
                <a:cubicBezTo>
                  <a:pt x="3" y="604"/>
                  <a:pt x="3" y="604"/>
                  <a:pt x="3" y="604"/>
                </a:cubicBezTo>
                <a:lnTo>
                  <a:pt x="4" y="578"/>
                </a:ln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35" name="Freeform 101"/>
          <p:cNvSpPr/>
          <p:nvPr userDrawn="1">
            <p:custDataLst>
              <p:tags r:id="rId136"/>
            </p:custDataLst>
          </p:nvPr>
        </p:nvSpPr>
        <p:spPr bwMode="black">
          <a:xfrm>
            <a:off x="3371219" y="2679591"/>
            <a:ext cx="704850" cy="701675"/>
          </a:xfrm>
          <a:custGeom>
            <a:gdLst>
              <a:gd name="T0" fmla="*/ 432 w 490"/>
              <a:gd name="T1" fmla="*/ 482 h 489"/>
              <a:gd name="T2" fmla="*/ 421 w 490"/>
              <a:gd name="T3" fmla="*/ 476 h 489"/>
              <a:gd name="T4" fmla="*/ 424 w 490"/>
              <a:gd name="T5" fmla="*/ 457 h 489"/>
              <a:gd name="T6" fmla="*/ 234 w 490"/>
              <a:gd name="T7" fmla="*/ 426 h 489"/>
              <a:gd name="T8" fmla="*/ 54 w 490"/>
              <a:gd name="T9" fmla="*/ 425 h 489"/>
              <a:gd name="T10" fmla="*/ 54 w 490"/>
              <a:gd name="T11" fmla="*/ 415 h 489"/>
              <a:gd name="T12" fmla="*/ 59 w 490"/>
              <a:gd name="T13" fmla="*/ 307 h 489"/>
              <a:gd name="T14" fmla="*/ 58 w 490"/>
              <a:gd name="T15" fmla="*/ 177 h 489"/>
              <a:gd name="T16" fmla="*/ 56 w 490"/>
              <a:gd name="T17" fmla="*/ 148 h 489"/>
              <a:gd name="T18" fmla="*/ 42 w 490"/>
              <a:gd name="T19" fmla="*/ 124 h 489"/>
              <a:gd name="T20" fmla="*/ 33 w 490"/>
              <a:gd name="T21" fmla="*/ 101 h 489"/>
              <a:gd name="T22" fmla="*/ 28 w 490"/>
              <a:gd name="T23" fmla="*/ 59 h 489"/>
              <a:gd name="T24" fmla="*/ 9 w 490"/>
              <a:gd name="T25" fmla="*/ 29 h 489"/>
              <a:gd name="T26" fmla="*/ 2 w 490"/>
              <a:gd name="T27" fmla="*/ 6 h 489"/>
              <a:gd name="T28" fmla="*/ 25 w 490"/>
              <a:gd name="T29" fmla="*/ 1 h 489"/>
              <a:gd name="T30" fmla="*/ 168 w 490"/>
              <a:gd name="T31" fmla="*/ 5 h 489"/>
              <a:gd name="T32" fmla="*/ 293 w 490"/>
              <a:gd name="T33" fmla="*/ 11 h 489"/>
              <a:gd name="T34" fmla="*/ 299 w 490"/>
              <a:gd name="T35" fmla="*/ 22 h 489"/>
              <a:gd name="T36" fmla="*/ 306 w 490"/>
              <a:gd name="T37" fmla="*/ 79 h 489"/>
              <a:gd name="T38" fmla="*/ 332 w 490"/>
              <a:gd name="T39" fmla="*/ 113 h 489"/>
              <a:gd name="T40" fmla="*/ 360 w 490"/>
              <a:gd name="T41" fmla="*/ 151 h 489"/>
              <a:gd name="T42" fmla="*/ 379 w 490"/>
              <a:gd name="T43" fmla="*/ 177 h 489"/>
              <a:gd name="T44" fmla="*/ 403 w 490"/>
              <a:gd name="T45" fmla="*/ 232 h 489"/>
              <a:gd name="T46" fmla="*/ 400 w 490"/>
              <a:gd name="T47" fmla="*/ 266 h 489"/>
              <a:gd name="T48" fmla="*/ 433 w 490"/>
              <a:gd name="T49" fmla="*/ 292 h 489"/>
              <a:gd name="T50" fmla="*/ 468 w 490"/>
              <a:gd name="T51" fmla="*/ 322 h 489"/>
              <a:gd name="T52" fmla="*/ 474 w 490"/>
              <a:gd name="T53" fmla="*/ 352 h 489"/>
              <a:gd name="T54" fmla="*/ 485 w 490"/>
              <a:gd name="T55" fmla="*/ 383 h 489"/>
              <a:gd name="T56" fmla="*/ 489 w 490"/>
              <a:gd name="T57" fmla="*/ 400 h 489"/>
              <a:gd name="T58" fmla="*/ 475 w 490"/>
              <a:gd name="T59" fmla="*/ 428 h 489"/>
              <a:gd name="T60" fmla="*/ 458 w 490"/>
              <a:gd name="T61" fmla="*/ 462 h 489"/>
              <a:gd name="T62" fmla="*/ 432 w 490"/>
              <a:gd name="T63" fmla="*/ 482 h 48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90" h="489">
                <a:moveTo>
                  <a:pt x="432" y="482"/>
                </a:moveTo>
                <a:cubicBezTo>
                  <a:pt x="427" y="479"/>
                  <a:pt x="422" y="477"/>
                  <a:pt x="421" y="476"/>
                </a:cubicBezTo>
                <a:cubicBezTo>
                  <a:pt x="421" y="476"/>
                  <a:pt x="422" y="468"/>
                  <a:pt x="424" y="457"/>
                </a:cubicBezTo>
                <a:cubicBezTo>
                  <a:pt x="430" y="425"/>
                  <a:pt x="439" y="427"/>
                  <a:pt x="234" y="426"/>
                </a:cubicBezTo>
                <a:cubicBezTo>
                  <a:pt x="54" y="425"/>
                  <a:pt x="54" y="425"/>
                  <a:pt x="54" y="425"/>
                </a:cubicBezTo>
                <a:cubicBezTo>
                  <a:pt x="54" y="415"/>
                  <a:pt x="54" y="415"/>
                  <a:pt x="54" y="415"/>
                </a:cubicBezTo>
                <a:cubicBezTo>
                  <a:pt x="51" y="367"/>
                  <a:pt x="52" y="334"/>
                  <a:pt x="59" y="307"/>
                </a:cubicBezTo>
                <a:cubicBezTo>
                  <a:pt x="61" y="296"/>
                  <a:pt x="61" y="212"/>
                  <a:pt x="58" y="177"/>
                </a:cubicBezTo>
                <a:cubicBezTo>
                  <a:pt x="57" y="166"/>
                  <a:pt x="57" y="153"/>
                  <a:pt x="56" y="148"/>
                </a:cubicBezTo>
                <a:cubicBezTo>
                  <a:pt x="56" y="143"/>
                  <a:pt x="50" y="132"/>
                  <a:pt x="42" y="124"/>
                </a:cubicBezTo>
                <a:cubicBezTo>
                  <a:pt x="28" y="111"/>
                  <a:pt x="28" y="110"/>
                  <a:pt x="33" y="101"/>
                </a:cubicBezTo>
                <a:cubicBezTo>
                  <a:pt x="45" y="84"/>
                  <a:pt x="43" y="73"/>
                  <a:pt x="28" y="59"/>
                </a:cubicBezTo>
                <a:cubicBezTo>
                  <a:pt x="18" y="51"/>
                  <a:pt x="12" y="41"/>
                  <a:pt x="9" y="29"/>
                </a:cubicBezTo>
                <a:cubicBezTo>
                  <a:pt x="6" y="19"/>
                  <a:pt x="3" y="9"/>
                  <a:pt x="2" y="6"/>
                </a:cubicBezTo>
                <a:cubicBezTo>
                  <a:pt x="0" y="0"/>
                  <a:pt x="4" y="0"/>
                  <a:pt x="25" y="1"/>
                </a:cubicBezTo>
                <a:cubicBezTo>
                  <a:pt x="39" y="1"/>
                  <a:pt x="103" y="3"/>
                  <a:pt x="168" y="5"/>
                </a:cubicBezTo>
                <a:cubicBezTo>
                  <a:pt x="233" y="6"/>
                  <a:pt x="289" y="9"/>
                  <a:pt x="293" y="11"/>
                </a:cubicBezTo>
                <a:cubicBezTo>
                  <a:pt x="297" y="13"/>
                  <a:pt x="299" y="18"/>
                  <a:pt x="299" y="22"/>
                </a:cubicBezTo>
                <a:cubicBezTo>
                  <a:pt x="299" y="29"/>
                  <a:pt x="303" y="63"/>
                  <a:pt x="306" y="79"/>
                </a:cubicBezTo>
                <a:cubicBezTo>
                  <a:pt x="308" y="84"/>
                  <a:pt x="319" y="99"/>
                  <a:pt x="332" y="113"/>
                </a:cubicBezTo>
                <a:cubicBezTo>
                  <a:pt x="348" y="128"/>
                  <a:pt x="358" y="142"/>
                  <a:pt x="360" y="151"/>
                </a:cubicBezTo>
                <a:cubicBezTo>
                  <a:pt x="363" y="161"/>
                  <a:pt x="370" y="171"/>
                  <a:pt x="379" y="177"/>
                </a:cubicBezTo>
                <a:cubicBezTo>
                  <a:pt x="412" y="203"/>
                  <a:pt x="409" y="197"/>
                  <a:pt x="403" y="232"/>
                </a:cubicBezTo>
                <a:cubicBezTo>
                  <a:pt x="400" y="249"/>
                  <a:pt x="399" y="264"/>
                  <a:pt x="400" y="266"/>
                </a:cubicBezTo>
                <a:cubicBezTo>
                  <a:pt x="401" y="268"/>
                  <a:pt x="416" y="279"/>
                  <a:pt x="433" y="292"/>
                </a:cubicBezTo>
                <a:cubicBezTo>
                  <a:pt x="450" y="305"/>
                  <a:pt x="466" y="318"/>
                  <a:pt x="468" y="322"/>
                </a:cubicBezTo>
                <a:cubicBezTo>
                  <a:pt x="470" y="326"/>
                  <a:pt x="472" y="339"/>
                  <a:pt x="474" y="352"/>
                </a:cubicBezTo>
                <a:cubicBezTo>
                  <a:pt x="477" y="379"/>
                  <a:pt x="478" y="383"/>
                  <a:pt x="485" y="383"/>
                </a:cubicBezTo>
                <a:cubicBezTo>
                  <a:pt x="489" y="383"/>
                  <a:pt x="490" y="388"/>
                  <a:pt x="489" y="400"/>
                </a:cubicBezTo>
                <a:cubicBezTo>
                  <a:pt x="488" y="413"/>
                  <a:pt x="484" y="419"/>
                  <a:pt x="475" y="428"/>
                </a:cubicBezTo>
                <a:cubicBezTo>
                  <a:pt x="465" y="437"/>
                  <a:pt x="461" y="444"/>
                  <a:pt x="458" y="462"/>
                </a:cubicBezTo>
                <a:cubicBezTo>
                  <a:pt x="454" y="486"/>
                  <a:pt x="449" y="489"/>
                  <a:pt x="432" y="482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36" name="Freeform 102"/>
          <p:cNvSpPr/>
          <p:nvPr userDrawn="1">
            <p:custDataLst>
              <p:tags r:id="rId137"/>
            </p:custDataLst>
          </p:nvPr>
        </p:nvSpPr>
        <p:spPr bwMode="black">
          <a:xfrm>
            <a:off x="3795081" y="3538428"/>
            <a:ext cx="427038" cy="750888"/>
          </a:xfrm>
          <a:custGeom>
            <a:gdLst>
              <a:gd name="T0" fmla="*/ 184 w 297"/>
              <a:gd name="T1" fmla="*/ 511 h 523"/>
              <a:gd name="T2" fmla="*/ 167 w 297"/>
              <a:gd name="T3" fmla="*/ 467 h 523"/>
              <a:gd name="T4" fmla="*/ 164 w 297"/>
              <a:gd name="T5" fmla="*/ 434 h 523"/>
              <a:gd name="T6" fmla="*/ 108 w 297"/>
              <a:gd name="T7" fmla="*/ 429 h 523"/>
              <a:gd name="T8" fmla="*/ 39 w 297"/>
              <a:gd name="T9" fmla="*/ 426 h 523"/>
              <a:gd name="T10" fmla="*/ 14 w 297"/>
              <a:gd name="T11" fmla="*/ 425 h 523"/>
              <a:gd name="T12" fmla="*/ 24 w 297"/>
              <a:gd name="T13" fmla="*/ 368 h 523"/>
              <a:gd name="T14" fmla="*/ 52 w 297"/>
              <a:gd name="T15" fmla="*/ 308 h 523"/>
              <a:gd name="T16" fmla="*/ 55 w 297"/>
              <a:gd name="T17" fmla="*/ 269 h 523"/>
              <a:gd name="T18" fmla="*/ 47 w 297"/>
              <a:gd name="T19" fmla="*/ 204 h 523"/>
              <a:gd name="T20" fmla="*/ 72 w 297"/>
              <a:gd name="T21" fmla="*/ 92 h 523"/>
              <a:gd name="T22" fmla="*/ 91 w 297"/>
              <a:gd name="T23" fmla="*/ 54 h 523"/>
              <a:gd name="T24" fmla="*/ 112 w 297"/>
              <a:gd name="T25" fmla="*/ 15 h 523"/>
              <a:gd name="T26" fmla="*/ 124 w 297"/>
              <a:gd name="T27" fmla="*/ 4 h 523"/>
              <a:gd name="T28" fmla="*/ 210 w 297"/>
              <a:gd name="T29" fmla="*/ 2 h 523"/>
              <a:gd name="T30" fmla="*/ 297 w 297"/>
              <a:gd name="T31" fmla="*/ 0 h 523"/>
              <a:gd name="T32" fmla="*/ 297 w 297"/>
              <a:gd name="T33" fmla="*/ 11 h 523"/>
              <a:gd name="T34" fmla="*/ 293 w 297"/>
              <a:gd name="T35" fmla="*/ 57 h 523"/>
              <a:gd name="T36" fmla="*/ 287 w 297"/>
              <a:gd name="T37" fmla="*/ 121 h 523"/>
              <a:gd name="T38" fmla="*/ 283 w 297"/>
              <a:gd name="T39" fmla="*/ 161 h 523"/>
              <a:gd name="T40" fmla="*/ 277 w 297"/>
              <a:gd name="T41" fmla="*/ 396 h 523"/>
              <a:gd name="T42" fmla="*/ 277 w 297"/>
              <a:gd name="T43" fmla="*/ 505 h 523"/>
              <a:gd name="T44" fmla="*/ 268 w 297"/>
              <a:gd name="T45" fmla="*/ 505 h 523"/>
              <a:gd name="T46" fmla="*/ 205 w 297"/>
              <a:gd name="T47" fmla="*/ 516 h 523"/>
              <a:gd name="T48" fmla="*/ 184 w 297"/>
              <a:gd name="T49" fmla="*/ 511 h 523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97" h="523">
                <a:moveTo>
                  <a:pt x="184" y="511"/>
                </a:moveTo>
                <a:cubicBezTo>
                  <a:pt x="169" y="498"/>
                  <a:pt x="169" y="497"/>
                  <a:pt x="167" y="467"/>
                </a:cubicBezTo>
                <a:cubicBezTo>
                  <a:pt x="166" y="451"/>
                  <a:pt x="165" y="435"/>
                  <a:pt x="164" y="434"/>
                </a:cubicBezTo>
                <a:cubicBezTo>
                  <a:pt x="163" y="432"/>
                  <a:pt x="138" y="430"/>
                  <a:pt x="108" y="429"/>
                </a:cubicBezTo>
                <a:cubicBezTo>
                  <a:pt x="79" y="428"/>
                  <a:pt x="48" y="427"/>
                  <a:pt x="39" y="426"/>
                </a:cubicBezTo>
                <a:cubicBezTo>
                  <a:pt x="30" y="426"/>
                  <a:pt x="19" y="425"/>
                  <a:pt x="14" y="425"/>
                </a:cubicBezTo>
                <a:cubicBezTo>
                  <a:pt x="0" y="424"/>
                  <a:pt x="3" y="405"/>
                  <a:pt x="24" y="368"/>
                </a:cubicBezTo>
                <a:cubicBezTo>
                  <a:pt x="34" y="349"/>
                  <a:pt x="46" y="322"/>
                  <a:pt x="52" y="308"/>
                </a:cubicBezTo>
                <a:cubicBezTo>
                  <a:pt x="61" y="282"/>
                  <a:pt x="61" y="280"/>
                  <a:pt x="55" y="269"/>
                </a:cubicBezTo>
                <a:cubicBezTo>
                  <a:pt x="51" y="260"/>
                  <a:pt x="48" y="240"/>
                  <a:pt x="47" y="204"/>
                </a:cubicBezTo>
                <a:cubicBezTo>
                  <a:pt x="44" y="141"/>
                  <a:pt x="48" y="124"/>
                  <a:pt x="72" y="92"/>
                </a:cubicBezTo>
                <a:cubicBezTo>
                  <a:pt x="82" y="79"/>
                  <a:pt x="90" y="64"/>
                  <a:pt x="91" y="54"/>
                </a:cubicBezTo>
                <a:cubicBezTo>
                  <a:pt x="95" y="35"/>
                  <a:pt x="97" y="29"/>
                  <a:pt x="112" y="15"/>
                </a:cubicBezTo>
                <a:cubicBezTo>
                  <a:pt x="124" y="4"/>
                  <a:pt x="124" y="4"/>
                  <a:pt x="124" y="4"/>
                </a:cubicBezTo>
                <a:cubicBezTo>
                  <a:pt x="210" y="2"/>
                  <a:pt x="210" y="2"/>
                  <a:pt x="210" y="2"/>
                </a:cubicBezTo>
                <a:cubicBezTo>
                  <a:pt x="297" y="0"/>
                  <a:pt x="297" y="0"/>
                  <a:pt x="297" y="0"/>
                </a:cubicBezTo>
                <a:cubicBezTo>
                  <a:pt x="297" y="11"/>
                  <a:pt x="297" y="11"/>
                  <a:pt x="297" y="11"/>
                </a:cubicBezTo>
                <a:cubicBezTo>
                  <a:pt x="297" y="17"/>
                  <a:pt x="295" y="38"/>
                  <a:pt x="293" y="57"/>
                </a:cubicBezTo>
                <a:cubicBezTo>
                  <a:pt x="291" y="75"/>
                  <a:pt x="289" y="104"/>
                  <a:pt x="287" y="121"/>
                </a:cubicBezTo>
                <a:cubicBezTo>
                  <a:pt x="286" y="137"/>
                  <a:pt x="284" y="155"/>
                  <a:pt x="283" y="161"/>
                </a:cubicBezTo>
                <a:cubicBezTo>
                  <a:pt x="279" y="190"/>
                  <a:pt x="276" y="299"/>
                  <a:pt x="277" y="396"/>
                </a:cubicBezTo>
                <a:cubicBezTo>
                  <a:pt x="277" y="505"/>
                  <a:pt x="277" y="505"/>
                  <a:pt x="277" y="505"/>
                </a:cubicBezTo>
                <a:cubicBezTo>
                  <a:pt x="268" y="505"/>
                  <a:pt x="268" y="505"/>
                  <a:pt x="268" y="505"/>
                </a:cubicBezTo>
                <a:cubicBezTo>
                  <a:pt x="234" y="506"/>
                  <a:pt x="211" y="510"/>
                  <a:pt x="205" y="516"/>
                </a:cubicBezTo>
                <a:cubicBezTo>
                  <a:pt x="199" y="523"/>
                  <a:pt x="198" y="523"/>
                  <a:pt x="184" y="511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37" name="Freeform 103"/>
          <p:cNvSpPr/>
          <p:nvPr userDrawn="1">
            <p:custDataLst>
              <p:tags r:id="rId138"/>
            </p:custDataLst>
          </p:nvPr>
        </p:nvSpPr>
        <p:spPr bwMode="black">
          <a:xfrm>
            <a:off x="1432880" y="1023827"/>
            <a:ext cx="1177925" cy="858838"/>
          </a:xfrm>
          <a:custGeom>
            <a:gdLst>
              <a:gd name="T0" fmla="*/ 740 w 820"/>
              <a:gd name="T1" fmla="*/ 593 h 598"/>
              <a:gd name="T2" fmla="*/ 726 w 820"/>
              <a:gd name="T3" fmla="*/ 589 h 598"/>
              <a:gd name="T4" fmla="*/ 520 w 820"/>
              <a:gd name="T5" fmla="*/ 546 h 598"/>
              <a:gd name="T6" fmla="*/ 368 w 820"/>
              <a:gd name="T7" fmla="*/ 515 h 598"/>
              <a:gd name="T8" fmla="*/ 276 w 820"/>
              <a:gd name="T9" fmla="*/ 495 h 598"/>
              <a:gd name="T10" fmla="*/ 240 w 820"/>
              <a:gd name="T11" fmla="*/ 510 h 598"/>
              <a:gd name="T12" fmla="*/ 214 w 820"/>
              <a:gd name="T13" fmla="*/ 528 h 598"/>
              <a:gd name="T14" fmla="*/ 182 w 820"/>
              <a:gd name="T15" fmla="*/ 523 h 598"/>
              <a:gd name="T16" fmla="*/ 138 w 820"/>
              <a:gd name="T17" fmla="*/ 518 h 598"/>
              <a:gd name="T18" fmla="*/ 88 w 820"/>
              <a:gd name="T19" fmla="*/ 455 h 598"/>
              <a:gd name="T20" fmla="*/ 67 w 820"/>
              <a:gd name="T21" fmla="*/ 374 h 598"/>
              <a:gd name="T22" fmla="*/ 43 w 820"/>
              <a:gd name="T23" fmla="*/ 375 h 598"/>
              <a:gd name="T24" fmla="*/ 26 w 820"/>
              <a:gd name="T25" fmla="*/ 364 h 598"/>
              <a:gd name="T26" fmla="*/ 45 w 820"/>
              <a:gd name="T27" fmla="*/ 343 h 598"/>
              <a:gd name="T28" fmla="*/ 48 w 820"/>
              <a:gd name="T29" fmla="*/ 328 h 598"/>
              <a:gd name="T30" fmla="*/ 56 w 820"/>
              <a:gd name="T31" fmla="*/ 303 h 598"/>
              <a:gd name="T32" fmla="*/ 55 w 820"/>
              <a:gd name="T33" fmla="*/ 253 h 598"/>
              <a:gd name="T34" fmla="*/ 38 w 820"/>
              <a:gd name="T35" fmla="*/ 219 h 598"/>
              <a:gd name="T36" fmla="*/ 19 w 820"/>
              <a:gd name="T37" fmla="*/ 178 h 598"/>
              <a:gd name="T38" fmla="*/ 14 w 820"/>
              <a:gd name="T39" fmla="*/ 47 h 598"/>
              <a:gd name="T40" fmla="*/ 25 w 820"/>
              <a:gd name="T41" fmla="*/ 0 h 598"/>
              <a:gd name="T42" fmla="*/ 74 w 820"/>
              <a:gd name="T43" fmla="*/ 15 h 598"/>
              <a:gd name="T44" fmla="*/ 334 w 820"/>
              <a:gd name="T45" fmla="*/ 88 h 598"/>
              <a:gd name="T46" fmla="*/ 392 w 820"/>
              <a:gd name="T47" fmla="*/ 103 h 598"/>
              <a:gd name="T48" fmla="*/ 743 w 820"/>
              <a:gd name="T49" fmla="*/ 183 h 598"/>
              <a:gd name="T50" fmla="*/ 763 w 820"/>
              <a:gd name="T51" fmla="*/ 188 h 598"/>
              <a:gd name="T52" fmla="*/ 792 w 820"/>
              <a:gd name="T53" fmla="*/ 192 h 598"/>
              <a:gd name="T54" fmla="*/ 819 w 820"/>
              <a:gd name="T55" fmla="*/ 196 h 598"/>
              <a:gd name="T56" fmla="*/ 816 w 820"/>
              <a:gd name="T57" fmla="*/ 219 h 598"/>
              <a:gd name="T58" fmla="*/ 806 w 820"/>
              <a:gd name="T59" fmla="*/ 280 h 598"/>
              <a:gd name="T60" fmla="*/ 802 w 820"/>
              <a:gd name="T61" fmla="*/ 304 h 598"/>
              <a:gd name="T62" fmla="*/ 794 w 820"/>
              <a:gd name="T63" fmla="*/ 349 h 598"/>
              <a:gd name="T64" fmla="*/ 754 w 820"/>
              <a:gd name="T65" fmla="*/ 584 h 598"/>
              <a:gd name="T66" fmla="*/ 740 w 820"/>
              <a:gd name="T67" fmla="*/ 593 h 598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820" h="598">
                <a:moveTo>
                  <a:pt x="740" y="593"/>
                </a:moveTo>
                <a:cubicBezTo>
                  <a:pt x="739" y="592"/>
                  <a:pt x="733" y="590"/>
                  <a:pt x="726" y="589"/>
                </a:cubicBezTo>
                <a:cubicBezTo>
                  <a:pt x="713" y="587"/>
                  <a:pt x="647" y="573"/>
                  <a:pt x="520" y="546"/>
                </a:cubicBezTo>
                <a:cubicBezTo>
                  <a:pt x="477" y="537"/>
                  <a:pt x="409" y="523"/>
                  <a:pt x="368" y="515"/>
                </a:cubicBezTo>
                <a:cubicBezTo>
                  <a:pt x="327" y="506"/>
                  <a:pt x="286" y="497"/>
                  <a:pt x="276" y="495"/>
                </a:cubicBezTo>
                <a:cubicBezTo>
                  <a:pt x="250" y="489"/>
                  <a:pt x="249" y="489"/>
                  <a:pt x="240" y="510"/>
                </a:cubicBezTo>
                <a:cubicBezTo>
                  <a:pt x="232" y="528"/>
                  <a:pt x="232" y="529"/>
                  <a:pt x="214" y="528"/>
                </a:cubicBezTo>
                <a:cubicBezTo>
                  <a:pt x="205" y="528"/>
                  <a:pt x="190" y="525"/>
                  <a:pt x="182" y="523"/>
                </a:cubicBezTo>
                <a:cubicBezTo>
                  <a:pt x="175" y="520"/>
                  <a:pt x="155" y="518"/>
                  <a:pt x="138" y="518"/>
                </a:cubicBezTo>
                <a:cubicBezTo>
                  <a:pt x="100" y="517"/>
                  <a:pt x="100" y="517"/>
                  <a:pt x="88" y="455"/>
                </a:cubicBezTo>
                <a:cubicBezTo>
                  <a:pt x="77" y="394"/>
                  <a:pt x="72" y="375"/>
                  <a:pt x="67" y="374"/>
                </a:cubicBezTo>
                <a:cubicBezTo>
                  <a:pt x="64" y="374"/>
                  <a:pt x="53" y="374"/>
                  <a:pt x="43" y="375"/>
                </a:cubicBezTo>
                <a:cubicBezTo>
                  <a:pt x="23" y="375"/>
                  <a:pt x="23" y="375"/>
                  <a:pt x="26" y="364"/>
                </a:cubicBezTo>
                <a:cubicBezTo>
                  <a:pt x="28" y="354"/>
                  <a:pt x="38" y="343"/>
                  <a:pt x="45" y="343"/>
                </a:cubicBezTo>
                <a:cubicBezTo>
                  <a:pt x="47" y="343"/>
                  <a:pt x="48" y="336"/>
                  <a:pt x="48" y="328"/>
                </a:cubicBezTo>
                <a:cubicBezTo>
                  <a:pt x="48" y="320"/>
                  <a:pt x="52" y="309"/>
                  <a:pt x="56" y="303"/>
                </a:cubicBezTo>
                <a:cubicBezTo>
                  <a:pt x="68" y="286"/>
                  <a:pt x="68" y="267"/>
                  <a:pt x="55" y="253"/>
                </a:cubicBezTo>
                <a:cubicBezTo>
                  <a:pt x="49" y="246"/>
                  <a:pt x="41" y="231"/>
                  <a:pt x="38" y="219"/>
                </a:cubicBezTo>
                <a:cubicBezTo>
                  <a:pt x="34" y="207"/>
                  <a:pt x="26" y="188"/>
                  <a:pt x="19" y="178"/>
                </a:cubicBezTo>
                <a:cubicBezTo>
                  <a:pt x="2" y="149"/>
                  <a:pt x="0" y="108"/>
                  <a:pt x="14" y="47"/>
                </a:cubicBezTo>
                <a:cubicBezTo>
                  <a:pt x="25" y="0"/>
                  <a:pt x="25" y="0"/>
                  <a:pt x="25" y="0"/>
                </a:cubicBezTo>
                <a:cubicBezTo>
                  <a:pt x="74" y="15"/>
                  <a:pt x="74" y="15"/>
                  <a:pt x="74" y="15"/>
                </a:cubicBezTo>
                <a:cubicBezTo>
                  <a:pt x="119" y="30"/>
                  <a:pt x="307" y="82"/>
                  <a:pt x="334" y="88"/>
                </a:cubicBezTo>
                <a:cubicBezTo>
                  <a:pt x="341" y="89"/>
                  <a:pt x="367" y="96"/>
                  <a:pt x="392" y="103"/>
                </a:cubicBezTo>
                <a:cubicBezTo>
                  <a:pt x="432" y="113"/>
                  <a:pt x="692" y="173"/>
                  <a:pt x="743" y="183"/>
                </a:cubicBezTo>
                <a:cubicBezTo>
                  <a:pt x="753" y="185"/>
                  <a:pt x="762" y="187"/>
                  <a:pt x="763" y="188"/>
                </a:cubicBezTo>
                <a:cubicBezTo>
                  <a:pt x="765" y="189"/>
                  <a:pt x="778" y="191"/>
                  <a:pt x="792" y="192"/>
                </a:cubicBezTo>
                <a:cubicBezTo>
                  <a:pt x="806" y="194"/>
                  <a:pt x="818" y="195"/>
                  <a:pt x="819" y="196"/>
                </a:cubicBezTo>
                <a:cubicBezTo>
                  <a:pt x="820" y="197"/>
                  <a:pt x="818" y="207"/>
                  <a:pt x="816" y="219"/>
                </a:cubicBezTo>
                <a:cubicBezTo>
                  <a:pt x="812" y="242"/>
                  <a:pt x="810" y="255"/>
                  <a:pt x="806" y="280"/>
                </a:cubicBezTo>
                <a:cubicBezTo>
                  <a:pt x="805" y="289"/>
                  <a:pt x="803" y="299"/>
                  <a:pt x="802" y="304"/>
                </a:cubicBezTo>
                <a:cubicBezTo>
                  <a:pt x="800" y="312"/>
                  <a:pt x="799" y="321"/>
                  <a:pt x="794" y="349"/>
                </a:cubicBezTo>
                <a:cubicBezTo>
                  <a:pt x="787" y="392"/>
                  <a:pt x="756" y="575"/>
                  <a:pt x="754" y="584"/>
                </a:cubicBezTo>
                <a:cubicBezTo>
                  <a:pt x="752" y="593"/>
                  <a:pt x="745" y="598"/>
                  <a:pt x="740" y="593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38" name="Freeform 104"/>
          <p:cNvSpPr/>
          <p:nvPr userDrawn="1">
            <p:custDataLst>
              <p:tags r:id="rId139"/>
            </p:custDataLst>
          </p:nvPr>
        </p:nvSpPr>
        <p:spPr bwMode="black">
          <a:xfrm>
            <a:off x="4680907" y="3154253"/>
            <a:ext cx="1069975" cy="454025"/>
          </a:xfrm>
          <a:custGeom>
            <a:gdLst>
              <a:gd name="T0" fmla="*/ 529 w 744"/>
              <a:gd name="T1" fmla="*/ 305 h 316"/>
              <a:gd name="T2" fmla="*/ 503 w 744"/>
              <a:gd name="T3" fmla="*/ 289 h 316"/>
              <a:gd name="T4" fmla="*/ 451 w 744"/>
              <a:gd name="T5" fmla="*/ 251 h 316"/>
              <a:gd name="T6" fmla="*/ 412 w 744"/>
              <a:gd name="T7" fmla="*/ 220 h 316"/>
              <a:gd name="T8" fmla="*/ 367 w 744"/>
              <a:gd name="T9" fmla="*/ 221 h 316"/>
              <a:gd name="T10" fmla="*/ 312 w 744"/>
              <a:gd name="T11" fmla="*/ 216 h 316"/>
              <a:gd name="T12" fmla="*/ 245 w 744"/>
              <a:gd name="T13" fmla="*/ 203 h 316"/>
              <a:gd name="T14" fmla="*/ 132 w 744"/>
              <a:gd name="T15" fmla="*/ 228 h 316"/>
              <a:gd name="T16" fmla="*/ 51 w 744"/>
              <a:gd name="T17" fmla="*/ 241 h 316"/>
              <a:gd name="T18" fmla="*/ 7 w 744"/>
              <a:gd name="T19" fmla="*/ 246 h 316"/>
              <a:gd name="T20" fmla="*/ 8 w 744"/>
              <a:gd name="T21" fmla="*/ 241 h 316"/>
              <a:gd name="T22" fmla="*/ 34 w 744"/>
              <a:gd name="T23" fmla="*/ 216 h 316"/>
              <a:gd name="T24" fmla="*/ 71 w 744"/>
              <a:gd name="T25" fmla="*/ 189 h 316"/>
              <a:gd name="T26" fmla="*/ 111 w 744"/>
              <a:gd name="T27" fmla="*/ 161 h 316"/>
              <a:gd name="T28" fmla="*/ 163 w 744"/>
              <a:gd name="T29" fmla="*/ 128 h 316"/>
              <a:gd name="T30" fmla="*/ 219 w 744"/>
              <a:gd name="T31" fmla="*/ 81 h 316"/>
              <a:gd name="T32" fmla="*/ 271 w 744"/>
              <a:gd name="T33" fmla="*/ 62 h 316"/>
              <a:gd name="T34" fmla="*/ 315 w 744"/>
              <a:gd name="T35" fmla="*/ 58 h 316"/>
              <a:gd name="T36" fmla="*/ 347 w 744"/>
              <a:gd name="T37" fmla="*/ 54 h 316"/>
              <a:gd name="T38" fmla="*/ 379 w 744"/>
              <a:gd name="T39" fmla="*/ 49 h 316"/>
              <a:gd name="T40" fmla="*/ 463 w 744"/>
              <a:gd name="T41" fmla="*/ 38 h 316"/>
              <a:gd name="T42" fmla="*/ 547 w 744"/>
              <a:gd name="T43" fmla="*/ 26 h 316"/>
              <a:gd name="T44" fmla="*/ 574 w 744"/>
              <a:gd name="T45" fmla="*/ 22 h 316"/>
              <a:gd name="T46" fmla="*/ 684 w 744"/>
              <a:gd name="T47" fmla="*/ 2 h 316"/>
              <a:gd name="T48" fmla="*/ 697 w 744"/>
              <a:gd name="T49" fmla="*/ 12 h 316"/>
              <a:gd name="T50" fmla="*/ 692 w 744"/>
              <a:gd name="T51" fmla="*/ 33 h 316"/>
              <a:gd name="T52" fmla="*/ 681 w 744"/>
              <a:gd name="T53" fmla="*/ 43 h 316"/>
              <a:gd name="T54" fmla="*/ 701 w 744"/>
              <a:gd name="T55" fmla="*/ 45 h 316"/>
              <a:gd name="T56" fmla="*/ 731 w 744"/>
              <a:gd name="T57" fmla="*/ 60 h 316"/>
              <a:gd name="T58" fmla="*/ 727 w 744"/>
              <a:gd name="T59" fmla="*/ 98 h 316"/>
              <a:gd name="T60" fmla="*/ 711 w 744"/>
              <a:gd name="T61" fmla="*/ 121 h 316"/>
              <a:gd name="T62" fmla="*/ 673 w 744"/>
              <a:gd name="T63" fmla="*/ 128 h 316"/>
              <a:gd name="T64" fmla="*/ 671 w 744"/>
              <a:gd name="T65" fmla="*/ 146 h 316"/>
              <a:gd name="T66" fmla="*/ 671 w 744"/>
              <a:gd name="T67" fmla="*/ 164 h 316"/>
              <a:gd name="T68" fmla="*/ 686 w 744"/>
              <a:gd name="T69" fmla="*/ 164 h 316"/>
              <a:gd name="T70" fmla="*/ 692 w 744"/>
              <a:gd name="T71" fmla="*/ 182 h 316"/>
              <a:gd name="T72" fmla="*/ 654 w 744"/>
              <a:gd name="T73" fmla="*/ 208 h 316"/>
              <a:gd name="T74" fmla="*/ 608 w 744"/>
              <a:gd name="T75" fmla="*/ 240 h 316"/>
              <a:gd name="T76" fmla="*/ 577 w 744"/>
              <a:gd name="T77" fmla="*/ 287 h 316"/>
              <a:gd name="T78" fmla="*/ 561 w 744"/>
              <a:gd name="T79" fmla="*/ 309 h 316"/>
              <a:gd name="T80" fmla="*/ 544 w 744"/>
              <a:gd name="T81" fmla="*/ 316 h 316"/>
              <a:gd name="T82" fmla="*/ 529 w 744"/>
              <a:gd name="T83" fmla="*/ 305 h 316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44" h="316">
                <a:moveTo>
                  <a:pt x="529" y="305"/>
                </a:moveTo>
                <a:cubicBezTo>
                  <a:pt x="521" y="300"/>
                  <a:pt x="510" y="292"/>
                  <a:pt x="503" y="289"/>
                </a:cubicBezTo>
                <a:cubicBezTo>
                  <a:pt x="497" y="286"/>
                  <a:pt x="473" y="269"/>
                  <a:pt x="451" y="251"/>
                </a:cubicBezTo>
                <a:cubicBezTo>
                  <a:pt x="412" y="220"/>
                  <a:pt x="412" y="220"/>
                  <a:pt x="412" y="220"/>
                </a:cubicBezTo>
                <a:cubicBezTo>
                  <a:pt x="367" y="221"/>
                  <a:pt x="367" y="221"/>
                  <a:pt x="367" y="221"/>
                </a:cubicBezTo>
                <a:cubicBezTo>
                  <a:pt x="328" y="223"/>
                  <a:pt x="320" y="222"/>
                  <a:pt x="312" y="216"/>
                </a:cubicBezTo>
                <a:cubicBezTo>
                  <a:pt x="297" y="204"/>
                  <a:pt x="289" y="203"/>
                  <a:pt x="245" y="203"/>
                </a:cubicBezTo>
                <a:cubicBezTo>
                  <a:pt x="200" y="204"/>
                  <a:pt x="169" y="210"/>
                  <a:pt x="132" y="228"/>
                </a:cubicBezTo>
                <a:cubicBezTo>
                  <a:pt x="111" y="237"/>
                  <a:pt x="107" y="238"/>
                  <a:pt x="51" y="241"/>
                </a:cubicBezTo>
                <a:cubicBezTo>
                  <a:pt x="31" y="243"/>
                  <a:pt x="12" y="245"/>
                  <a:pt x="7" y="246"/>
                </a:cubicBezTo>
                <a:cubicBezTo>
                  <a:pt x="0" y="248"/>
                  <a:pt x="0" y="247"/>
                  <a:pt x="8" y="241"/>
                </a:cubicBezTo>
                <a:cubicBezTo>
                  <a:pt x="13" y="237"/>
                  <a:pt x="25" y="226"/>
                  <a:pt x="34" y="216"/>
                </a:cubicBezTo>
                <a:cubicBezTo>
                  <a:pt x="44" y="207"/>
                  <a:pt x="60" y="194"/>
                  <a:pt x="71" y="189"/>
                </a:cubicBezTo>
                <a:cubicBezTo>
                  <a:pt x="82" y="183"/>
                  <a:pt x="100" y="171"/>
                  <a:pt x="111" y="161"/>
                </a:cubicBezTo>
                <a:cubicBezTo>
                  <a:pt x="122" y="151"/>
                  <a:pt x="146" y="136"/>
                  <a:pt x="163" y="128"/>
                </a:cubicBezTo>
                <a:cubicBezTo>
                  <a:pt x="196" y="112"/>
                  <a:pt x="214" y="97"/>
                  <a:pt x="219" y="81"/>
                </a:cubicBezTo>
                <a:cubicBezTo>
                  <a:pt x="223" y="68"/>
                  <a:pt x="231" y="65"/>
                  <a:pt x="271" y="62"/>
                </a:cubicBezTo>
                <a:cubicBezTo>
                  <a:pt x="290" y="60"/>
                  <a:pt x="310" y="58"/>
                  <a:pt x="315" y="58"/>
                </a:cubicBezTo>
                <a:cubicBezTo>
                  <a:pt x="319" y="57"/>
                  <a:pt x="334" y="55"/>
                  <a:pt x="347" y="54"/>
                </a:cubicBezTo>
                <a:cubicBezTo>
                  <a:pt x="359" y="52"/>
                  <a:pt x="374" y="50"/>
                  <a:pt x="379" y="49"/>
                </a:cubicBezTo>
                <a:cubicBezTo>
                  <a:pt x="383" y="49"/>
                  <a:pt x="421" y="43"/>
                  <a:pt x="463" y="38"/>
                </a:cubicBezTo>
                <a:cubicBezTo>
                  <a:pt x="505" y="32"/>
                  <a:pt x="543" y="27"/>
                  <a:pt x="547" y="26"/>
                </a:cubicBezTo>
                <a:cubicBezTo>
                  <a:pt x="552" y="25"/>
                  <a:pt x="563" y="23"/>
                  <a:pt x="574" y="22"/>
                </a:cubicBezTo>
                <a:cubicBezTo>
                  <a:pt x="602" y="18"/>
                  <a:pt x="656" y="8"/>
                  <a:pt x="684" y="2"/>
                </a:cubicBezTo>
                <a:cubicBezTo>
                  <a:pt x="690" y="0"/>
                  <a:pt x="693" y="2"/>
                  <a:pt x="697" y="12"/>
                </a:cubicBezTo>
                <a:cubicBezTo>
                  <a:pt x="702" y="23"/>
                  <a:pt x="702" y="25"/>
                  <a:pt x="692" y="33"/>
                </a:cubicBezTo>
                <a:cubicBezTo>
                  <a:pt x="681" y="43"/>
                  <a:pt x="681" y="43"/>
                  <a:pt x="681" y="43"/>
                </a:cubicBezTo>
                <a:cubicBezTo>
                  <a:pt x="701" y="45"/>
                  <a:pt x="701" y="45"/>
                  <a:pt x="701" y="45"/>
                </a:cubicBezTo>
                <a:cubicBezTo>
                  <a:pt x="715" y="48"/>
                  <a:pt x="723" y="51"/>
                  <a:pt x="731" y="60"/>
                </a:cubicBezTo>
                <a:cubicBezTo>
                  <a:pt x="744" y="75"/>
                  <a:pt x="744" y="80"/>
                  <a:pt x="727" y="98"/>
                </a:cubicBezTo>
                <a:cubicBezTo>
                  <a:pt x="719" y="107"/>
                  <a:pt x="712" y="117"/>
                  <a:pt x="711" y="121"/>
                </a:cubicBezTo>
                <a:cubicBezTo>
                  <a:pt x="709" y="127"/>
                  <a:pt x="691" y="130"/>
                  <a:pt x="673" y="128"/>
                </a:cubicBezTo>
                <a:cubicBezTo>
                  <a:pt x="672" y="128"/>
                  <a:pt x="671" y="136"/>
                  <a:pt x="671" y="146"/>
                </a:cubicBezTo>
                <a:cubicBezTo>
                  <a:pt x="671" y="164"/>
                  <a:pt x="671" y="164"/>
                  <a:pt x="671" y="164"/>
                </a:cubicBezTo>
                <a:cubicBezTo>
                  <a:pt x="686" y="164"/>
                  <a:pt x="686" y="164"/>
                  <a:pt x="686" y="164"/>
                </a:cubicBezTo>
                <a:cubicBezTo>
                  <a:pt x="703" y="164"/>
                  <a:pt x="705" y="167"/>
                  <a:pt x="692" y="182"/>
                </a:cubicBezTo>
                <a:cubicBezTo>
                  <a:pt x="674" y="203"/>
                  <a:pt x="668" y="208"/>
                  <a:pt x="654" y="208"/>
                </a:cubicBezTo>
                <a:cubicBezTo>
                  <a:pt x="641" y="208"/>
                  <a:pt x="636" y="212"/>
                  <a:pt x="608" y="240"/>
                </a:cubicBezTo>
                <a:cubicBezTo>
                  <a:pt x="581" y="268"/>
                  <a:pt x="577" y="274"/>
                  <a:pt x="577" y="287"/>
                </a:cubicBezTo>
                <a:cubicBezTo>
                  <a:pt x="577" y="300"/>
                  <a:pt x="576" y="302"/>
                  <a:pt x="561" y="309"/>
                </a:cubicBezTo>
                <a:cubicBezTo>
                  <a:pt x="552" y="312"/>
                  <a:pt x="545" y="316"/>
                  <a:pt x="544" y="316"/>
                </a:cubicBezTo>
                <a:cubicBezTo>
                  <a:pt x="543" y="316"/>
                  <a:pt x="536" y="311"/>
                  <a:pt x="529" y="305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39" name="Freeform 105"/>
          <p:cNvSpPr/>
          <p:nvPr userDrawn="1">
            <p:custDataLst>
              <p:tags r:id="rId140"/>
            </p:custDataLst>
          </p:nvPr>
        </p:nvSpPr>
        <p:spPr bwMode="black">
          <a:xfrm>
            <a:off x="2556831" y="1307990"/>
            <a:ext cx="736600" cy="528638"/>
          </a:xfrm>
          <a:custGeom>
            <a:gdLst>
              <a:gd name="T0" fmla="*/ 485 w 512"/>
              <a:gd name="T1" fmla="*/ 366 h 367"/>
              <a:gd name="T2" fmla="*/ 460 w 512"/>
              <a:gd name="T3" fmla="*/ 363 h 367"/>
              <a:gd name="T4" fmla="*/ 426 w 512"/>
              <a:gd name="T5" fmla="*/ 359 h 367"/>
              <a:gd name="T6" fmla="*/ 398 w 512"/>
              <a:gd name="T7" fmla="*/ 355 h 367"/>
              <a:gd name="T8" fmla="*/ 366 w 512"/>
              <a:gd name="T9" fmla="*/ 351 h 367"/>
              <a:gd name="T10" fmla="*/ 302 w 512"/>
              <a:gd name="T11" fmla="*/ 343 h 367"/>
              <a:gd name="T12" fmla="*/ 270 w 512"/>
              <a:gd name="T13" fmla="*/ 338 h 367"/>
              <a:gd name="T14" fmla="*/ 180 w 512"/>
              <a:gd name="T15" fmla="*/ 327 h 367"/>
              <a:gd name="T16" fmla="*/ 88 w 512"/>
              <a:gd name="T17" fmla="*/ 315 h 367"/>
              <a:gd name="T18" fmla="*/ 24 w 512"/>
              <a:gd name="T19" fmla="*/ 306 h 367"/>
              <a:gd name="T20" fmla="*/ 0 w 512"/>
              <a:gd name="T21" fmla="*/ 304 h 367"/>
              <a:gd name="T22" fmla="*/ 10 w 512"/>
              <a:gd name="T23" fmla="*/ 239 h 367"/>
              <a:gd name="T24" fmla="*/ 24 w 512"/>
              <a:gd name="T25" fmla="*/ 162 h 367"/>
              <a:gd name="T26" fmla="*/ 28 w 512"/>
              <a:gd name="T27" fmla="*/ 138 h 367"/>
              <a:gd name="T28" fmla="*/ 40 w 512"/>
              <a:gd name="T29" fmla="*/ 66 h 367"/>
              <a:gd name="T30" fmla="*/ 50 w 512"/>
              <a:gd name="T31" fmla="*/ 3 h 367"/>
              <a:gd name="T32" fmla="*/ 121 w 512"/>
              <a:gd name="T33" fmla="*/ 6 h 367"/>
              <a:gd name="T34" fmla="*/ 156 w 512"/>
              <a:gd name="T35" fmla="*/ 10 h 367"/>
              <a:gd name="T36" fmla="*/ 194 w 512"/>
              <a:gd name="T37" fmla="*/ 14 h 367"/>
              <a:gd name="T38" fmla="*/ 228 w 512"/>
              <a:gd name="T39" fmla="*/ 18 h 367"/>
              <a:gd name="T40" fmla="*/ 266 w 512"/>
              <a:gd name="T41" fmla="*/ 23 h 367"/>
              <a:gd name="T42" fmla="*/ 404 w 512"/>
              <a:gd name="T43" fmla="*/ 39 h 367"/>
              <a:gd name="T44" fmla="*/ 438 w 512"/>
              <a:gd name="T45" fmla="*/ 43 h 367"/>
              <a:gd name="T46" fmla="*/ 474 w 512"/>
              <a:gd name="T47" fmla="*/ 47 h 367"/>
              <a:gd name="T48" fmla="*/ 498 w 512"/>
              <a:gd name="T49" fmla="*/ 53 h 367"/>
              <a:gd name="T50" fmla="*/ 502 w 512"/>
              <a:gd name="T51" fmla="*/ 122 h 367"/>
              <a:gd name="T52" fmla="*/ 504 w 512"/>
              <a:gd name="T53" fmla="*/ 201 h 367"/>
              <a:gd name="T54" fmla="*/ 512 w 512"/>
              <a:gd name="T55" fmla="*/ 353 h 367"/>
              <a:gd name="T56" fmla="*/ 499 w 512"/>
              <a:gd name="T57" fmla="*/ 367 h 367"/>
              <a:gd name="T58" fmla="*/ 485 w 512"/>
              <a:gd name="T59" fmla="*/ 366 h 36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12" h="367">
                <a:moveTo>
                  <a:pt x="485" y="366"/>
                </a:moveTo>
                <a:cubicBezTo>
                  <a:pt x="485" y="366"/>
                  <a:pt x="473" y="364"/>
                  <a:pt x="460" y="363"/>
                </a:cubicBezTo>
                <a:cubicBezTo>
                  <a:pt x="447" y="361"/>
                  <a:pt x="432" y="360"/>
                  <a:pt x="426" y="359"/>
                </a:cubicBezTo>
                <a:cubicBezTo>
                  <a:pt x="421" y="358"/>
                  <a:pt x="408" y="356"/>
                  <a:pt x="398" y="355"/>
                </a:cubicBezTo>
                <a:cubicBezTo>
                  <a:pt x="388" y="353"/>
                  <a:pt x="374" y="352"/>
                  <a:pt x="366" y="351"/>
                </a:cubicBezTo>
                <a:cubicBezTo>
                  <a:pt x="344" y="348"/>
                  <a:pt x="326" y="345"/>
                  <a:pt x="302" y="343"/>
                </a:cubicBezTo>
                <a:cubicBezTo>
                  <a:pt x="290" y="341"/>
                  <a:pt x="276" y="339"/>
                  <a:pt x="270" y="338"/>
                </a:cubicBezTo>
                <a:cubicBezTo>
                  <a:pt x="264" y="337"/>
                  <a:pt x="224" y="332"/>
                  <a:pt x="180" y="327"/>
                </a:cubicBezTo>
                <a:cubicBezTo>
                  <a:pt x="136" y="321"/>
                  <a:pt x="95" y="316"/>
                  <a:pt x="88" y="315"/>
                </a:cubicBezTo>
                <a:cubicBezTo>
                  <a:pt x="71" y="312"/>
                  <a:pt x="52" y="309"/>
                  <a:pt x="24" y="306"/>
                </a:cubicBezTo>
                <a:cubicBezTo>
                  <a:pt x="0" y="304"/>
                  <a:pt x="0" y="304"/>
                  <a:pt x="0" y="304"/>
                </a:cubicBezTo>
                <a:cubicBezTo>
                  <a:pt x="10" y="239"/>
                  <a:pt x="10" y="239"/>
                  <a:pt x="10" y="239"/>
                </a:cubicBezTo>
                <a:cubicBezTo>
                  <a:pt x="17" y="204"/>
                  <a:pt x="23" y="169"/>
                  <a:pt x="24" y="162"/>
                </a:cubicBezTo>
                <a:cubicBezTo>
                  <a:pt x="25" y="154"/>
                  <a:pt x="27" y="144"/>
                  <a:pt x="28" y="138"/>
                </a:cubicBezTo>
                <a:cubicBezTo>
                  <a:pt x="29" y="132"/>
                  <a:pt x="34" y="99"/>
                  <a:pt x="40" y="66"/>
                </a:cubicBezTo>
                <a:cubicBezTo>
                  <a:pt x="46" y="33"/>
                  <a:pt x="50" y="4"/>
                  <a:pt x="50" y="3"/>
                </a:cubicBezTo>
                <a:cubicBezTo>
                  <a:pt x="50" y="0"/>
                  <a:pt x="102" y="3"/>
                  <a:pt x="121" y="6"/>
                </a:cubicBezTo>
                <a:cubicBezTo>
                  <a:pt x="125" y="7"/>
                  <a:pt x="141" y="9"/>
                  <a:pt x="156" y="10"/>
                </a:cubicBezTo>
                <a:cubicBezTo>
                  <a:pt x="172" y="12"/>
                  <a:pt x="189" y="14"/>
                  <a:pt x="194" y="14"/>
                </a:cubicBezTo>
                <a:cubicBezTo>
                  <a:pt x="200" y="15"/>
                  <a:pt x="215" y="17"/>
                  <a:pt x="228" y="18"/>
                </a:cubicBezTo>
                <a:cubicBezTo>
                  <a:pt x="241" y="20"/>
                  <a:pt x="258" y="22"/>
                  <a:pt x="266" y="23"/>
                </a:cubicBezTo>
                <a:cubicBezTo>
                  <a:pt x="291" y="26"/>
                  <a:pt x="384" y="37"/>
                  <a:pt x="404" y="39"/>
                </a:cubicBezTo>
                <a:cubicBezTo>
                  <a:pt x="415" y="40"/>
                  <a:pt x="430" y="42"/>
                  <a:pt x="438" y="43"/>
                </a:cubicBezTo>
                <a:cubicBezTo>
                  <a:pt x="446" y="43"/>
                  <a:pt x="462" y="45"/>
                  <a:pt x="474" y="47"/>
                </a:cubicBezTo>
                <a:cubicBezTo>
                  <a:pt x="486" y="48"/>
                  <a:pt x="497" y="51"/>
                  <a:pt x="498" y="53"/>
                </a:cubicBezTo>
                <a:cubicBezTo>
                  <a:pt x="500" y="55"/>
                  <a:pt x="501" y="86"/>
                  <a:pt x="502" y="122"/>
                </a:cubicBezTo>
                <a:cubicBezTo>
                  <a:pt x="502" y="157"/>
                  <a:pt x="503" y="193"/>
                  <a:pt x="504" y="201"/>
                </a:cubicBezTo>
                <a:cubicBezTo>
                  <a:pt x="505" y="213"/>
                  <a:pt x="510" y="312"/>
                  <a:pt x="512" y="353"/>
                </a:cubicBezTo>
                <a:cubicBezTo>
                  <a:pt x="512" y="366"/>
                  <a:pt x="511" y="367"/>
                  <a:pt x="499" y="367"/>
                </a:cubicBezTo>
                <a:cubicBezTo>
                  <a:pt x="492" y="367"/>
                  <a:pt x="486" y="367"/>
                  <a:pt x="485" y="366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40" name="Freeform 106"/>
          <p:cNvSpPr/>
          <p:nvPr userDrawn="1">
            <p:custDataLst>
              <p:tags r:id="rId141"/>
            </p:custDataLst>
          </p:nvPr>
        </p:nvSpPr>
        <p:spPr bwMode="black">
          <a:xfrm>
            <a:off x="2429831" y="2204928"/>
            <a:ext cx="941388" cy="539750"/>
          </a:xfrm>
          <a:custGeom>
            <a:gdLst>
              <a:gd name="T0" fmla="*/ 612 w 654"/>
              <a:gd name="T1" fmla="*/ 372 h 376"/>
              <a:gd name="T2" fmla="*/ 560 w 654"/>
              <a:gd name="T3" fmla="*/ 367 h 376"/>
              <a:gd name="T4" fmla="*/ 482 w 654"/>
              <a:gd name="T5" fmla="*/ 358 h 376"/>
              <a:gd name="T6" fmla="*/ 408 w 654"/>
              <a:gd name="T7" fmla="*/ 350 h 376"/>
              <a:gd name="T8" fmla="*/ 374 w 654"/>
              <a:gd name="T9" fmla="*/ 347 h 376"/>
              <a:gd name="T10" fmla="*/ 282 w 654"/>
              <a:gd name="T11" fmla="*/ 337 h 376"/>
              <a:gd name="T12" fmla="*/ 230 w 654"/>
              <a:gd name="T13" fmla="*/ 331 h 376"/>
              <a:gd name="T14" fmla="*/ 152 w 654"/>
              <a:gd name="T15" fmla="*/ 323 h 376"/>
              <a:gd name="T16" fmla="*/ 156 w 654"/>
              <a:gd name="T17" fmla="*/ 239 h 376"/>
              <a:gd name="T18" fmla="*/ 30 w 654"/>
              <a:gd name="T19" fmla="*/ 198 h 376"/>
              <a:gd name="T20" fmla="*/ 10 w 654"/>
              <a:gd name="T21" fmla="*/ 194 h 376"/>
              <a:gd name="T22" fmla="*/ 0 w 654"/>
              <a:gd name="T23" fmla="*/ 192 h 376"/>
              <a:gd name="T24" fmla="*/ 16 w 654"/>
              <a:gd name="T25" fmla="*/ 97 h 376"/>
              <a:gd name="T26" fmla="*/ 33 w 654"/>
              <a:gd name="T27" fmla="*/ 1 h 376"/>
              <a:gd name="T28" fmla="*/ 180 w 654"/>
              <a:gd name="T29" fmla="*/ 19 h 376"/>
              <a:gd name="T30" fmla="*/ 244 w 654"/>
              <a:gd name="T31" fmla="*/ 27 h 376"/>
              <a:gd name="T32" fmla="*/ 306 w 654"/>
              <a:gd name="T33" fmla="*/ 35 h 376"/>
              <a:gd name="T34" fmla="*/ 338 w 654"/>
              <a:gd name="T35" fmla="*/ 39 h 376"/>
              <a:gd name="T36" fmla="*/ 366 w 654"/>
              <a:gd name="T37" fmla="*/ 42 h 376"/>
              <a:gd name="T38" fmla="*/ 398 w 654"/>
              <a:gd name="T39" fmla="*/ 46 h 376"/>
              <a:gd name="T40" fmla="*/ 464 w 654"/>
              <a:gd name="T41" fmla="*/ 69 h 376"/>
              <a:gd name="T42" fmla="*/ 503 w 654"/>
              <a:gd name="T43" fmla="*/ 79 h 376"/>
              <a:gd name="T44" fmla="*/ 547 w 654"/>
              <a:gd name="T45" fmla="*/ 85 h 376"/>
              <a:gd name="T46" fmla="*/ 574 w 654"/>
              <a:gd name="T47" fmla="*/ 96 h 376"/>
              <a:gd name="T48" fmla="*/ 585 w 654"/>
              <a:gd name="T49" fmla="*/ 115 h 376"/>
              <a:gd name="T50" fmla="*/ 595 w 654"/>
              <a:gd name="T51" fmla="*/ 151 h 376"/>
              <a:gd name="T52" fmla="*/ 608 w 654"/>
              <a:gd name="T53" fmla="*/ 197 h 376"/>
              <a:gd name="T54" fmla="*/ 612 w 654"/>
              <a:gd name="T55" fmla="*/ 229 h 376"/>
              <a:gd name="T56" fmla="*/ 616 w 654"/>
              <a:gd name="T57" fmla="*/ 263 h 376"/>
              <a:gd name="T58" fmla="*/ 629 w 654"/>
              <a:gd name="T59" fmla="*/ 311 h 376"/>
              <a:gd name="T60" fmla="*/ 654 w 654"/>
              <a:gd name="T61" fmla="*/ 375 h 376"/>
              <a:gd name="T62" fmla="*/ 612 w 654"/>
              <a:gd name="T63" fmla="*/ 372 h 376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54" h="376">
                <a:moveTo>
                  <a:pt x="612" y="372"/>
                </a:moveTo>
                <a:cubicBezTo>
                  <a:pt x="597" y="370"/>
                  <a:pt x="573" y="368"/>
                  <a:pt x="560" y="367"/>
                </a:cubicBezTo>
                <a:cubicBezTo>
                  <a:pt x="547" y="365"/>
                  <a:pt x="512" y="362"/>
                  <a:pt x="482" y="358"/>
                </a:cubicBezTo>
                <a:cubicBezTo>
                  <a:pt x="452" y="355"/>
                  <a:pt x="419" y="351"/>
                  <a:pt x="408" y="350"/>
                </a:cubicBezTo>
                <a:cubicBezTo>
                  <a:pt x="397" y="349"/>
                  <a:pt x="382" y="348"/>
                  <a:pt x="374" y="347"/>
                </a:cubicBezTo>
                <a:cubicBezTo>
                  <a:pt x="356" y="344"/>
                  <a:pt x="335" y="342"/>
                  <a:pt x="282" y="337"/>
                </a:cubicBezTo>
                <a:cubicBezTo>
                  <a:pt x="259" y="334"/>
                  <a:pt x="236" y="331"/>
                  <a:pt x="230" y="331"/>
                </a:cubicBezTo>
                <a:cubicBezTo>
                  <a:pt x="222" y="329"/>
                  <a:pt x="164" y="323"/>
                  <a:pt x="152" y="323"/>
                </a:cubicBezTo>
                <a:cubicBezTo>
                  <a:pt x="147" y="322"/>
                  <a:pt x="148" y="289"/>
                  <a:pt x="156" y="239"/>
                </a:cubicBezTo>
                <a:cubicBezTo>
                  <a:pt x="160" y="218"/>
                  <a:pt x="166" y="220"/>
                  <a:pt x="30" y="198"/>
                </a:cubicBezTo>
                <a:cubicBezTo>
                  <a:pt x="25" y="197"/>
                  <a:pt x="16" y="195"/>
                  <a:pt x="10" y="194"/>
                </a:cubicBezTo>
                <a:cubicBezTo>
                  <a:pt x="0" y="192"/>
                  <a:pt x="0" y="192"/>
                  <a:pt x="0" y="192"/>
                </a:cubicBezTo>
                <a:cubicBezTo>
                  <a:pt x="16" y="97"/>
                  <a:pt x="16" y="97"/>
                  <a:pt x="16" y="97"/>
                </a:cubicBezTo>
                <a:cubicBezTo>
                  <a:pt x="24" y="45"/>
                  <a:pt x="32" y="2"/>
                  <a:pt x="33" y="1"/>
                </a:cubicBezTo>
                <a:cubicBezTo>
                  <a:pt x="34" y="0"/>
                  <a:pt x="126" y="11"/>
                  <a:pt x="180" y="19"/>
                </a:cubicBezTo>
                <a:cubicBezTo>
                  <a:pt x="187" y="20"/>
                  <a:pt x="216" y="23"/>
                  <a:pt x="244" y="27"/>
                </a:cubicBezTo>
                <a:cubicBezTo>
                  <a:pt x="273" y="30"/>
                  <a:pt x="301" y="34"/>
                  <a:pt x="306" y="35"/>
                </a:cubicBezTo>
                <a:cubicBezTo>
                  <a:pt x="312" y="35"/>
                  <a:pt x="326" y="37"/>
                  <a:pt x="338" y="39"/>
                </a:cubicBezTo>
                <a:cubicBezTo>
                  <a:pt x="350" y="40"/>
                  <a:pt x="362" y="42"/>
                  <a:pt x="366" y="42"/>
                </a:cubicBezTo>
                <a:cubicBezTo>
                  <a:pt x="369" y="43"/>
                  <a:pt x="384" y="45"/>
                  <a:pt x="398" y="46"/>
                </a:cubicBezTo>
                <a:cubicBezTo>
                  <a:pt x="437" y="50"/>
                  <a:pt x="451" y="55"/>
                  <a:pt x="464" y="69"/>
                </a:cubicBezTo>
                <a:cubicBezTo>
                  <a:pt x="476" y="81"/>
                  <a:pt x="477" y="81"/>
                  <a:pt x="503" y="79"/>
                </a:cubicBezTo>
                <a:cubicBezTo>
                  <a:pt x="526" y="77"/>
                  <a:pt x="533" y="78"/>
                  <a:pt x="547" y="85"/>
                </a:cubicBezTo>
                <a:cubicBezTo>
                  <a:pt x="557" y="90"/>
                  <a:pt x="569" y="95"/>
                  <a:pt x="574" y="96"/>
                </a:cubicBezTo>
                <a:cubicBezTo>
                  <a:pt x="583" y="99"/>
                  <a:pt x="584" y="102"/>
                  <a:pt x="585" y="115"/>
                </a:cubicBezTo>
                <a:cubicBezTo>
                  <a:pt x="585" y="124"/>
                  <a:pt x="590" y="140"/>
                  <a:pt x="595" y="151"/>
                </a:cubicBezTo>
                <a:cubicBezTo>
                  <a:pt x="601" y="163"/>
                  <a:pt x="607" y="183"/>
                  <a:pt x="608" y="197"/>
                </a:cubicBezTo>
                <a:cubicBezTo>
                  <a:pt x="610" y="211"/>
                  <a:pt x="612" y="225"/>
                  <a:pt x="612" y="229"/>
                </a:cubicBezTo>
                <a:cubicBezTo>
                  <a:pt x="613" y="232"/>
                  <a:pt x="615" y="247"/>
                  <a:pt x="616" y="263"/>
                </a:cubicBezTo>
                <a:cubicBezTo>
                  <a:pt x="618" y="280"/>
                  <a:pt x="623" y="298"/>
                  <a:pt x="629" y="311"/>
                </a:cubicBezTo>
                <a:cubicBezTo>
                  <a:pt x="637" y="326"/>
                  <a:pt x="654" y="368"/>
                  <a:pt x="654" y="375"/>
                </a:cubicBezTo>
                <a:cubicBezTo>
                  <a:pt x="654" y="376"/>
                  <a:pt x="654" y="376"/>
                  <a:pt x="612" y="372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41" name="Freeform 107"/>
          <p:cNvSpPr/>
          <p:nvPr userDrawn="1">
            <p:custDataLst>
              <p:tags r:id="rId142"/>
            </p:custDataLst>
          </p:nvPr>
        </p:nvSpPr>
        <p:spPr bwMode="black">
          <a:xfrm>
            <a:off x="5890582" y="1744553"/>
            <a:ext cx="171450" cy="377825"/>
          </a:xfrm>
          <a:custGeom>
            <a:gdLst>
              <a:gd name="T0" fmla="*/ 13 w 120"/>
              <a:gd name="T1" fmla="*/ 263 h 264"/>
              <a:gd name="T2" fmla="*/ 4 w 120"/>
              <a:gd name="T3" fmla="*/ 258 h 264"/>
              <a:gd name="T4" fmla="*/ 2 w 120"/>
              <a:gd name="T5" fmla="*/ 184 h 264"/>
              <a:gd name="T6" fmla="*/ 0 w 120"/>
              <a:gd name="T7" fmla="*/ 113 h 264"/>
              <a:gd name="T8" fmla="*/ 14 w 120"/>
              <a:gd name="T9" fmla="*/ 97 h 264"/>
              <a:gd name="T10" fmla="*/ 26 w 120"/>
              <a:gd name="T11" fmla="*/ 72 h 264"/>
              <a:gd name="T12" fmla="*/ 25 w 120"/>
              <a:gd name="T13" fmla="*/ 17 h 264"/>
              <a:gd name="T14" fmla="*/ 46 w 120"/>
              <a:gd name="T15" fmla="*/ 26 h 264"/>
              <a:gd name="T16" fmla="*/ 75 w 120"/>
              <a:gd name="T17" fmla="*/ 132 h 264"/>
              <a:gd name="T18" fmla="*/ 115 w 120"/>
              <a:gd name="T19" fmla="*/ 203 h 264"/>
              <a:gd name="T20" fmla="*/ 120 w 120"/>
              <a:gd name="T21" fmla="*/ 216 h 264"/>
              <a:gd name="T22" fmla="*/ 114 w 120"/>
              <a:gd name="T23" fmla="*/ 224 h 264"/>
              <a:gd name="T24" fmla="*/ 89 w 120"/>
              <a:gd name="T25" fmla="*/ 239 h 264"/>
              <a:gd name="T26" fmla="*/ 53 w 120"/>
              <a:gd name="T27" fmla="*/ 260 h 264"/>
              <a:gd name="T28" fmla="*/ 28 w 120"/>
              <a:gd name="T29" fmla="*/ 263 h 264"/>
              <a:gd name="T30" fmla="*/ 13 w 120"/>
              <a:gd name="T31" fmla="*/ 263 h 26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0" h="264">
                <a:moveTo>
                  <a:pt x="13" y="263"/>
                </a:moveTo>
                <a:cubicBezTo>
                  <a:pt x="8" y="262"/>
                  <a:pt x="4" y="260"/>
                  <a:pt x="4" y="258"/>
                </a:cubicBezTo>
                <a:cubicBezTo>
                  <a:pt x="4" y="257"/>
                  <a:pt x="3" y="224"/>
                  <a:pt x="2" y="184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97"/>
                  <a:pt x="14" y="97"/>
                  <a:pt x="14" y="97"/>
                </a:cubicBezTo>
                <a:cubicBezTo>
                  <a:pt x="24" y="86"/>
                  <a:pt x="28" y="79"/>
                  <a:pt x="26" y="72"/>
                </a:cubicBezTo>
                <a:cubicBezTo>
                  <a:pt x="16" y="29"/>
                  <a:pt x="16" y="28"/>
                  <a:pt x="25" y="17"/>
                </a:cubicBezTo>
                <a:cubicBezTo>
                  <a:pt x="37" y="0"/>
                  <a:pt x="42" y="2"/>
                  <a:pt x="46" y="26"/>
                </a:cubicBezTo>
                <a:cubicBezTo>
                  <a:pt x="48" y="42"/>
                  <a:pt x="59" y="81"/>
                  <a:pt x="75" y="132"/>
                </a:cubicBezTo>
                <a:cubicBezTo>
                  <a:pt x="85" y="165"/>
                  <a:pt x="102" y="195"/>
                  <a:pt x="115" y="203"/>
                </a:cubicBezTo>
                <a:cubicBezTo>
                  <a:pt x="118" y="205"/>
                  <a:pt x="120" y="211"/>
                  <a:pt x="120" y="216"/>
                </a:cubicBezTo>
                <a:cubicBezTo>
                  <a:pt x="120" y="224"/>
                  <a:pt x="119" y="226"/>
                  <a:pt x="114" y="224"/>
                </a:cubicBezTo>
                <a:cubicBezTo>
                  <a:pt x="110" y="222"/>
                  <a:pt x="101" y="228"/>
                  <a:pt x="89" y="239"/>
                </a:cubicBezTo>
                <a:cubicBezTo>
                  <a:pt x="75" y="254"/>
                  <a:pt x="67" y="258"/>
                  <a:pt x="53" y="260"/>
                </a:cubicBezTo>
                <a:cubicBezTo>
                  <a:pt x="42" y="261"/>
                  <a:pt x="31" y="263"/>
                  <a:pt x="28" y="263"/>
                </a:cubicBezTo>
                <a:cubicBezTo>
                  <a:pt x="25" y="264"/>
                  <a:pt x="18" y="264"/>
                  <a:pt x="13" y="263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42" name="Freeform 108"/>
          <p:cNvSpPr/>
          <p:nvPr userDrawn="1">
            <p:custDataLst>
              <p:tags r:id="rId143"/>
            </p:custDataLst>
          </p:nvPr>
        </p:nvSpPr>
        <p:spPr bwMode="black">
          <a:xfrm>
            <a:off x="5657220" y="2404953"/>
            <a:ext cx="157163" cy="354013"/>
          </a:xfrm>
          <a:custGeom>
            <a:gdLst>
              <a:gd name="T0" fmla="*/ 31 w 109"/>
              <a:gd name="T1" fmla="*/ 237 h 247"/>
              <a:gd name="T2" fmla="*/ 3 w 109"/>
              <a:gd name="T3" fmla="*/ 193 h 247"/>
              <a:gd name="T4" fmla="*/ 2 w 109"/>
              <a:gd name="T5" fmla="*/ 171 h 247"/>
              <a:gd name="T6" fmla="*/ 21 w 109"/>
              <a:gd name="T7" fmla="*/ 144 h 247"/>
              <a:gd name="T8" fmla="*/ 42 w 109"/>
              <a:gd name="T9" fmla="*/ 118 h 247"/>
              <a:gd name="T10" fmla="*/ 26 w 109"/>
              <a:gd name="T11" fmla="*/ 102 h 247"/>
              <a:gd name="T12" fmla="*/ 6 w 109"/>
              <a:gd name="T13" fmla="*/ 68 h 247"/>
              <a:gd name="T14" fmla="*/ 16 w 109"/>
              <a:gd name="T15" fmla="*/ 26 h 247"/>
              <a:gd name="T16" fmla="*/ 21 w 109"/>
              <a:gd name="T17" fmla="*/ 5 h 247"/>
              <a:gd name="T18" fmla="*/ 91 w 109"/>
              <a:gd name="T19" fmla="*/ 30 h 247"/>
              <a:gd name="T20" fmla="*/ 94 w 109"/>
              <a:gd name="T21" fmla="*/ 47 h 247"/>
              <a:gd name="T22" fmla="*/ 103 w 109"/>
              <a:gd name="T23" fmla="*/ 103 h 247"/>
              <a:gd name="T24" fmla="*/ 108 w 109"/>
              <a:gd name="T25" fmla="*/ 129 h 247"/>
              <a:gd name="T26" fmla="*/ 105 w 109"/>
              <a:gd name="T27" fmla="*/ 152 h 247"/>
              <a:gd name="T28" fmla="*/ 61 w 109"/>
              <a:gd name="T29" fmla="*/ 239 h 247"/>
              <a:gd name="T30" fmla="*/ 31 w 109"/>
              <a:gd name="T31" fmla="*/ 237 h 24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09" h="246">
                <a:moveTo>
                  <a:pt x="31" y="237"/>
                </a:moveTo>
                <a:cubicBezTo>
                  <a:pt x="9" y="226"/>
                  <a:pt x="2" y="215"/>
                  <a:pt x="3" y="193"/>
                </a:cubicBezTo>
                <a:cubicBezTo>
                  <a:pt x="3" y="183"/>
                  <a:pt x="2" y="174"/>
                  <a:pt x="2" y="171"/>
                </a:cubicBezTo>
                <a:cubicBezTo>
                  <a:pt x="1" y="169"/>
                  <a:pt x="10" y="157"/>
                  <a:pt x="21" y="144"/>
                </a:cubicBezTo>
                <a:cubicBezTo>
                  <a:pt x="33" y="132"/>
                  <a:pt x="42" y="120"/>
                  <a:pt x="42" y="118"/>
                </a:cubicBezTo>
                <a:cubicBezTo>
                  <a:pt x="42" y="116"/>
                  <a:pt x="35" y="109"/>
                  <a:pt x="26" y="102"/>
                </a:cubicBezTo>
                <a:cubicBezTo>
                  <a:pt x="6" y="86"/>
                  <a:pt x="0" y="75"/>
                  <a:pt x="6" y="68"/>
                </a:cubicBezTo>
                <a:cubicBezTo>
                  <a:pt x="11" y="62"/>
                  <a:pt x="12" y="57"/>
                  <a:pt x="16" y="26"/>
                </a:cubicBezTo>
                <a:cubicBezTo>
                  <a:pt x="17" y="16"/>
                  <a:pt x="20" y="7"/>
                  <a:pt x="21" y="5"/>
                </a:cubicBezTo>
                <a:cubicBezTo>
                  <a:pt x="26" y="0"/>
                  <a:pt x="83" y="20"/>
                  <a:pt x="91" y="30"/>
                </a:cubicBezTo>
                <a:cubicBezTo>
                  <a:pt x="96" y="36"/>
                  <a:pt x="97" y="41"/>
                  <a:pt x="94" y="47"/>
                </a:cubicBezTo>
                <a:cubicBezTo>
                  <a:pt x="90" y="57"/>
                  <a:pt x="94" y="81"/>
                  <a:pt x="103" y="103"/>
                </a:cubicBezTo>
                <a:cubicBezTo>
                  <a:pt x="107" y="111"/>
                  <a:pt x="109" y="123"/>
                  <a:pt x="108" y="129"/>
                </a:cubicBezTo>
                <a:cubicBezTo>
                  <a:pt x="107" y="135"/>
                  <a:pt x="105" y="145"/>
                  <a:pt x="105" y="152"/>
                </a:cubicBezTo>
                <a:cubicBezTo>
                  <a:pt x="102" y="172"/>
                  <a:pt x="72" y="232"/>
                  <a:pt x="61" y="239"/>
                </a:cubicBezTo>
                <a:cubicBezTo>
                  <a:pt x="48" y="247"/>
                  <a:pt x="51" y="247"/>
                  <a:pt x="31" y="237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43" name="Freeform 109"/>
          <p:cNvSpPr/>
          <p:nvPr userDrawn="1">
            <p:custDataLst>
              <p:tags r:id="rId144"/>
            </p:custDataLst>
          </p:nvPr>
        </p:nvSpPr>
        <p:spPr bwMode="black">
          <a:xfrm>
            <a:off x="1548768" y="2997091"/>
            <a:ext cx="901700" cy="877888"/>
          </a:xfrm>
          <a:custGeom>
            <a:gdLst>
              <a:gd name="T0" fmla="*/ 497 w 627"/>
              <a:gd name="T1" fmla="*/ 593 h 612"/>
              <a:gd name="T2" fmla="*/ 443 w 627"/>
              <a:gd name="T3" fmla="*/ 584 h 612"/>
              <a:gd name="T4" fmla="*/ 323 w 627"/>
              <a:gd name="T5" fmla="*/ 563 h 612"/>
              <a:gd name="T6" fmla="*/ 269 w 627"/>
              <a:gd name="T7" fmla="*/ 560 h 612"/>
              <a:gd name="T8" fmla="*/ 234 w 627"/>
              <a:gd name="T9" fmla="*/ 558 h 612"/>
              <a:gd name="T10" fmla="*/ 229 w 627"/>
              <a:gd name="T11" fmla="*/ 583 h 612"/>
              <a:gd name="T12" fmla="*/ 195 w 627"/>
              <a:gd name="T13" fmla="*/ 583 h 612"/>
              <a:gd name="T14" fmla="*/ 147 w 627"/>
              <a:gd name="T15" fmla="*/ 574 h 612"/>
              <a:gd name="T16" fmla="*/ 108 w 627"/>
              <a:gd name="T17" fmla="*/ 568 h 612"/>
              <a:gd name="T18" fmla="*/ 75 w 627"/>
              <a:gd name="T19" fmla="*/ 568 h 612"/>
              <a:gd name="T20" fmla="*/ 55 w 627"/>
              <a:gd name="T21" fmla="*/ 610 h 612"/>
              <a:gd name="T22" fmla="*/ 7 w 627"/>
              <a:gd name="T23" fmla="*/ 583 h 612"/>
              <a:gd name="T24" fmla="*/ 56 w 627"/>
              <a:gd name="T25" fmla="*/ 364 h 612"/>
              <a:gd name="T26" fmla="*/ 70 w 627"/>
              <a:gd name="T27" fmla="*/ 302 h 612"/>
              <a:gd name="T28" fmla="*/ 78 w 627"/>
              <a:gd name="T29" fmla="*/ 266 h 612"/>
              <a:gd name="T30" fmla="*/ 85 w 627"/>
              <a:gd name="T31" fmla="*/ 232 h 612"/>
              <a:gd name="T32" fmla="*/ 113 w 627"/>
              <a:gd name="T33" fmla="*/ 112 h 612"/>
              <a:gd name="T34" fmla="*/ 138 w 627"/>
              <a:gd name="T35" fmla="*/ 0 h 612"/>
              <a:gd name="T36" fmla="*/ 150 w 627"/>
              <a:gd name="T37" fmla="*/ 0 h 612"/>
              <a:gd name="T38" fmla="*/ 175 w 627"/>
              <a:gd name="T39" fmla="*/ 3 h 612"/>
              <a:gd name="T40" fmla="*/ 407 w 627"/>
              <a:gd name="T41" fmla="*/ 47 h 612"/>
              <a:gd name="T42" fmla="*/ 427 w 627"/>
              <a:gd name="T43" fmla="*/ 51 h 612"/>
              <a:gd name="T44" fmla="*/ 608 w 627"/>
              <a:gd name="T45" fmla="*/ 86 h 612"/>
              <a:gd name="T46" fmla="*/ 625 w 627"/>
              <a:gd name="T47" fmla="*/ 103 h 612"/>
              <a:gd name="T48" fmla="*/ 622 w 627"/>
              <a:gd name="T49" fmla="*/ 126 h 612"/>
              <a:gd name="T50" fmla="*/ 618 w 627"/>
              <a:gd name="T51" fmla="*/ 150 h 612"/>
              <a:gd name="T52" fmla="*/ 607 w 627"/>
              <a:gd name="T53" fmla="*/ 214 h 612"/>
              <a:gd name="T54" fmla="*/ 597 w 627"/>
              <a:gd name="T55" fmla="*/ 272 h 612"/>
              <a:gd name="T56" fmla="*/ 571 w 627"/>
              <a:gd name="T57" fmla="*/ 430 h 612"/>
              <a:gd name="T58" fmla="*/ 540 w 627"/>
              <a:gd name="T59" fmla="*/ 601 h 612"/>
              <a:gd name="T60" fmla="*/ 497 w 627"/>
              <a:gd name="T61" fmla="*/ 593 h 612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627" h="612">
                <a:moveTo>
                  <a:pt x="497" y="593"/>
                </a:moveTo>
                <a:cubicBezTo>
                  <a:pt x="475" y="589"/>
                  <a:pt x="451" y="585"/>
                  <a:pt x="443" y="584"/>
                </a:cubicBezTo>
                <a:cubicBezTo>
                  <a:pt x="422" y="580"/>
                  <a:pt x="339" y="566"/>
                  <a:pt x="323" y="563"/>
                </a:cubicBezTo>
                <a:cubicBezTo>
                  <a:pt x="315" y="561"/>
                  <a:pt x="291" y="560"/>
                  <a:pt x="269" y="560"/>
                </a:cubicBezTo>
                <a:cubicBezTo>
                  <a:pt x="234" y="558"/>
                  <a:pt x="234" y="558"/>
                  <a:pt x="234" y="558"/>
                </a:cubicBezTo>
                <a:cubicBezTo>
                  <a:pt x="229" y="583"/>
                  <a:pt x="229" y="583"/>
                  <a:pt x="229" y="583"/>
                </a:cubicBezTo>
                <a:cubicBezTo>
                  <a:pt x="228" y="595"/>
                  <a:pt x="225" y="583"/>
                  <a:pt x="195" y="583"/>
                </a:cubicBezTo>
                <a:cubicBezTo>
                  <a:pt x="178" y="582"/>
                  <a:pt x="161" y="576"/>
                  <a:pt x="147" y="574"/>
                </a:cubicBezTo>
                <a:cubicBezTo>
                  <a:pt x="133" y="573"/>
                  <a:pt x="113" y="569"/>
                  <a:pt x="108" y="568"/>
                </a:cubicBezTo>
                <a:cubicBezTo>
                  <a:pt x="91" y="564"/>
                  <a:pt x="80" y="551"/>
                  <a:pt x="75" y="568"/>
                </a:cubicBezTo>
                <a:cubicBezTo>
                  <a:pt x="70" y="584"/>
                  <a:pt x="72" y="610"/>
                  <a:pt x="55" y="610"/>
                </a:cubicBezTo>
                <a:cubicBezTo>
                  <a:pt x="32" y="610"/>
                  <a:pt x="0" y="600"/>
                  <a:pt x="7" y="583"/>
                </a:cubicBezTo>
                <a:cubicBezTo>
                  <a:pt x="9" y="578"/>
                  <a:pt x="34" y="457"/>
                  <a:pt x="56" y="364"/>
                </a:cubicBezTo>
                <a:cubicBezTo>
                  <a:pt x="62" y="335"/>
                  <a:pt x="69" y="307"/>
                  <a:pt x="70" y="302"/>
                </a:cubicBezTo>
                <a:cubicBezTo>
                  <a:pt x="71" y="297"/>
                  <a:pt x="74" y="281"/>
                  <a:pt x="78" y="266"/>
                </a:cubicBezTo>
                <a:cubicBezTo>
                  <a:pt x="81" y="252"/>
                  <a:pt x="85" y="236"/>
                  <a:pt x="85" y="232"/>
                </a:cubicBezTo>
                <a:cubicBezTo>
                  <a:pt x="86" y="227"/>
                  <a:pt x="99" y="173"/>
                  <a:pt x="113" y="112"/>
                </a:cubicBezTo>
                <a:cubicBezTo>
                  <a:pt x="138" y="0"/>
                  <a:pt x="138" y="0"/>
                  <a:pt x="138" y="0"/>
                </a:cubicBezTo>
                <a:cubicBezTo>
                  <a:pt x="150" y="0"/>
                  <a:pt x="150" y="0"/>
                  <a:pt x="150" y="0"/>
                </a:cubicBezTo>
                <a:cubicBezTo>
                  <a:pt x="156" y="0"/>
                  <a:pt x="167" y="1"/>
                  <a:pt x="175" y="3"/>
                </a:cubicBezTo>
                <a:cubicBezTo>
                  <a:pt x="222" y="11"/>
                  <a:pt x="402" y="46"/>
                  <a:pt x="407" y="47"/>
                </a:cubicBezTo>
                <a:cubicBezTo>
                  <a:pt x="410" y="48"/>
                  <a:pt x="419" y="50"/>
                  <a:pt x="427" y="51"/>
                </a:cubicBezTo>
                <a:cubicBezTo>
                  <a:pt x="446" y="54"/>
                  <a:pt x="584" y="81"/>
                  <a:pt x="608" y="86"/>
                </a:cubicBezTo>
                <a:cubicBezTo>
                  <a:pt x="627" y="90"/>
                  <a:pt x="627" y="91"/>
                  <a:pt x="625" y="103"/>
                </a:cubicBezTo>
                <a:cubicBezTo>
                  <a:pt x="624" y="110"/>
                  <a:pt x="622" y="120"/>
                  <a:pt x="622" y="126"/>
                </a:cubicBezTo>
                <a:cubicBezTo>
                  <a:pt x="621" y="131"/>
                  <a:pt x="619" y="142"/>
                  <a:pt x="618" y="150"/>
                </a:cubicBezTo>
                <a:cubicBezTo>
                  <a:pt x="614" y="171"/>
                  <a:pt x="612" y="185"/>
                  <a:pt x="607" y="214"/>
                </a:cubicBezTo>
                <a:cubicBezTo>
                  <a:pt x="602" y="245"/>
                  <a:pt x="600" y="256"/>
                  <a:pt x="597" y="272"/>
                </a:cubicBezTo>
                <a:cubicBezTo>
                  <a:pt x="596" y="278"/>
                  <a:pt x="585" y="350"/>
                  <a:pt x="571" y="430"/>
                </a:cubicBezTo>
                <a:cubicBezTo>
                  <a:pt x="541" y="612"/>
                  <a:pt x="543" y="602"/>
                  <a:pt x="540" y="601"/>
                </a:cubicBezTo>
                <a:cubicBezTo>
                  <a:pt x="538" y="601"/>
                  <a:pt x="519" y="597"/>
                  <a:pt x="497" y="593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44" name="Freeform 110"/>
          <p:cNvSpPr/>
          <p:nvPr userDrawn="1">
            <p:custDataLst>
              <p:tags r:id="rId145"/>
            </p:custDataLst>
          </p:nvPr>
        </p:nvSpPr>
        <p:spPr bwMode="black">
          <a:xfrm>
            <a:off x="596268" y="1889015"/>
            <a:ext cx="766763" cy="1185863"/>
          </a:xfrm>
          <a:custGeom>
            <a:gdLst>
              <a:gd name="T0" fmla="*/ 271 w 534"/>
              <a:gd name="T1" fmla="*/ 799 h 826"/>
              <a:gd name="T2" fmla="*/ 239 w 534"/>
              <a:gd name="T3" fmla="*/ 739 h 826"/>
              <a:gd name="T4" fmla="*/ 190 w 534"/>
              <a:gd name="T5" fmla="*/ 647 h 826"/>
              <a:gd name="T6" fmla="*/ 158 w 534"/>
              <a:gd name="T7" fmla="*/ 587 h 826"/>
              <a:gd name="T8" fmla="*/ 130 w 534"/>
              <a:gd name="T9" fmla="*/ 535 h 826"/>
              <a:gd name="T10" fmla="*/ 93 w 534"/>
              <a:gd name="T11" fmla="*/ 465 h 826"/>
              <a:gd name="T12" fmla="*/ 63 w 534"/>
              <a:gd name="T13" fmla="*/ 409 h 826"/>
              <a:gd name="T14" fmla="*/ 29 w 534"/>
              <a:gd name="T15" fmla="*/ 345 h 826"/>
              <a:gd name="T16" fmla="*/ 56 w 534"/>
              <a:gd name="T17" fmla="*/ 147 h 826"/>
              <a:gd name="T18" fmla="*/ 110 w 534"/>
              <a:gd name="T19" fmla="*/ 3 h 826"/>
              <a:gd name="T20" fmla="*/ 260 w 534"/>
              <a:gd name="T21" fmla="*/ 53 h 826"/>
              <a:gd name="T22" fmla="*/ 380 w 534"/>
              <a:gd name="T23" fmla="*/ 93 h 826"/>
              <a:gd name="T24" fmla="*/ 488 w 534"/>
              <a:gd name="T25" fmla="*/ 127 h 826"/>
              <a:gd name="T26" fmla="*/ 532 w 534"/>
              <a:gd name="T27" fmla="*/ 142 h 826"/>
              <a:gd name="T28" fmla="*/ 390 w 534"/>
              <a:gd name="T29" fmla="*/ 635 h 826"/>
              <a:gd name="T30" fmla="*/ 385 w 534"/>
              <a:gd name="T31" fmla="*/ 657 h 826"/>
              <a:gd name="T32" fmla="*/ 371 w 534"/>
              <a:gd name="T33" fmla="*/ 697 h 826"/>
              <a:gd name="T34" fmla="*/ 332 w 534"/>
              <a:gd name="T35" fmla="*/ 723 h 826"/>
              <a:gd name="T36" fmla="*/ 290 w 534"/>
              <a:gd name="T37" fmla="*/ 799 h 826"/>
              <a:gd name="T38" fmla="*/ 271 w 534"/>
              <a:gd name="T39" fmla="*/ 799 h 826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34" h="825">
                <a:moveTo>
                  <a:pt x="271" y="799"/>
                </a:moveTo>
                <a:cubicBezTo>
                  <a:pt x="264" y="786"/>
                  <a:pt x="249" y="758"/>
                  <a:pt x="239" y="739"/>
                </a:cubicBezTo>
                <a:cubicBezTo>
                  <a:pt x="228" y="719"/>
                  <a:pt x="206" y="677"/>
                  <a:pt x="190" y="647"/>
                </a:cubicBezTo>
                <a:cubicBezTo>
                  <a:pt x="174" y="616"/>
                  <a:pt x="160" y="589"/>
                  <a:pt x="158" y="587"/>
                </a:cubicBezTo>
                <a:cubicBezTo>
                  <a:pt x="156" y="584"/>
                  <a:pt x="144" y="561"/>
                  <a:pt x="130" y="535"/>
                </a:cubicBezTo>
                <a:cubicBezTo>
                  <a:pt x="116" y="508"/>
                  <a:pt x="100" y="477"/>
                  <a:pt x="93" y="465"/>
                </a:cubicBezTo>
                <a:cubicBezTo>
                  <a:pt x="86" y="452"/>
                  <a:pt x="73" y="427"/>
                  <a:pt x="63" y="409"/>
                </a:cubicBezTo>
                <a:cubicBezTo>
                  <a:pt x="53" y="390"/>
                  <a:pt x="38" y="361"/>
                  <a:pt x="29" y="345"/>
                </a:cubicBezTo>
                <a:cubicBezTo>
                  <a:pt x="2" y="294"/>
                  <a:pt x="0" y="305"/>
                  <a:pt x="56" y="147"/>
                </a:cubicBezTo>
                <a:cubicBezTo>
                  <a:pt x="84" y="70"/>
                  <a:pt x="108" y="5"/>
                  <a:pt x="110" y="3"/>
                </a:cubicBezTo>
                <a:cubicBezTo>
                  <a:pt x="113" y="0"/>
                  <a:pt x="149" y="11"/>
                  <a:pt x="260" y="53"/>
                </a:cubicBezTo>
                <a:cubicBezTo>
                  <a:pt x="291" y="64"/>
                  <a:pt x="345" y="82"/>
                  <a:pt x="380" y="93"/>
                </a:cubicBezTo>
                <a:cubicBezTo>
                  <a:pt x="415" y="104"/>
                  <a:pt x="464" y="119"/>
                  <a:pt x="488" y="127"/>
                </a:cubicBezTo>
                <a:cubicBezTo>
                  <a:pt x="512" y="134"/>
                  <a:pt x="532" y="141"/>
                  <a:pt x="532" y="142"/>
                </a:cubicBezTo>
                <a:cubicBezTo>
                  <a:pt x="534" y="143"/>
                  <a:pt x="402" y="601"/>
                  <a:pt x="390" y="635"/>
                </a:cubicBezTo>
                <a:cubicBezTo>
                  <a:pt x="388" y="641"/>
                  <a:pt x="386" y="651"/>
                  <a:pt x="385" y="657"/>
                </a:cubicBezTo>
                <a:cubicBezTo>
                  <a:pt x="384" y="662"/>
                  <a:pt x="378" y="680"/>
                  <a:pt x="371" y="697"/>
                </a:cubicBezTo>
                <a:cubicBezTo>
                  <a:pt x="359" y="728"/>
                  <a:pt x="361" y="727"/>
                  <a:pt x="332" y="723"/>
                </a:cubicBezTo>
                <a:cubicBezTo>
                  <a:pt x="309" y="720"/>
                  <a:pt x="291" y="753"/>
                  <a:pt x="290" y="799"/>
                </a:cubicBezTo>
                <a:cubicBezTo>
                  <a:pt x="290" y="826"/>
                  <a:pt x="285" y="826"/>
                  <a:pt x="271" y="799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45" name="Freeform 111"/>
          <p:cNvSpPr/>
          <p:nvPr userDrawn="1">
            <p:custDataLst>
              <p:tags r:id="rId146"/>
            </p:custDataLst>
          </p:nvPr>
        </p:nvSpPr>
        <p:spPr bwMode="black">
          <a:xfrm>
            <a:off x="5120644" y="1838215"/>
            <a:ext cx="860425" cy="661988"/>
          </a:xfrm>
          <a:custGeom>
            <a:gdLst>
              <a:gd name="T0" fmla="*/ 482 w 598"/>
              <a:gd name="T1" fmla="*/ 454 h 461"/>
              <a:gd name="T2" fmla="*/ 482 w 598"/>
              <a:gd name="T3" fmla="*/ 437 h 461"/>
              <a:gd name="T4" fmla="*/ 426 w 598"/>
              <a:gd name="T5" fmla="*/ 392 h 461"/>
              <a:gd name="T6" fmla="*/ 348 w 598"/>
              <a:gd name="T7" fmla="*/ 336 h 461"/>
              <a:gd name="T8" fmla="*/ 333 w 598"/>
              <a:gd name="T9" fmla="*/ 319 h 461"/>
              <a:gd name="T10" fmla="*/ 265 w 598"/>
              <a:gd name="T11" fmla="*/ 329 h 461"/>
              <a:gd name="T12" fmla="*/ 187 w 598"/>
              <a:gd name="T13" fmla="*/ 341 h 461"/>
              <a:gd name="T14" fmla="*/ 97 w 598"/>
              <a:gd name="T15" fmla="*/ 355 h 461"/>
              <a:gd name="T16" fmla="*/ 11 w 598"/>
              <a:gd name="T17" fmla="*/ 370 h 461"/>
              <a:gd name="T18" fmla="*/ 2 w 598"/>
              <a:gd name="T19" fmla="*/ 363 h 461"/>
              <a:gd name="T20" fmla="*/ 46 w 598"/>
              <a:gd name="T21" fmla="*/ 301 h 461"/>
              <a:gd name="T22" fmla="*/ 59 w 598"/>
              <a:gd name="T23" fmla="*/ 283 h 461"/>
              <a:gd name="T24" fmla="*/ 49 w 598"/>
              <a:gd name="T25" fmla="*/ 260 h 461"/>
              <a:gd name="T26" fmla="*/ 46 w 598"/>
              <a:gd name="T27" fmla="*/ 231 h 461"/>
              <a:gd name="T28" fmla="*/ 60 w 598"/>
              <a:gd name="T29" fmla="*/ 226 h 461"/>
              <a:gd name="T30" fmla="*/ 124 w 598"/>
              <a:gd name="T31" fmla="*/ 220 h 461"/>
              <a:gd name="T32" fmla="*/ 211 w 598"/>
              <a:gd name="T33" fmla="*/ 201 h 461"/>
              <a:gd name="T34" fmla="*/ 230 w 598"/>
              <a:gd name="T35" fmla="*/ 140 h 461"/>
              <a:gd name="T36" fmla="*/ 224 w 598"/>
              <a:gd name="T37" fmla="*/ 117 h 461"/>
              <a:gd name="T38" fmla="*/ 247 w 598"/>
              <a:gd name="T39" fmla="*/ 89 h 461"/>
              <a:gd name="T40" fmla="*/ 280 w 598"/>
              <a:gd name="T41" fmla="*/ 50 h 461"/>
              <a:gd name="T42" fmla="*/ 309 w 598"/>
              <a:gd name="T43" fmla="*/ 21 h 461"/>
              <a:gd name="T44" fmla="*/ 331 w 598"/>
              <a:gd name="T45" fmla="*/ 4 h 461"/>
              <a:gd name="T46" fmla="*/ 364 w 598"/>
              <a:gd name="T47" fmla="*/ 4 h 461"/>
              <a:gd name="T48" fmla="*/ 406 w 598"/>
              <a:gd name="T49" fmla="*/ 2 h 461"/>
              <a:gd name="T50" fmla="*/ 419 w 598"/>
              <a:gd name="T51" fmla="*/ 12 h 461"/>
              <a:gd name="T52" fmla="*/ 428 w 598"/>
              <a:gd name="T53" fmla="*/ 82 h 461"/>
              <a:gd name="T54" fmla="*/ 440 w 598"/>
              <a:gd name="T55" fmla="*/ 123 h 461"/>
              <a:gd name="T56" fmla="*/ 474 w 598"/>
              <a:gd name="T57" fmla="*/ 300 h 461"/>
              <a:gd name="T58" fmla="*/ 478 w 598"/>
              <a:gd name="T59" fmla="*/ 360 h 461"/>
              <a:gd name="T60" fmla="*/ 483 w 598"/>
              <a:gd name="T61" fmla="*/ 389 h 461"/>
              <a:gd name="T62" fmla="*/ 487 w 598"/>
              <a:gd name="T63" fmla="*/ 400 h 461"/>
              <a:gd name="T64" fmla="*/ 487 w 598"/>
              <a:gd name="T65" fmla="*/ 409 h 461"/>
              <a:gd name="T66" fmla="*/ 487 w 598"/>
              <a:gd name="T67" fmla="*/ 422 h 461"/>
              <a:gd name="T68" fmla="*/ 491 w 598"/>
              <a:gd name="T69" fmla="*/ 420 h 461"/>
              <a:gd name="T70" fmla="*/ 527 w 598"/>
              <a:gd name="T71" fmla="*/ 405 h 461"/>
              <a:gd name="T72" fmla="*/ 553 w 598"/>
              <a:gd name="T73" fmla="*/ 394 h 461"/>
              <a:gd name="T74" fmla="*/ 596 w 598"/>
              <a:gd name="T75" fmla="*/ 381 h 461"/>
              <a:gd name="T76" fmla="*/ 588 w 598"/>
              <a:gd name="T77" fmla="*/ 395 h 461"/>
              <a:gd name="T78" fmla="*/ 563 w 598"/>
              <a:gd name="T79" fmla="*/ 418 h 461"/>
              <a:gd name="T80" fmla="*/ 482 w 598"/>
              <a:gd name="T81" fmla="*/ 454 h 461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98" h="461">
                <a:moveTo>
                  <a:pt x="482" y="454"/>
                </a:moveTo>
                <a:cubicBezTo>
                  <a:pt x="481" y="452"/>
                  <a:pt x="481" y="444"/>
                  <a:pt x="482" y="437"/>
                </a:cubicBezTo>
                <a:cubicBezTo>
                  <a:pt x="485" y="418"/>
                  <a:pt x="471" y="406"/>
                  <a:pt x="426" y="392"/>
                </a:cubicBezTo>
                <a:cubicBezTo>
                  <a:pt x="386" y="378"/>
                  <a:pt x="382" y="376"/>
                  <a:pt x="348" y="336"/>
                </a:cubicBezTo>
                <a:cubicBezTo>
                  <a:pt x="333" y="319"/>
                  <a:pt x="333" y="319"/>
                  <a:pt x="333" y="319"/>
                </a:cubicBezTo>
                <a:cubicBezTo>
                  <a:pt x="265" y="329"/>
                  <a:pt x="265" y="329"/>
                  <a:pt x="265" y="329"/>
                </a:cubicBezTo>
                <a:cubicBezTo>
                  <a:pt x="228" y="335"/>
                  <a:pt x="193" y="340"/>
                  <a:pt x="187" y="341"/>
                </a:cubicBezTo>
                <a:cubicBezTo>
                  <a:pt x="182" y="342"/>
                  <a:pt x="141" y="349"/>
                  <a:pt x="97" y="355"/>
                </a:cubicBezTo>
                <a:cubicBezTo>
                  <a:pt x="53" y="362"/>
                  <a:pt x="14" y="369"/>
                  <a:pt x="11" y="370"/>
                </a:cubicBezTo>
                <a:cubicBezTo>
                  <a:pt x="6" y="371"/>
                  <a:pt x="3" y="369"/>
                  <a:pt x="2" y="363"/>
                </a:cubicBezTo>
                <a:cubicBezTo>
                  <a:pt x="0" y="354"/>
                  <a:pt x="11" y="338"/>
                  <a:pt x="46" y="301"/>
                </a:cubicBezTo>
                <a:cubicBezTo>
                  <a:pt x="53" y="294"/>
                  <a:pt x="59" y="285"/>
                  <a:pt x="59" y="283"/>
                </a:cubicBezTo>
                <a:cubicBezTo>
                  <a:pt x="59" y="281"/>
                  <a:pt x="55" y="270"/>
                  <a:pt x="49" y="260"/>
                </a:cubicBezTo>
                <a:cubicBezTo>
                  <a:pt x="37" y="236"/>
                  <a:pt x="37" y="232"/>
                  <a:pt x="46" y="231"/>
                </a:cubicBezTo>
                <a:cubicBezTo>
                  <a:pt x="50" y="231"/>
                  <a:pt x="56" y="229"/>
                  <a:pt x="60" y="226"/>
                </a:cubicBezTo>
                <a:cubicBezTo>
                  <a:pt x="66" y="222"/>
                  <a:pt x="83" y="220"/>
                  <a:pt x="124" y="220"/>
                </a:cubicBezTo>
                <a:cubicBezTo>
                  <a:pt x="184" y="219"/>
                  <a:pt x="191" y="218"/>
                  <a:pt x="211" y="201"/>
                </a:cubicBezTo>
                <a:cubicBezTo>
                  <a:pt x="231" y="184"/>
                  <a:pt x="236" y="168"/>
                  <a:pt x="230" y="140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47" y="89"/>
                  <a:pt x="247" y="89"/>
                  <a:pt x="247" y="89"/>
                </a:cubicBezTo>
                <a:cubicBezTo>
                  <a:pt x="260" y="75"/>
                  <a:pt x="275" y="57"/>
                  <a:pt x="280" y="50"/>
                </a:cubicBezTo>
                <a:cubicBezTo>
                  <a:pt x="284" y="43"/>
                  <a:pt x="298" y="30"/>
                  <a:pt x="309" y="21"/>
                </a:cubicBezTo>
                <a:cubicBezTo>
                  <a:pt x="331" y="4"/>
                  <a:pt x="331" y="4"/>
                  <a:pt x="331" y="4"/>
                </a:cubicBezTo>
                <a:cubicBezTo>
                  <a:pt x="364" y="4"/>
                  <a:pt x="364" y="4"/>
                  <a:pt x="364" y="4"/>
                </a:cubicBezTo>
                <a:cubicBezTo>
                  <a:pt x="382" y="5"/>
                  <a:pt x="401" y="4"/>
                  <a:pt x="406" y="2"/>
                </a:cubicBezTo>
                <a:cubicBezTo>
                  <a:pt x="413" y="0"/>
                  <a:pt x="415" y="1"/>
                  <a:pt x="419" y="12"/>
                </a:cubicBezTo>
                <a:cubicBezTo>
                  <a:pt x="425" y="33"/>
                  <a:pt x="428" y="51"/>
                  <a:pt x="428" y="82"/>
                </a:cubicBezTo>
                <a:cubicBezTo>
                  <a:pt x="429" y="106"/>
                  <a:pt x="431" y="112"/>
                  <a:pt x="440" y="123"/>
                </a:cubicBezTo>
                <a:cubicBezTo>
                  <a:pt x="460" y="147"/>
                  <a:pt x="477" y="236"/>
                  <a:pt x="474" y="300"/>
                </a:cubicBezTo>
                <a:cubicBezTo>
                  <a:pt x="473" y="329"/>
                  <a:pt x="474" y="347"/>
                  <a:pt x="478" y="360"/>
                </a:cubicBezTo>
                <a:cubicBezTo>
                  <a:pt x="481" y="369"/>
                  <a:pt x="483" y="383"/>
                  <a:pt x="483" y="389"/>
                </a:cubicBezTo>
                <a:cubicBezTo>
                  <a:pt x="483" y="395"/>
                  <a:pt x="485" y="400"/>
                  <a:pt x="487" y="400"/>
                </a:cubicBezTo>
                <a:cubicBezTo>
                  <a:pt x="490" y="400"/>
                  <a:pt x="490" y="403"/>
                  <a:pt x="487" y="409"/>
                </a:cubicBezTo>
                <a:cubicBezTo>
                  <a:pt x="485" y="416"/>
                  <a:pt x="485" y="420"/>
                  <a:pt x="487" y="422"/>
                </a:cubicBezTo>
                <a:cubicBezTo>
                  <a:pt x="489" y="423"/>
                  <a:pt x="491" y="422"/>
                  <a:pt x="491" y="420"/>
                </a:cubicBezTo>
                <a:cubicBezTo>
                  <a:pt x="491" y="415"/>
                  <a:pt x="510" y="407"/>
                  <a:pt x="527" y="405"/>
                </a:cubicBezTo>
                <a:cubicBezTo>
                  <a:pt x="535" y="404"/>
                  <a:pt x="547" y="399"/>
                  <a:pt x="553" y="394"/>
                </a:cubicBezTo>
                <a:cubicBezTo>
                  <a:pt x="571" y="381"/>
                  <a:pt x="592" y="374"/>
                  <a:pt x="596" y="381"/>
                </a:cubicBezTo>
                <a:cubicBezTo>
                  <a:pt x="598" y="384"/>
                  <a:pt x="595" y="389"/>
                  <a:pt x="588" y="395"/>
                </a:cubicBezTo>
                <a:cubicBezTo>
                  <a:pt x="582" y="400"/>
                  <a:pt x="571" y="411"/>
                  <a:pt x="563" y="418"/>
                </a:cubicBezTo>
                <a:cubicBezTo>
                  <a:pt x="546" y="434"/>
                  <a:pt x="484" y="461"/>
                  <a:pt x="482" y="454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46" name="Freeform 112"/>
          <p:cNvSpPr/>
          <p:nvPr userDrawn="1">
            <p:custDataLst>
              <p:tags r:id="rId147"/>
            </p:custDataLst>
          </p:nvPr>
        </p:nvSpPr>
        <p:spPr bwMode="black">
          <a:xfrm>
            <a:off x="4579307" y="2395428"/>
            <a:ext cx="457200" cy="557213"/>
          </a:xfrm>
          <a:custGeom>
            <a:gdLst>
              <a:gd name="T0" fmla="*/ 186 w 319"/>
              <a:gd name="T1" fmla="*/ 378 h 387"/>
              <a:gd name="T2" fmla="*/ 146 w 319"/>
              <a:gd name="T3" fmla="*/ 370 h 387"/>
              <a:gd name="T4" fmla="*/ 59 w 319"/>
              <a:gd name="T5" fmla="*/ 353 h 387"/>
              <a:gd name="T6" fmla="*/ 30 w 319"/>
              <a:gd name="T7" fmla="*/ 341 h 387"/>
              <a:gd name="T8" fmla="*/ 12 w 319"/>
              <a:gd name="T9" fmla="*/ 324 h 387"/>
              <a:gd name="T10" fmla="*/ 10 w 319"/>
              <a:gd name="T11" fmla="*/ 278 h 387"/>
              <a:gd name="T12" fmla="*/ 6 w 319"/>
              <a:gd name="T13" fmla="*/ 197 h 387"/>
              <a:gd name="T14" fmla="*/ 2 w 319"/>
              <a:gd name="T15" fmla="*/ 108 h 387"/>
              <a:gd name="T16" fmla="*/ 5 w 319"/>
              <a:gd name="T17" fmla="*/ 67 h 387"/>
              <a:gd name="T18" fmla="*/ 20 w 319"/>
              <a:gd name="T19" fmla="*/ 66 h 387"/>
              <a:gd name="T20" fmla="*/ 70 w 319"/>
              <a:gd name="T21" fmla="*/ 62 h 387"/>
              <a:gd name="T22" fmla="*/ 112 w 319"/>
              <a:gd name="T23" fmla="*/ 59 h 387"/>
              <a:gd name="T24" fmla="*/ 138 w 319"/>
              <a:gd name="T25" fmla="*/ 70 h 387"/>
              <a:gd name="T26" fmla="*/ 196 w 319"/>
              <a:gd name="T27" fmla="*/ 74 h 387"/>
              <a:gd name="T28" fmla="*/ 220 w 319"/>
              <a:gd name="T29" fmla="*/ 62 h 387"/>
              <a:gd name="T30" fmla="*/ 246 w 319"/>
              <a:gd name="T31" fmla="*/ 48 h 387"/>
              <a:gd name="T32" fmla="*/ 312 w 319"/>
              <a:gd name="T33" fmla="*/ 6 h 387"/>
              <a:gd name="T34" fmla="*/ 311 w 319"/>
              <a:gd name="T35" fmla="*/ 224 h 387"/>
              <a:gd name="T36" fmla="*/ 302 w 319"/>
              <a:gd name="T37" fmla="*/ 251 h 387"/>
              <a:gd name="T38" fmla="*/ 277 w 319"/>
              <a:gd name="T39" fmla="*/ 282 h 387"/>
              <a:gd name="T40" fmla="*/ 242 w 319"/>
              <a:gd name="T41" fmla="*/ 326 h 387"/>
              <a:gd name="T42" fmla="*/ 228 w 319"/>
              <a:gd name="T43" fmla="*/ 342 h 387"/>
              <a:gd name="T44" fmla="*/ 214 w 319"/>
              <a:gd name="T45" fmla="*/ 355 h 387"/>
              <a:gd name="T46" fmla="*/ 198 w 319"/>
              <a:gd name="T47" fmla="*/ 386 h 387"/>
              <a:gd name="T48" fmla="*/ 186 w 319"/>
              <a:gd name="T49" fmla="*/ 378 h 38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19" h="387">
                <a:moveTo>
                  <a:pt x="186" y="378"/>
                </a:moveTo>
                <a:cubicBezTo>
                  <a:pt x="179" y="369"/>
                  <a:pt x="177" y="368"/>
                  <a:pt x="146" y="370"/>
                </a:cubicBezTo>
                <a:cubicBezTo>
                  <a:pt x="106" y="373"/>
                  <a:pt x="74" y="367"/>
                  <a:pt x="59" y="353"/>
                </a:cubicBezTo>
                <a:cubicBezTo>
                  <a:pt x="52" y="346"/>
                  <a:pt x="43" y="342"/>
                  <a:pt x="30" y="341"/>
                </a:cubicBezTo>
                <a:cubicBezTo>
                  <a:pt x="13" y="339"/>
                  <a:pt x="12" y="338"/>
                  <a:pt x="12" y="324"/>
                </a:cubicBezTo>
                <a:cubicBezTo>
                  <a:pt x="12" y="316"/>
                  <a:pt x="11" y="295"/>
                  <a:pt x="10" y="278"/>
                </a:cubicBezTo>
                <a:cubicBezTo>
                  <a:pt x="9" y="260"/>
                  <a:pt x="8" y="224"/>
                  <a:pt x="6" y="197"/>
                </a:cubicBezTo>
                <a:cubicBezTo>
                  <a:pt x="5" y="170"/>
                  <a:pt x="3" y="130"/>
                  <a:pt x="2" y="108"/>
                </a:cubicBezTo>
                <a:cubicBezTo>
                  <a:pt x="0" y="76"/>
                  <a:pt x="0" y="67"/>
                  <a:pt x="5" y="67"/>
                </a:cubicBezTo>
                <a:cubicBezTo>
                  <a:pt x="8" y="67"/>
                  <a:pt x="15" y="66"/>
                  <a:pt x="20" y="66"/>
                </a:cubicBezTo>
                <a:cubicBezTo>
                  <a:pt x="26" y="65"/>
                  <a:pt x="48" y="63"/>
                  <a:pt x="70" y="62"/>
                </a:cubicBezTo>
                <a:cubicBezTo>
                  <a:pt x="92" y="60"/>
                  <a:pt x="111" y="59"/>
                  <a:pt x="112" y="59"/>
                </a:cubicBezTo>
                <a:cubicBezTo>
                  <a:pt x="113" y="58"/>
                  <a:pt x="125" y="63"/>
                  <a:pt x="138" y="70"/>
                </a:cubicBezTo>
                <a:cubicBezTo>
                  <a:pt x="163" y="82"/>
                  <a:pt x="185" y="83"/>
                  <a:pt x="196" y="74"/>
                </a:cubicBezTo>
                <a:cubicBezTo>
                  <a:pt x="199" y="71"/>
                  <a:pt x="210" y="66"/>
                  <a:pt x="220" y="62"/>
                </a:cubicBezTo>
                <a:cubicBezTo>
                  <a:pt x="231" y="58"/>
                  <a:pt x="242" y="52"/>
                  <a:pt x="246" y="48"/>
                </a:cubicBezTo>
                <a:cubicBezTo>
                  <a:pt x="272" y="25"/>
                  <a:pt x="312" y="0"/>
                  <a:pt x="312" y="6"/>
                </a:cubicBezTo>
                <a:cubicBezTo>
                  <a:pt x="319" y="69"/>
                  <a:pt x="319" y="162"/>
                  <a:pt x="311" y="224"/>
                </a:cubicBezTo>
                <a:cubicBezTo>
                  <a:pt x="310" y="227"/>
                  <a:pt x="306" y="239"/>
                  <a:pt x="302" y="251"/>
                </a:cubicBezTo>
                <a:cubicBezTo>
                  <a:pt x="296" y="268"/>
                  <a:pt x="291" y="274"/>
                  <a:pt x="277" y="282"/>
                </a:cubicBezTo>
                <a:cubicBezTo>
                  <a:pt x="258" y="294"/>
                  <a:pt x="246" y="308"/>
                  <a:pt x="242" y="326"/>
                </a:cubicBezTo>
                <a:cubicBezTo>
                  <a:pt x="240" y="336"/>
                  <a:pt x="237" y="340"/>
                  <a:pt x="228" y="342"/>
                </a:cubicBezTo>
                <a:cubicBezTo>
                  <a:pt x="219" y="343"/>
                  <a:pt x="216" y="347"/>
                  <a:pt x="214" y="355"/>
                </a:cubicBezTo>
                <a:cubicBezTo>
                  <a:pt x="211" y="369"/>
                  <a:pt x="203" y="385"/>
                  <a:pt x="198" y="386"/>
                </a:cubicBezTo>
                <a:cubicBezTo>
                  <a:pt x="196" y="387"/>
                  <a:pt x="191" y="383"/>
                  <a:pt x="186" y="378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47" name="Freeform 113"/>
          <p:cNvSpPr/>
          <p:nvPr userDrawn="1">
            <p:custDataLst>
              <p:tags r:id="rId148"/>
            </p:custDataLst>
          </p:nvPr>
        </p:nvSpPr>
        <p:spPr bwMode="black">
          <a:xfrm>
            <a:off x="2456818" y="3133616"/>
            <a:ext cx="977900" cy="587375"/>
          </a:xfrm>
          <a:custGeom>
            <a:gdLst>
              <a:gd name="T0" fmla="*/ 646 w 681"/>
              <a:gd name="T1" fmla="*/ 394 h 409"/>
              <a:gd name="T2" fmla="*/ 604 w 681"/>
              <a:gd name="T3" fmla="*/ 379 h 409"/>
              <a:gd name="T4" fmla="*/ 526 w 681"/>
              <a:gd name="T5" fmla="*/ 381 h 409"/>
              <a:gd name="T6" fmla="*/ 444 w 681"/>
              <a:gd name="T7" fmla="*/ 376 h 409"/>
              <a:gd name="T8" fmla="*/ 412 w 681"/>
              <a:gd name="T9" fmla="*/ 368 h 409"/>
              <a:gd name="T10" fmla="*/ 381 w 681"/>
              <a:gd name="T11" fmla="*/ 350 h 409"/>
              <a:gd name="T12" fmla="*/ 345 w 681"/>
              <a:gd name="T13" fmla="*/ 333 h 409"/>
              <a:gd name="T14" fmla="*/ 279 w 681"/>
              <a:gd name="T15" fmla="*/ 311 h 409"/>
              <a:gd name="T16" fmla="*/ 246 w 681"/>
              <a:gd name="T17" fmla="*/ 292 h 409"/>
              <a:gd name="T18" fmla="*/ 223 w 681"/>
              <a:gd name="T19" fmla="*/ 285 h 409"/>
              <a:gd name="T20" fmla="*/ 226 w 681"/>
              <a:gd name="T21" fmla="*/ 265 h 409"/>
              <a:gd name="T22" fmla="*/ 230 w 681"/>
              <a:gd name="T23" fmla="*/ 217 h 409"/>
              <a:gd name="T24" fmla="*/ 234 w 681"/>
              <a:gd name="T25" fmla="*/ 175 h 409"/>
              <a:gd name="T26" fmla="*/ 238 w 681"/>
              <a:gd name="T27" fmla="*/ 129 h 409"/>
              <a:gd name="T28" fmla="*/ 243 w 681"/>
              <a:gd name="T29" fmla="*/ 86 h 409"/>
              <a:gd name="T30" fmla="*/ 224 w 681"/>
              <a:gd name="T31" fmla="*/ 69 h 409"/>
              <a:gd name="T32" fmla="*/ 50 w 681"/>
              <a:gd name="T33" fmla="*/ 46 h 409"/>
              <a:gd name="T34" fmla="*/ 6 w 681"/>
              <a:gd name="T35" fmla="*/ 20 h 409"/>
              <a:gd name="T36" fmla="*/ 9 w 681"/>
              <a:gd name="T37" fmla="*/ 0 h 409"/>
              <a:gd name="T38" fmla="*/ 38 w 681"/>
              <a:gd name="T39" fmla="*/ 4 h 409"/>
              <a:gd name="T40" fmla="*/ 98 w 681"/>
              <a:gd name="T41" fmla="*/ 12 h 409"/>
              <a:gd name="T42" fmla="*/ 148 w 681"/>
              <a:gd name="T43" fmla="*/ 17 h 409"/>
              <a:gd name="T44" fmla="*/ 192 w 681"/>
              <a:gd name="T45" fmla="*/ 21 h 409"/>
              <a:gd name="T46" fmla="*/ 236 w 681"/>
              <a:gd name="T47" fmla="*/ 25 h 409"/>
              <a:gd name="T48" fmla="*/ 280 w 681"/>
              <a:gd name="T49" fmla="*/ 29 h 409"/>
              <a:gd name="T50" fmla="*/ 324 w 681"/>
              <a:gd name="T51" fmla="*/ 33 h 409"/>
              <a:gd name="T52" fmla="*/ 372 w 681"/>
              <a:gd name="T53" fmla="*/ 37 h 409"/>
              <a:gd name="T54" fmla="*/ 416 w 681"/>
              <a:gd name="T55" fmla="*/ 41 h 409"/>
              <a:gd name="T56" fmla="*/ 460 w 681"/>
              <a:gd name="T57" fmla="*/ 45 h 409"/>
              <a:gd name="T58" fmla="*/ 504 w 681"/>
              <a:gd name="T59" fmla="*/ 49 h 409"/>
              <a:gd name="T60" fmla="*/ 552 w 681"/>
              <a:gd name="T61" fmla="*/ 53 h 409"/>
              <a:gd name="T62" fmla="*/ 596 w 681"/>
              <a:gd name="T63" fmla="*/ 57 h 409"/>
              <a:gd name="T64" fmla="*/ 640 w 681"/>
              <a:gd name="T65" fmla="*/ 61 h 409"/>
              <a:gd name="T66" fmla="*/ 675 w 681"/>
              <a:gd name="T67" fmla="*/ 64 h 409"/>
              <a:gd name="T68" fmla="*/ 680 w 681"/>
              <a:gd name="T69" fmla="*/ 227 h 409"/>
              <a:gd name="T70" fmla="*/ 676 w 681"/>
              <a:gd name="T71" fmla="*/ 408 h 409"/>
              <a:gd name="T72" fmla="*/ 646 w 681"/>
              <a:gd name="T73" fmla="*/ 394 h 40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81" h="409">
                <a:moveTo>
                  <a:pt x="646" y="394"/>
                </a:moveTo>
                <a:cubicBezTo>
                  <a:pt x="629" y="385"/>
                  <a:pt x="612" y="379"/>
                  <a:pt x="604" y="379"/>
                </a:cubicBezTo>
                <a:cubicBezTo>
                  <a:pt x="596" y="379"/>
                  <a:pt x="561" y="380"/>
                  <a:pt x="526" y="381"/>
                </a:cubicBezTo>
                <a:cubicBezTo>
                  <a:pt x="472" y="383"/>
                  <a:pt x="459" y="382"/>
                  <a:pt x="444" y="376"/>
                </a:cubicBezTo>
                <a:cubicBezTo>
                  <a:pt x="434" y="373"/>
                  <a:pt x="420" y="369"/>
                  <a:pt x="412" y="368"/>
                </a:cubicBezTo>
                <a:cubicBezTo>
                  <a:pt x="404" y="366"/>
                  <a:pt x="391" y="359"/>
                  <a:pt x="381" y="350"/>
                </a:cubicBezTo>
                <a:cubicBezTo>
                  <a:pt x="368" y="339"/>
                  <a:pt x="359" y="334"/>
                  <a:pt x="345" y="333"/>
                </a:cubicBezTo>
                <a:cubicBezTo>
                  <a:pt x="307" y="328"/>
                  <a:pt x="290" y="322"/>
                  <a:pt x="279" y="311"/>
                </a:cubicBezTo>
                <a:cubicBezTo>
                  <a:pt x="273" y="304"/>
                  <a:pt x="259" y="296"/>
                  <a:pt x="246" y="292"/>
                </a:cubicBezTo>
                <a:cubicBezTo>
                  <a:pt x="223" y="285"/>
                  <a:pt x="223" y="285"/>
                  <a:pt x="223" y="285"/>
                </a:cubicBezTo>
                <a:cubicBezTo>
                  <a:pt x="226" y="265"/>
                  <a:pt x="226" y="265"/>
                  <a:pt x="226" y="265"/>
                </a:cubicBezTo>
                <a:cubicBezTo>
                  <a:pt x="227" y="254"/>
                  <a:pt x="229" y="232"/>
                  <a:pt x="230" y="217"/>
                </a:cubicBezTo>
                <a:cubicBezTo>
                  <a:pt x="231" y="201"/>
                  <a:pt x="233" y="182"/>
                  <a:pt x="234" y="175"/>
                </a:cubicBezTo>
                <a:cubicBezTo>
                  <a:pt x="235" y="167"/>
                  <a:pt x="237" y="146"/>
                  <a:pt x="238" y="129"/>
                </a:cubicBezTo>
                <a:cubicBezTo>
                  <a:pt x="240" y="111"/>
                  <a:pt x="241" y="92"/>
                  <a:pt x="243" y="86"/>
                </a:cubicBezTo>
                <a:cubicBezTo>
                  <a:pt x="245" y="74"/>
                  <a:pt x="242" y="71"/>
                  <a:pt x="224" y="69"/>
                </a:cubicBezTo>
                <a:cubicBezTo>
                  <a:pt x="202" y="66"/>
                  <a:pt x="89" y="51"/>
                  <a:pt x="50" y="46"/>
                </a:cubicBezTo>
                <a:cubicBezTo>
                  <a:pt x="0" y="40"/>
                  <a:pt x="3" y="41"/>
                  <a:pt x="6" y="20"/>
                </a:cubicBezTo>
                <a:cubicBezTo>
                  <a:pt x="7" y="10"/>
                  <a:pt x="9" y="1"/>
                  <a:pt x="9" y="0"/>
                </a:cubicBezTo>
                <a:cubicBezTo>
                  <a:pt x="10" y="0"/>
                  <a:pt x="23" y="2"/>
                  <a:pt x="38" y="4"/>
                </a:cubicBezTo>
                <a:cubicBezTo>
                  <a:pt x="54" y="7"/>
                  <a:pt x="81" y="11"/>
                  <a:pt x="98" y="12"/>
                </a:cubicBezTo>
                <a:cubicBezTo>
                  <a:pt x="116" y="14"/>
                  <a:pt x="138" y="16"/>
                  <a:pt x="148" y="17"/>
                </a:cubicBezTo>
                <a:cubicBezTo>
                  <a:pt x="158" y="17"/>
                  <a:pt x="178" y="19"/>
                  <a:pt x="192" y="21"/>
                </a:cubicBezTo>
                <a:cubicBezTo>
                  <a:pt x="206" y="22"/>
                  <a:pt x="226" y="24"/>
                  <a:pt x="236" y="25"/>
                </a:cubicBezTo>
                <a:cubicBezTo>
                  <a:pt x="246" y="25"/>
                  <a:pt x="266" y="27"/>
                  <a:pt x="280" y="29"/>
                </a:cubicBezTo>
                <a:cubicBezTo>
                  <a:pt x="294" y="30"/>
                  <a:pt x="314" y="32"/>
                  <a:pt x="324" y="33"/>
                </a:cubicBezTo>
                <a:cubicBezTo>
                  <a:pt x="334" y="33"/>
                  <a:pt x="356" y="35"/>
                  <a:pt x="372" y="37"/>
                </a:cubicBezTo>
                <a:cubicBezTo>
                  <a:pt x="389" y="38"/>
                  <a:pt x="408" y="40"/>
                  <a:pt x="416" y="41"/>
                </a:cubicBezTo>
                <a:cubicBezTo>
                  <a:pt x="424" y="41"/>
                  <a:pt x="444" y="43"/>
                  <a:pt x="460" y="45"/>
                </a:cubicBezTo>
                <a:cubicBezTo>
                  <a:pt x="477" y="46"/>
                  <a:pt x="496" y="48"/>
                  <a:pt x="504" y="49"/>
                </a:cubicBezTo>
                <a:cubicBezTo>
                  <a:pt x="512" y="49"/>
                  <a:pt x="533" y="51"/>
                  <a:pt x="552" y="53"/>
                </a:cubicBezTo>
                <a:cubicBezTo>
                  <a:pt x="571" y="54"/>
                  <a:pt x="591" y="56"/>
                  <a:pt x="596" y="57"/>
                </a:cubicBezTo>
                <a:cubicBezTo>
                  <a:pt x="602" y="57"/>
                  <a:pt x="621" y="59"/>
                  <a:pt x="640" y="61"/>
                </a:cubicBezTo>
                <a:cubicBezTo>
                  <a:pt x="659" y="62"/>
                  <a:pt x="674" y="64"/>
                  <a:pt x="675" y="64"/>
                </a:cubicBezTo>
                <a:cubicBezTo>
                  <a:pt x="677" y="66"/>
                  <a:pt x="681" y="183"/>
                  <a:pt x="680" y="227"/>
                </a:cubicBezTo>
                <a:cubicBezTo>
                  <a:pt x="679" y="333"/>
                  <a:pt x="677" y="407"/>
                  <a:pt x="676" y="408"/>
                </a:cubicBezTo>
                <a:cubicBezTo>
                  <a:pt x="675" y="409"/>
                  <a:pt x="661" y="402"/>
                  <a:pt x="646" y="394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48" name="Freeform 114"/>
          <p:cNvSpPr/>
          <p:nvPr userDrawn="1">
            <p:custDataLst>
              <p:tags r:id="rId149"/>
            </p:custDataLst>
          </p:nvPr>
        </p:nvSpPr>
        <p:spPr bwMode="black">
          <a:xfrm>
            <a:off x="288293" y="1138128"/>
            <a:ext cx="962025" cy="833438"/>
          </a:xfrm>
          <a:custGeom>
            <a:gdLst>
              <a:gd name="T0" fmla="*/ 418 w 669"/>
              <a:gd name="T1" fmla="*/ 541 h 580"/>
              <a:gd name="T2" fmla="*/ 272 w 669"/>
              <a:gd name="T3" fmla="*/ 488 h 580"/>
              <a:gd name="T4" fmla="*/ 20 w 669"/>
              <a:gd name="T5" fmla="*/ 397 h 580"/>
              <a:gd name="T6" fmla="*/ 1 w 669"/>
              <a:gd name="T7" fmla="*/ 389 h 580"/>
              <a:gd name="T8" fmla="*/ 4 w 669"/>
              <a:gd name="T9" fmla="*/ 375 h 580"/>
              <a:gd name="T10" fmla="*/ 10 w 669"/>
              <a:gd name="T11" fmla="*/ 345 h 580"/>
              <a:gd name="T12" fmla="*/ 51 w 669"/>
              <a:gd name="T13" fmla="*/ 256 h 580"/>
              <a:gd name="T14" fmla="*/ 96 w 669"/>
              <a:gd name="T15" fmla="*/ 198 h 580"/>
              <a:gd name="T16" fmla="*/ 192 w 669"/>
              <a:gd name="T17" fmla="*/ 3 h 580"/>
              <a:gd name="T18" fmla="*/ 199 w 669"/>
              <a:gd name="T19" fmla="*/ 2 h 580"/>
              <a:gd name="T20" fmla="*/ 219 w 669"/>
              <a:gd name="T21" fmla="*/ 8 h 580"/>
              <a:gd name="T22" fmla="*/ 253 w 669"/>
              <a:gd name="T23" fmla="*/ 41 h 580"/>
              <a:gd name="T24" fmla="*/ 254 w 669"/>
              <a:gd name="T25" fmla="*/ 50 h 580"/>
              <a:gd name="T26" fmla="*/ 256 w 669"/>
              <a:gd name="T27" fmla="*/ 68 h 580"/>
              <a:gd name="T28" fmla="*/ 297 w 669"/>
              <a:gd name="T29" fmla="*/ 103 h 580"/>
              <a:gd name="T30" fmla="*/ 356 w 669"/>
              <a:gd name="T31" fmla="*/ 124 h 580"/>
              <a:gd name="T32" fmla="*/ 408 w 669"/>
              <a:gd name="T33" fmla="*/ 142 h 580"/>
              <a:gd name="T34" fmla="*/ 432 w 669"/>
              <a:gd name="T35" fmla="*/ 146 h 580"/>
              <a:gd name="T36" fmla="*/ 478 w 669"/>
              <a:gd name="T37" fmla="*/ 149 h 580"/>
              <a:gd name="T38" fmla="*/ 606 w 669"/>
              <a:gd name="T39" fmla="*/ 181 h 580"/>
              <a:gd name="T40" fmla="*/ 658 w 669"/>
              <a:gd name="T41" fmla="*/ 200 h 580"/>
              <a:gd name="T42" fmla="*/ 659 w 669"/>
              <a:gd name="T43" fmla="*/ 205 h 580"/>
              <a:gd name="T44" fmla="*/ 665 w 669"/>
              <a:gd name="T45" fmla="*/ 234 h 580"/>
              <a:gd name="T46" fmla="*/ 669 w 669"/>
              <a:gd name="T47" fmla="*/ 259 h 580"/>
              <a:gd name="T48" fmla="*/ 655 w 669"/>
              <a:gd name="T49" fmla="*/ 275 h 580"/>
              <a:gd name="T50" fmla="*/ 640 w 669"/>
              <a:gd name="T51" fmla="*/ 295 h 580"/>
              <a:gd name="T52" fmla="*/ 606 w 669"/>
              <a:gd name="T53" fmla="*/ 329 h 580"/>
              <a:gd name="T54" fmla="*/ 591 w 669"/>
              <a:gd name="T55" fmla="*/ 374 h 580"/>
              <a:gd name="T56" fmla="*/ 583 w 669"/>
              <a:gd name="T57" fmla="*/ 413 h 580"/>
              <a:gd name="T58" fmla="*/ 569 w 669"/>
              <a:gd name="T59" fmla="*/ 443 h 580"/>
              <a:gd name="T60" fmla="*/ 524 w 669"/>
              <a:gd name="T61" fmla="*/ 579 h 580"/>
              <a:gd name="T62" fmla="*/ 418 w 669"/>
              <a:gd name="T63" fmla="*/ 541 h 58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69" h="580">
                <a:moveTo>
                  <a:pt x="418" y="541"/>
                </a:moveTo>
                <a:cubicBezTo>
                  <a:pt x="361" y="520"/>
                  <a:pt x="295" y="496"/>
                  <a:pt x="272" y="488"/>
                </a:cubicBezTo>
                <a:cubicBezTo>
                  <a:pt x="209" y="464"/>
                  <a:pt x="51" y="407"/>
                  <a:pt x="20" y="397"/>
                </a:cubicBezTo>
                <a:cubicBezTo>
                  <a:pt x="10" y="393"/>
                  <a:pt x="2" y="390"/>
                  <a:pt x="1" y="389"/>
                </a:cubicBezTo>
                <a:cubicBezTo>
                  <a:pt x="0" y="389"/>
                  <a:pt x="1" y="382"/>
                  <a:pt x="4" y="375"/>
                </a:cubicBezTo>
                <a:cubicBezTo>
                  <a:pt x="6" y="368"/>
                  <a:pt x="9" y="354"/>
                  <a:pt x="10" y="345"/>
                </a:cubicBezTo>
                <a:cubicBezTo>
                  <a:pt x="14" y="306"/>
                  <a:pt x="23" y="287"/>
                  <a:pt x="51" y="256"/>
                </a:cubicBezTo>
                <a:cubicBezTo>
                  <a:pt x="66" y="239"/>
                  <a:pt x="86" y="213"/>
                  <a:pt x="96" y="198"/>
                </a:cubicBezTo>
                <a:cubicBezTo>
                  <a:pt x="115" y="166"/>
                  <a:pt x="192" y="10"/>
                  <a:pt x="192" y="3"/>
                </a:cubicBezTo>
                <a:cubicBezTo>
                  <a:pt x="192" y="0"/>
                  <a:pt x="195" y="0"/>
                  <a:pt x="199" y="2"/>
                </a:cubicBezTo>
                <a:cubicBezTo>
                  <a:pt x="203" y="3"/>
                  <a:pt x="212" y="6"/>
                  <a:pt x="219" y="8"/>
                </a:cubicBezTo>
                <a:cubicBezTo>
                  <a:pt x="231" y="12"/>
                  <a:pt x="251" y="31"/>
                  <a:pt x="253" y="41"/>
                </a:cubicBezTo>
                <a:cubicBezTo>
                  <a:pt x="253" y="43"/>
                  <a:pt x="254" y="47"/>
                  <a:pt x="254" y="50"/>
                </a:cubicBezTo>
                <a:cubicBezTo>
                  <a:pt x="255" y="52"/>
                  <a:pt x="255" y="60"/>
                  <a:pt x="256" y="68"/>
                </a:cubicBezTo>
                <a:cubicBezTo>
                  <a:pt x="256" y="88"/>
                  <a:pt x="267" y="97"/>
                  <a:pt x="297" y="103"/>
                </a:cubicBezTo>
                <a:cubicBezTo>
                  <a:pt x="311" y="106"/>
                  <a:pt x="337" y="115"/>
                  <a:pt x="356" y="124"/>
                </a:cubicBezTo>
                <a:cubicBezTo>
                  <a:pt x="375" y="132"/>
                  <a:pt x="398" y="140"/>
                  <a:pt x="408" y="142"/>
                </a:cubicBezTo>
                <a:cubicBezTo>
                  <a:pt x="418" y="143"/>
                  <a:pt x="429" y="145"/>
                  <a:pt x="432" y="146"/>
                </a:cubicBezTo>
                <a:cubicBezTo>
                  <a:pt x="435" y="146"/>
                  <a:pt x="456" y="148"/>
                  <a:pt x="478" y="149"/>
                </a:cubicBezTo>
                <a:cubicBezTo>
                  <a:pt x="523" y="153"/>
                  <a:pt x="535" y="156"/>
                  <a:pt x="606" y="181"/>
                </a:cubicBezTo>
                <a:cubicBezTo>
                  <a:pt x="634" y="191"/>
                  <a:pt x="658" y="200"/>
                  <a:pt x="658" y="200"/>
                </a:cubicBezTo>
                <a:cubicBezTo>
                  <a:pt x="658" y="200"/>
                  <a:pt x="659" y="202"/>
                  <a:pt x="659" y="205"/>
                </a:cubicBezTo>
                <a:cubicBezTo>
                  <a:pt x="660" y="207"/>
                  <a:pt x="662" y="221"/>
                  <a:pt x="665" y="234"/>
                </a:cubicBezTo>
                <a:cubicBezTo>
                  <a:pt x="669" y="259"/>
                  <a:pt x="669" y="259"/>
                  <a:pt x="669" y="259"/>
                </a:cubicBezTo>
                <a:cubicBezTo>
                  <a:pt x="655" y="275"/>
                  <a:pt x="655" y="275"/>
                  <a:pt x="655" y="275"/>
                </a:cubicBezTo>
                <a:cubicBezTo>
                  <a:pt x="647" y="284"/>
                  <a:pt x="640" y="293"/>
                  <a:pt x="640" y="295"/>
                </a:cubicBezTo>
                <a:cubicBezTo>
                  <a:pt x="640" y="301"/>
                  <a:pt x="618" y="323"/>
                  <a:pt x="606" y="329"/>
                </a:cubicBezTo>
                <a:cubicBezTo>
                  <a:pt x="591" y="336"/>
                  <a:pt x="587" y="347"/>
                  <a:pt x="591" y="374"/>
                </a:cubicBezTo>
                <a:cubicBezTo>
                  <a:pt x="596" y="401"/>
                  <a:pt x="596" y="401"/>
                  <a:pt x="583" y="413"/>
                </a:cubicBezTo>
                <a:cubicBezTo>
                  <a:pt x="574" y="421"/>
                  <a:pt x="571" y="428"/>
                  <a:pt x="569" y="443"/>
                </a:cubicBezTo>
                <a:cubicBezTo>
                  <a:pt x="568" y="460"/>
                  <a:pt x="528" y="580"/>
                  <a:pt x="524" y="579"/>
                </a:cubicBezTo>
                <a:cubicBezTo>
                  <a:pt x="523" y="579"/>
                  <a:pt x="475" y="562"/>
                  <a:pt x="418" y="541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49" name="Freeform 115"/>
          <p:cNvSpPr/>
          <p:nvPr userDrawn="1">
            <p:custDataLst>
              <p:tags r:id="rId150"/>
            </p:custDataLst>
          </p:nvPr>
        </p:nvSpPr>
        <p:spPr bwMode="black">
          <a:xfrm>
            <a:off x="5046032" y="2317640"/>
            <a:ext cx="647700" cy="417513"/>
          </a:xfrm>
          <a:custGeom>
            <a:gdLst>
              <a:gd name="T0" fmla="*/ 28 w 451"/>
              <a:gd name="T1" fmla="*/ 284 h 291"/>
              <a:gd name="T2" fmla="*/ 19 w 451"/>
              <a:gd name="T3" fmla="*/ 247 h 291"/>
              <a:gd name="T4" fmla="*/ 11 w 451"/>
              <a:gd name="T5" fmla="*/ 210 h 291"/>
              <a:gd name="T6" fmla="*/ 5 w 451"/>
              <a:gd name="T7" fmla="*/ 137 h 291"/>
              <a:gd name="T8" fmla="*/ 1 w 451"/>
              <a:gd name="T9" fmla="*/ 66 h 291"/>
              <a:gd name="T10" fmla="*/ 11 w 451"/>
              <a:gd name="T11" fmla="*/ 46 h 291"/>
              <a:gd name="T12" fmla="*/ 30 w 451"/>
              <a:gd name="T13" fmla="*/ 32 h 291"/>
              <a:gd name="T14" fmla="*/ 42 w 451"/>
              <a:gd name="T15" fmla="*/ 38 h 291"/>
              <a:gd name="T16" fmla="*/ 44 w 451"/>
              <a:gd name="T17" fmla="*/ 51 h 291"/>
              <a:gd name="T18" fmla="*/ 66 w 451"/>
              <a:gd name="T19" fmla="*/ 49 h 291"/>
              <a:gd name="T20" fmla="*/ 97 w 451"/>
              <a:gd name="T21" fmla="*/ 44 h 291"/>
              <a:gd name="T22" fmla="*/ 131 w 451"/>
              <a:gd name="T23" fmla="*/ 39 h 291"/>
              <a:gd name="T24" fmla="*/ 173 w 451"/>
              <a:gd name="T25" fmla="*/ 32 h 291"/>
              <a:gd name="T26" fmla="*/ 284 w 451"/>
              <a:gd name="T27" fmla="*/ 15 h 291"/>
              <a:gd name="T28" fmla="*/ 379 w 451"/>
              <a:gd name="T29" fmla="*/ 0 h 291"/>
              <a:gd name="T30" fmla="*/ 393 w 451"/>
              <a:gd name="T31" fmla="*/ 15 h 291"/>
              <a:gd name="T32" fmla="*/ 407 w 451"/>
              <a:gd name="T33" fmla="*/ 34 h 291"/>
              <a:gd name="T34" fmla="*/ 421 w 451"/>
              <a:gd name="T35" fmla="*/ 48 h 291"/>
              <a:gd name="T36" fmla="*/ 433 w 451"/>
              <a:gd name="T37" fmla="*/ 59 h 291"/>
              <a:gd name="T38" fmla="*/ 425 w 451"/>
              <a:gd name="T39" fmla="*/ 104 h 291"/>
              <a:gd name="T40" fmla="*/ 419 w 451"/>
              <a:gd name="T41" fmla="*/ 125 h 291"/>
              <a:gd name="T42" fmla="*/ 433 w 451"/>
              <a:gd name="T43" fmla="*/ 164 h 291"/>
              <a:gd name="T44" fmla="*/ 451 w 451"/>
              <a:gd name="T45" fmla="*/ 181 h 291"/>
              <a:gd name="T46" fmla="*/ 427 w 451"/>
              <a:gd name="T47" fmla="*/ 205 h 291"/>
              <a:gd name="T48" fmla="*/ 392 w 451"/>
              <a:gd name="T49" fmla="*/ 234 h 291"/>
              <a:gd name="T50" fmla="*/ 329 w 451"/>
              <a:gd name="T51" fmla="*/ 247 h 291"/>
              <a:gd name="T52" fmla="*/ 269 w 451"/>
              <a:gd name="T53" fmla="*/ 257 h 291"/>
              <a:gd name="T54" fmla="*/ 189 w 451"/>
              <a:gd name="T55" fmla="*/ 271 h 291"/>
              <a:gd name="T56" fmla="*/ 64 w 451"/>
              <a:gd name="T57" fmla="*/ 289 h 291"/>
              <a:gd name="T58" fmla="*/ 28 w 451"/>
              <a:gd name="T59" fmla="*/ 284 h 291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51" h="291">
                <a:moveTo>
                  <a:pt x="28" y="284"/>
                </a:moveTo>
                <a:cubicBezTo>
                  <a:pt x="26" y="280"/>
                  <a:pt x="22" y="263"/>
                  <a:pt x="19" y="247"/>
                </a:cubicBezTo>
                <a:cubicBezTo>
                  <a:pt x="13" y="213"/>
                  <a:pt x="13" y="211"/>
                  <a:pt x="11" y="210"/>
                </a:cubicBezTo>
                <a:cubicBezTo>
                  <a:pt x="9" y="208"/>
                  <a:pt x="8" y="194"/>
                  <a:pt x="5" y="137"/>
                </a:cubicBezTo>
                <a:cubicBezTo>
                  <a:pt x="4" y="106"/>
                  <a:pt x="2" y="74"/>
                  <a:pt x="1" y="66"/>
                </a:cubicBezTo>
                <a:cubicBezTo>
                  <a:pt x="0" y="55"/>
                  <a:pt x="2" y="51"/>
                  <a:pt x="11" y="46"/>
                </a:cubicBezTo>
                <a:cubicBezTo>
                  <a:pt x="16" y="42"/>
                  <a:pt x="25" y="36"/>
                  <a:pt x="30" y="32"/>
                </a:cubicBezTo>
                <a:cubicBezTo>
                  <a:pt x="39" y="26"/>
                  <a:pt x="39" y="26"/>
                  <a:pt x="42" y="38"/>
                </a:cubicBezTo>
                <a:cubicBezTo>
                  <a:pt x="44" y="51"/>
                  <a:pt x="44" y="51"/>
                  <a:pt x="44" y="51"/>
                </a:cubicBezTo>
                <a:cubicBezTo>
                  <a:pt x="66" y="49"/>
                  <a:pt x="66" y="49"/>
                  <a:pt x="66" y="49"/>
                </a:cubicBezTo>
                <a:cubicBezTo>
                  <a:pt x="78" y="47"/>
                  <a:pt x="92" y="45"/>
                  <a:pt x="97" y="44"/>
                </a:cubicBezTo>
                <a:cubicBezTo>
                  <a:pt x="101" y="44"/>
                  <a:pt x="117" y="41"/>
                  <a:pt x="131" y="39"/>
                </a:cubicBezTo>
                <a:cubicBezTo>
                  <a:pt x="145" y="37"/>
                  <a:pt x="164" y="34"/>
                  <a:pt x="173" y="32"/>
                </a:cubicBezTo>
                <a:cubicBezTo>
                  <a:pt x="182" y="31"/>
                  <a:pt x="232" y="23"/>
                  <a:pt x="284" y="15"/>
                </a:cubicBezTo>
                <a:cubicBezTo>
                  <a:pt x="379" y="0"/>
                  <a:pt x="379" y="0"/>
                  <a:pt x="379" y="0"/>
                </a:cubicBezTo>
                <a:cubicBezTo>
                  <a:pt x="393" y="15"/>
                  <a:pt x="393" y="15"/>
                  <a:pt x="393" y="15"/>
                </a:cubicBezTo>
                <a:cubicBezTo>
                  <a:pt x="401" y="24"/>
                  <a:pt x="407" y="32"/>
                  <a:pt x="407" y="34"/>
                </a:cubicBezTo>
                <a:cubicBezTo>
                  <a:pt x="407" y="37"/>
                  <a:pt x="413" y="43"/>
                  <a:pt x="421" y="48"/>
                </a:cubicBezTo>
                <a:cubicBezTo>
                  <a:pt x="429" y="53"/>
                  <a:pt x="434" y="58"/>
                  <a:pt x="433" y="59"/>
                </a:cubicBezTo>
                <a:cubicBezTo>
                  <a:pt x="431" y="61"/>
                  <a:pt x="428" y="77"/>
                  <a:pt x="425" y="104"/>
                </a:cubicBezTo>
                <a:cubicBezTo>
                  <a:pt x="423" y="114"/>
                  <a:pt x="421" y="124"/>
                  <a:pt x="419" y="125"/>
                </a:cubicBezTo>
                <a:cubicBezTo>
                  <a:pt x="409" y="131"/>
                  <a:pt x="416" y="148"/>
                  <a:pt x="433" y="164"/>
                </a:cubicBezTo>
                <a:cubicBezTo>
                  <a:pt x="451" y="181"/>
                  <a:pt x="451" y="181"/>
                  <a:pt x="451" y="181"/>
                </a:cubicBezTo>
                <a:cubicBezTo>
                  <a:pt x="427" y="205"/>
                  <a:pt x="427" y="205"/>
                  <a:pt x="427" y="205"/>
                </a:cubicBezTo>
                <a:cubicBezTo>
                  <a:pt x="414" y="219"/>
                  <a:pt x="398" y="232"/>
                  <a:pt x="392" y="234"/>
                </a:cubicBezTo>
                <a:cubicBezTo>
                  <a:pt x="386" y="236"/>
                  <a:pt x="358" y="242"/>
                  <a:pt x="329" y="247"/>
                </a:cubicBezTo>
                <a:cubicBezTo>
                  <a:pt x="301" y="252"/>
                  <a:pt x="274" y="256"/>
                  <a:pt x="269" y="257"/>
                </a:cubicBezTo>
                <a:cubicBezTo>
                  <a:pt x="265" y="258"/>
                  <a:pt x="229" y="264"/>
                  <a:pt x="189" y="271"/>
                </a:cubicBezTo>
                <a:cubicBezTo>
                  <a:pt x="95" y="287"/>
                  <a:pt x="102" y="286"/>
                  <a:pt x="64" y="289"/>
                </a:cubicBezTo>
                <a:cubicBezTo>
                  <a:pt x="35" y="291"/>
                  <a:pt x="31" y="290"/>
                  <a:pt x="28" y="284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50" name="Freeform 116"/>
          <p:cNvSpPr/>
          <p:nvPr userDrawn="1">
            <p:custDataLst>
              <p:tags r:id="rId151"/>
            </p:custDataLst>
          </p:nvPr>
        </p:nvSpPr>
        <p:spPr bwMode="black">
          <a:xfrm>
            <a:off x="5981070" y="2235090"/>
            <a:ext cx="82550" cy="103188"/>
          </a:xfrm>
          <a:custGeom>
            <a:gdLst>
              <a:gd name="T0" fmla="*/ 12 w 58"/>
              <a:gd name="T1" fmla="*/ 45 h 72"/>
              <a:gd name="T2" fmla="*/ 3 w 58"/>
              <a:gd name="T3" fmla="*/ 9 h 72"/>
              <a:gd name="T4" fmla="*/ 16 w 58"/>
              <a:gd name="T5" fmla="*/ 0 h 72"/>
              <a:gd name="T6" fmla="*/ 45 w 58"/>
              <a:gd name="T7" fmla="*/ 20 h 72"/>
              <a:gd name="T8" fmla="*/ 54 w 58"/>
              <a:gd name="T9" fmla="*/ 47 h 72"/>
              <a:gd name="T10" fmla="*/ 21 w 58"/>
              <a:gd name="T11" fmla="*/ 72 h 72"/>
              <a:gd name="T12" fmla="*/ 12 w 58"/>
              <a:gd name="T13" fmla="*/ 45 h 72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7" h="72">
                <a:moveTo>
                  <a:pt x="12" y="45"/>
                </a:moveTo>
                <a:cubicBezTo>
                  <a:pt x="8" y="30"/>
                  <a:pt x="4" y="14"/>
                  <a:pt x="3" y="9"/>
                </a:cubicBezTo>
                <a:cubicBezTo>
                  <a:pt x="0" y="0"/>
                  <a:pt x="2" y="0"/>
                  <a:pt x="16" y="0"/>
                </a:cubicBezTo>
                <a:cubicBezTo>
                  <a:pt x="31" y="0"/>
                  <a:pt x="33" y="1"/>
                  <a:pt x="45" y="20"/>
                </a:cubicBezTo>
                <a:cubicBezTo>
                  <a:pt x="55" y="36"/>
                  <a:pt x="58" y="42"/>
                  <a:pt x="54" y="47"/>
                </a:cubicBezTo>
                <a:cubicBezTo>
                  <a:pt x="50" y="54"/>
                  <a:pt x="26" y="72"/>
                  <a:pt x="21" y="72"/>
                </a:cubicBezTo>
                <a:cubicBezTo>
                  <a:pt x="20" y="72"/>
                  <a:pt x="16" y="59"/>
                  <a:pt x="12" y="45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51" name="Freeform 117"/>
          <p:cNvSpPr/>
          <p:nvPr userDrawn="1">
            <p:custDataLst>
              <p:tags r:id="rId152"/>
            </p:custDataLst>
          </p:nvPr>
        </p:nvSpPr>
        <p:spPr bwMode="black">
          <a:xfrm>
            <a:off x="4831719" y="3455878"/>
            <a:ext cx="600075" cy="460375"/>
          </a:xfrm>
          <a:custGeom>
            <a:gdLst>
              <a:gd name="T0" fmla="*/ 232 w 417"/>
              <a:gd name="T1" fmla="*/ 315 h 320"/>
              <a:gd name="T2" fmla="*/ 212 w 417"/>
              <a:gd name="T3" fmla="*/ 292 h 320"/>
              <a:gd name="T4" fmla="*/ 200 w 417"/>
              <a:gd name="T5" fmla="*/ 274 h 320"/>
              <a:gd name="T6" fmla="*/ 176 w 417"/>
              <a:gd name="T7" fmla="*/ 245 h 320"/>
              <a:gd name="T8" fmla="*/ 161 w 417"/>
              <a:gd name="T9" fmla="*/ 220 h 320"/>
              <a:gd name="T10" fmla="*/ 134 w 417"/>
              <a:gd name="T11" fmla="*/ 186 h 320"/>
              <a:gd name="T12" fmla="*/ 100 w 417"/>
              <a:gd name="T13" fmla="*/ 154 h 320"/>
              <a:gd name="T14" fmla="*/ 58 w 417"/>
              <a:gd name="T15" fmla="*/ 110 h 320"/>
              <a:gd name="T16" fmla="*/ 24 w 417"/>
              <a:gd name="T17" fmla="*/ 78 h 320"/>
              <a:gd name="T18" fmla="*/ 3 w 417"/>
              <a:gd name="T19" fmla="*/ 50 h 320"/>
              <a:gd name="T20" fmla="*/ 71 w 417"/>
              <a:gd name="T21" fmla="*/ 16 h 320"/>
              <a:gd name="T22" fmla="*/ 204 w 417"/>
              <a:gd name="T23" fmla="*/ 22 h 320"/>
              <a:gd name="T24" fmla="*/ 254 w 417"/>
              <a:gd name="T25" fmla="*/ 25 h 320"/>
              <a:gd name="T26" fmla="*/ 311 w 417"/>
              <a:gd name="T27" fmla="*/ 30 h 320"/>
              <a:gd name="T28" fmla="*/ 324 w 417"/>
              <a:gd name="T29" fmla="*/ 40 h 320"/>
              <a:gd name="T30" fmla="*/ 354 w 417"/>
              <a:gd name="T31" fmla="*/ 65 h 320"/>
              <a:gd name="T32" fmla="*/ 396 w 417"/>
              <a:gd name="T33" fmla="*/ 93 h 320"/>
              <a:gd name="T34" fmla="*/ 416 w 417"/>
              <a:gd name="T35" fmla="*/ 104 h 320"/>
              <a:gd name="T36" fmla="*/ 401 w 417"/>
              <a:gd name="T37" fmla="*/ 125 h 320"/>
              <a:gd name="T38" fmla="*/ 374 w 417"/>
              <a:gd name="T39" fmla="*/ 176 h 320"/>
              <a:gd name="T40" fmla="*/ 357 w 417"/>
              <a:gd name="T41" fmla="*/ 206 h 320"/>
              <a:gd name="T42" fmla="*/ 326 w 417"/>
              <a:gd name="T43" fmla="*/ 239 h 320"/>
              <a:gd name="T44" fmla="*/ 276 w 417"/>
              <a:gd name="T45" fmla="*/ 289 h 320"/>
              <a:gd name="T46" fmla="*/ 232 w 417"/>
              <a:gd name="T47" fmla="*/ 315 h 32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17" h="320">
                <a:moveTo>
                  <a:pt x="232" y="315"/>
                </a:moveTo>
                <a:cubicBezTo>
                  <a:pt x="226" y="312"/>
                  <a:pt x="217" y="302"/>
                  <a:pt x="212" y="292"/>
                </a:cubicBezTo>
                <a:cubicBezTo>
                  <a:pt x="206" y="282"/>
                  <a:pt x="201" y="274"/>
                  <a:pt x="200" y="274"/>
                </a:cubicBezTo>
                <a:cubicBezTo>
                  <a:pt x="194" y="274"/>
                  <a:pt x="176" y="252"/>
                  <a:pt x="176" y="245"/>
                </a:cubicBezTo>
                <a:cubicBezTo>
                  <a:pt x="176" y="241"/>
                  <a:pt x="169" y="230"/>
                  <a:pt x="161" y="220"/>
                </a:cubicBezTo>
                <a:cubicBezTo>
                  <a:pt x="153" y="210"/>
                  <a:pt x="141" y="195"/>
                  <a:pt x="134" y="186"/>
                </a:cubicBezTo>
                <a:cubicBezTo>
                  <a:pt x="128" y="178"/>
                  <a:pt x="112" y="163"/>
                  <a:pt x="100" y="154"/>
                </a:cubicBezTo>
                <a:cubicBezTo>
                  <a:pt x="88" y="144"/>
                  <a:pt x="69" y="125"/>
                  <a:pt x="58" y="110"/>
                </a:cubicBezTo>
                <a:cubicBezTo>
                  <a:pt x="47" y="96"/>
                  <a:pt x="32" y="82"/>
                  <a:pt x="24" y="78"/>
                </a:cubicBezTo>
                <a:cubicBezTo>
                  <a:pt x="5" y="68"/>
                  <a:pt x="0" y="61"/>
                  <a:pt x="3" y="50"/>
                </a:cubicBezTo>
                <a:cubicBezTo>
                  <a:pt x="5" y="41"/>
                  <a:pt x="25" y="31"/>
                  <a:pt x="71" y="16"/>
                </a:cubicBezTo>
                <a:cubicBezTo>
                  <a:pt x="119" y="0"/>
                  <a:pt x="204" y="4"/>
                  <a:pt x="204" y="22"/>
                </a:cubicBezTo>
                <a:cubicBezTo>
                  <a:pt x="204" y="25"/>
                  <a:pt x="221" y="26"/>
                  <a:pt x="254" y="25"/>
                </a:cubicBezTo>
                <a:cubicBezTo>
                  <a:pt x="293" y="24"/>
                  <a:pt x="305" y="25"/>
                  <a:pt x="311" y="30"/>
                </a:cubicBezTo>
                <a:cubicBezTo>
                  <a:pt x="315" y="33"/>
                  <a:pt x="321" y="38"/>
                  <a:pt x="324" y="40"/>
                </a:cubicBezTo>
                <a:cubicBezTo>
                  <a:pt x="327" y="43"/>
                  <a:pt x="341" y="54"/>
                  <a:pt x="354" y="65"/>
                </a:cubicBezTo>
                <a:cubicBezTo>
                  <a:pt x="367" y="76"/>
                  <a:pt x="386" y="89"/>
                  <a:pt x="396" y="93"/>
                </a:cubicBezTo>
                <a:cubicBezTo>
                  <a:pt x="406" y="98"/>
                  <a:pt x="415" y="103"/>
                  <a:pt x="416" y="104"/>
                </a:cubicBezTo>
                <a:cubicBezTo>
                  <a:pt x="417" y="105"/>
                  <a:pt x="410" y="114"/>
                  <a:pt x="401" y="125"/>
                </a:cubicBezTo>
                <a:cubicBezTo>
                  <a:pt x="382" y="148"/>
                  <a:pt x="378" y="155"/>
                  <a:pt x="374" y="176"/>
                </a:cubicBezTo>
                <a:cubicBezTo>
                  <a:pt x="372" y="187"/>
                  <a:pt x="367" y="196"/>
                  <a:pt x="357" y="206"/>
                </a:cubicBezTo>
                <a:cubicBezTo>
                  <a:pt x="349" y="213"/>
                  <a:pt x="335" y="228"/>
                  <a:pt x="326" y="239"/>
                </a:cubicBezTo>
                <a:cubicBezTo>
                  <a:pt x="317" y="249"/>
                  <a:pt x="295" y="272"/>
                  <a:pt x="276" y="289"/>
                </a:cubicBezTo>
                <a:cubicBezTo>
                  <a:pt x="243" y="319"/>
                  <a:pt x="241" y="320"/>
                  <a:pt x="232" y="315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52" name="Freeform 118"/>
          <p:cNvSpPr/>
          <p:nvPr userDrawn="1">
            <p:custDataLst>
              <p:tags r:id="rId153"/>
            </p:custDataLst>
          </p:nvPr>
        </p:nvSpPr>
        <p:spPr bwMode="black">
          <a:xfrm>
            <a:off x="2482218" y="1766778"/>
            <a:ext cx="814388" cy="568325"/>
          </a:xfrm>
          <a:custGeom>
            <a:gdLst>
              <a:gd name="T0" fmla="*/ 517 w 566"/>
              <a:gd name="T1" fmla="*/ 379 h 395"/>
              <a:gd name="T2" fmla="*/ 473 w 566"/>
              <a:gd name="T3" fmla="*/ 371 h 395"/>
              <a:gd name="T4" fmla="*/ 432 w 566"/>
              <a:gd name="T5" fmla="*/ 359 h 395"/>
              <a:gd name="T6" fmla="*/ 342 w 566"/>
              <a:gd name="T7" fmla="*/ 336 h 395"/>
              <a:gd name="T8" fmla="*/ 314 w 566"/>
              <a:gd name="T9" fmla="*/ 332 h 395"/>
              <a:gd name="T10" fmla="*/ 284 w 566"/>
              <a:gd name="T11" fmla="*/ 328 h 395"/>
              <a:gd name="T12" fmla="*/ 250 w 566"/>
              <a:gd name="T13" fmla="*/ 324 h 395"/>
              <a:gd name="T14" fmla="*/ 222 w 566"/>
              <a:gd name="T15" fmla="*/ 320 h 395"/>
              <a:gd name="T16" fmla="*/ 188 w 566"/>
              <a:gd name="T17" fmla="*/ 316 h 395"/>
              <a:gd name="T18" fmla="*/ 128 w 566"/>
              <a:gd name="T19" fmla="*/ 308 h 395"/>
              <a:gd name="T20" fmla="*/ 60 w 566"/>
              <a:gd name="T21" fmla="*/ 299 h 395"/>
              <a:gd name="T22" fmla="*/ 1 w 566"/>
              <a:gd name="T23" fmla="*/ 283 h 395"/>
              <a:gd name="T24" fmla="*/ 28 w 566"/>
              <a:gd name="T25" fmla="*/ 122 h 395"/>
              <a:gd name="T26" fmla="*/ 32 w 566"/>
              <a:gd name="T27" fmla="*/ 98 h 395"/>
              <a:gd name="T28" fmla="*/ 41 w 566"/>
              <a:gd name="T29" fmla="*/ 42 h 395"/>
              <a:gd name="T30" fmla="*/ 58 w 566"/>
              <a:gd name="T31" fmla="*/ 0 h 395"/>
              <a:gd name="T32" fmla="*/ 129 w 566"/>
              <a:gd name="T33" fmla="*/ 7 h 395"/>
              <a:gd name="T34" fmla="*/ 192 w 566"/>
              <a:gd name="T35" fmla="*/ 16 h 395"/>
              <a:gd name="T36" fmla="*/ 222 w 566"/>
              <a:gd name="T37" fmla="*/ 20 h 395"/>
              <a:gd name="T38" fmla="*/ 256 w 566"/>
              <a:gd name="T39" fmla="*/ 24 h 395"/>
              <a:gd name="T40" fmla="*/ 286 w 566"/>
              <a:gd name="T41" fmla="*/ 28 h 395"/>
              <a:gd name="T42" fmla="*/ 344 w 566"/>
              <a:gd name="T43" fmla="*/ 36 h 395"/>
              <a:gd name="T44" fmla="*/ 524 w 566"/>
              <a:gd name="T45" fmla="*/ 59 h 395"/>
              <a:gd name="T46" fmla="*/ 547 w 566"/>
              <a:gd name="T47" fmla="*/ 61 h 395"/>
              <a:gd name="T48" fmla="*/ 554 w 566"/>
              <a:gd name="T49" fmla="*/ 69 h 395"/>
              <a:gd name="T50" fmla="*/ 558 w 566"/>
              <a:gd name="T51" fmla="*/ 102 h 395"/>
              <a:gd name="T52" fmla="*/ 564 w 566"/>
              <a:gd name="T53" fmla="*/ 144 h 395"/>
              <a:gd name="T54" fmla="*/ 556 w 566"/>
              <a:gd name="T55" fmla="*/ 259 h 395"/>
              <a:gd name="T56" fmla="*/ 551 w 566"/>
              <a:gd name="T57" fmla="*/ 313 h 395"/>
              <a:gd name="T58" fmla="*/ 548 w 566"/>
              <a:gd name="T59" fmla="*/ 353 h 395"/>
              <a:gd name="T60" fmla="*/ 517 w 566"/>
              <a:gd name="T61" fmla="*/ 379 h 395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66" h="395">
                <a:moveTo>
                  <a:pt x="517" y="379"/>
                </a:moveTo>
                <a:cubicBezTo>
                  <a:pt x="500" y="370"/>
                  <a:pt x="493" y="369"/>
                  <a:pt x="473" y="371"/>
                </a:cubicBezTo>
                <a:cubicBezTo>
                  <a:pt x="450" y="372"/>
                  <a:pt x="447" y="372"/>
                  <a:pt x="432" y="359"/>
                </a:cubicBezTo>
                <a:cubicBezTo>
                  <a:pt x="415" y="346"/>
                  <a:pt x="402" y="342"/>
                  <a:pt x="342" y="336"/>
                </a:cubicBezTo>
                <a:cubicBezTo>
                  <a:pt x="330" y="334"/>
                  <a:pt x="317" y="332"/>
                  <a:pt x="314" y="332"/>
                </a:cubicBezTo>
                <a:cubicBezTo>
                  <a:pt x="311" y="331"/>
                  <a:pt x="297" y="329"/>
                  <a:pt x="284" y="328"/>
                </a:cubicBezTo>
                <a:cubicBezTo>
                  <a:pt x="271" y="326"/>
                  <a:pt x="256" y="324"/>
                  <a:pt x="250" y="324"/>
                </a:cubicBezTo>
                <a:cubicBezTo>
                  <a:pt x="245" y="323"/>
                  <a:pt x="232" y="321"/>
                  <a:pt x="222" y="320"/>
                </a:cubicBezTo>
                <a:cubicBezTo>
                  <a:pt x="212" y="319"/>
                  <a:pt x="197" y="317"/>
                  <a:pt x="188" y="316"/>
                </a:cubicBezTo>
                <a:cubicBezTo>
                  <a:pt x="179" y="315"/>
                  <a:pt x="152" y="311"/>
                  <a:pt x="128" y="308"/>
                </a:cubicBezTo>
                <a:cubicBezTo>
                  <a:pt x="104" y="305"/>
                  <a:pt x="73" y="301"/>
                  <a:pt x="60" y="299"/>
                </a:cubicBezTo>
                <a:cubicBezTo>
                  <a:pt x="5" y="293"/>
                  <a:pt x="0" y="292"/>
                  <a:pt x="1" y="283"/>
                </a:cubicBezTo>
                <a:cubicBezTo>
                  <a:pt x="2" y="275"/>
                  <a:pt x="25" y="139"/>
                  <a:pt x="28" y="122"/>
                </a:cubicBezTo>
                <a:cubicBezTo>
                  <a:pt x="29" y="116"/>
                  <a:pt x="31" y="106"/>
                  <a:pt x="32" y="98"/>
                </a:cubicBezTo>
                <a:cubicBezTo>
                  <a:pt x="33" y="90"/>
                  <a:pt x="37" y="65"/>
                  <a:pt x="41" y="42"/>
                </a:cubicBezTo>
                <a:cubicBezTo>
                  <a:pt x="48" y="1"/>
                  <a:pt x="49" y="0"/>
                  <a:pt x="58" y="0"/>
                </a:cubicBezTo>
                <a:cubicBezTo>
                  <a:pt x="69" y="0"/>
                  <a:pt x="118" y="5"/>
                  <a:pt x="129" y="7"/>
                </a:cubicBezTo>
                <a:cubicBezTo>
                  <a:pt x="139" y="9"/>
                  <a:pt x="169" y="13"/>
                  <a:pt x="192" y="16"/>
                </a:cubicBezTo>
                <a:cubicBezTo>
                  <a:pt x="203" y="17"/>
                  <a:pt x="217" y="19"/>
                  <a:pt x="222" y="20"/>
                </a:cubicBezTo>
                <a:cubicBezTo>
                  <a:pt x="228" y="21"/>
                  <a:pt x="243" y="22"/>
                  <a:pt x="256" y="24"/>
                </a:cubicBezTo>
                <a:cubicBezTo>
                  <a:pt x="269" y="25"/>
                  <a:pt x="283" y="27"/>
                  <a:pt x="286" y="28"/>
                </a:cubicBezTo>
                <a:cubicBezTo>
                  <a:pt x="289" y="28"/>
                  <a:pt x="316" y="32"/>
                  <a:pt x="344" y="36"/>
                </a:cubicBezTo>
                <a:cubicBezTo>
                  <a:pt x="397" y="42"/>
                  <a:pt x="502" y="56"/>
                  <a:pt x="524" y="59"/>
                </a:cubicBezTo>
                <a:cubicBezTo>
                  <a:pt x="531" y="60"/>
                  <a:pt x="541" y="61"/>
                  <a:pt x="547" y="61"/>
                </a:cubicBezTo>
                <a:cubicBezTo>
                  <a:pt x="557" y="62"/>
                  <a:pt x="558" y="63"/>
                  <a:pt x="554" y="69"/>
                </a:cubicBezTo>
                <a:cubicBezTo>
                  <a:pt x="551" y="75"/>
                  <a:pt x="552" y="83"/>
                  <a:pt x="558" y="102"/>
                </a:cubicBezTo>
                <a:cubicBezTo>
                  <a:pt x="564" y="119"/>
                  <a:pt x="566" y="133"/>
                  <a:pt x="564" y="144"/>
                </a:cubicBezTo>
                <a:cubicBezTo>
                  <a:pt x="561" y="169"/>
                  <a:pt x="558" y="204"/>
                  <a:pt x="556" y="259"/>
                </a:cubicBezTo>
                <a:cubicBezTo>
                  <a:pt x="555" y="288"/>
                  <a:pt x="553" y="312"/>
                  <a:pt x="551" y="313"/>
                </a:cubicBezTo>
                <a:cubicBezTo>
                  <a:pt x="548" y="315"/>
                  <a:pt x="547" y="332"/>
                  <a:pt x="548" y="353"/>
                </a:cubicBezTo>
                <a:cubicBezTo>
                  <a:pt x="548" y="395"/>
                  <a:pt x="548" y="395"/>
                  <a:pt x="517" y="379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53" name="Freeform 119"/>
          <p:cNvSpPr/>
          <p:nvPr userDrawn="1">
            <p:custDataLst>
              <p:tags r:id="rId154"/>
            </p:custDataLst>
          </p:nvPr>
        </p:nvSpPr>
        <p:spPr bwMode="black">
          <a:xfrm>
            <a:off x="3980819" y="3252678"/>
            <a:ext cx="1000125" cy="273050"/>
          </a:xfrm>
          <a:custGeom>
            <a:gdLst>
              <a:gd name="T0" fmla="*/ 0 w 696"/>
              <a:gd name="T1" fmla="*/ 186 h 191"/>
              <a:gd name="T2" fmla="*/ 19 w 696"/>
              <a:gd name="T3" fmla="*/ 135 h 191"/>
              <a:gd name="T4" fmla="*/ 47 w 696"/>
              <a:gd name="T5" fmla="*/ 66 h 191"/>
              <a:gd name="T6" fmla="*/ 69 w 696"/>
              <a:gd name="T7" fmla="*/ 37 h 191"/>
              <a:gd name="T8" fmla="*/ 128 w 696"/>
              <a:gd name="T9" fmla="*/ 34 h 191"/>
              <a:gd name="T10" fmla="*/ 184 w 696"/>
              <a:gd name="T11" fmla="*/ 24 h 191"/>
              <a:gd name="T12" fmla="*/ 290 w 696"/>
              <a:gd name="T13" fmla="*/ 14 h 191"/>
              <a:gd name="T14" fmla="*/ 669 w 696"/>
              <a:gd name="T15" fmla="*/ 1 h 191"/>
              <a:gd name="T16" fmla="*/ 696 w 696"/>
              <a:gd name="T17" fmla="*/ 1 h 191"/>
              <a:gd name="T18" fmla="*/ 679 w 696"/>
              <a:gd name="T19" fmla="*/ 28 h 191"/>
              <a:gd name="T20" fmla="*/ 641 w 696"/>
              <a:gd name="T21" fmla="*/ 49 h 191"/>
              <a:gd name="T22" fmla="*/ 589 w 696"/>
              <a:gd name="T23" fmla="*/ 83 h 191"/>
              <a:gd name="T24" fmla="*/ 548 w 696"/>
              <a:gd name="T25" fmla="*/ 111 h 191"/>
              <a:gd name="T26" fmla="*/ 518 w 696"/>
              <a:gd name="T27" fmla="*/ 133 h 191"/>
              <a:gd name="T28" fmla="*/ 486 w 696"/>
              <a:gd name="T29" fmla="*/ 160 h 191"/>
              <a:gd name="T30" fmla="*/ 464 w 696"/>
              <a:gd name="T31" fmla="*/ 176 h 191"/>
              <a:gd name="T32" fmla="*/ 228 w 696"/>
              <a:gd name="T33" fmla="*/ 186 h 191"/>
              <a:gd name="T34" fmla="*/ 17 w 696"/>
              <a:gd name="T35" fmla="*/ 190 h 191"/>
              <a:gd name="T36" fmla="*/ 0 w 696"/>
              <a:gd name="T37" fmla="*/ 186 h 191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96" h="191">
                <a:moveTo>
                  <a:pt x="0" y="186"/>
                </a:moveTo>
                <a:cubicBezTo>
                  <a:pt x="0" y="175"/>
                  <a:pt x="9" y="152"/>
                  <a:pt x="19" y="135"/>
                </a:cubicBezTo>
                <a:cubicBezTo>
                  <a:pt x="34" y="112"/>
                  <a:pt x="44" y="87"/>
                  <a:pt x="47" y="66"/>
                </a:cubicBezTo>
                <a:cubicBezTo>
                  <a:pt x="49" y="47"/>
                  <a:pt x="56" y="38"/>
                  <a:pt x="69" y="37"/>
                </a:cubicBezTo>
                <a:cubicBezTo>
                  <a:pt x="74" y="37"/>
                  <a:pt x="101" y="35"/>
                  <a:pt x="128" y="34"/>
                </a:cubicBezTo>
                <a:cubicBezTo>
                  <a:pt x="170" y="32"/>
                  <a:pt x="179" y="30"/>
                  <a:pt x="184" y="24"/>
                </a:cubicBezTo>
                <a:cubicBezTo>
                  <a:pt x="190" y="17"/>
                  <a:pt x="199" y="16"/>
                  <a:pt x="290" y="14"/>
                </a:cubicBezTo>
                <a:cubicBezTo>
                  <a:pt x="556" y="7"/>
                  <a:pt x="616" y="5"/>
                  <a:pt x="669" y="1"/>
                </a:cubicBezTo>
                <a:cubicBezTo>
                  <a:pt x="684" y="0"/>
                  <a:pt x="696" y="0"/>
                  <a:pt x="696" y="1"/>
                </a:cubicBezTo>
                <a:cubicBezTo>
                  <a:pt x="696" y="7"/>
                  <a:pt x="687" y="22"/>
                  <a:pt x="679" y="28"/>
                </a:cubicBezTo>
                <a:cubicBezTo>
                  <a:pt x="674" y="32"/>
                  <a:pt x="657" y="42"/>
                  <a:pt x="641" y="49"/>
                </a:cubicBezTo>
                <a:cubicBezTo>
                  <a:pt x="625" y="57"/>
                  <a:pt x="602" y="72"/>
                  <a:pt x="589" y="83"/>
                </a:cubicBezTo>
                <a:cubicBezTo>
                  <a:pt x="576" y="94"/>
                  <a:pt x="558" y="106"/>
                  <a:pt x="548" y="111"/>
                </a:cubicBezTo>
                <a:cubicBezTo>
                  <a:pt x="538" y="115"/>
                  <a:pt x="524" y="125"/>
                  <a:pt x="518" y="133"/>
                </a:cubicBezTo>
                <a:cubicBezTo>
                  <a:pt x="511" y="141"/>
                  <a:pt x="497" y="153"/>
                  <a:pt x="486" y="160"/>
                </a:cubicBezTo>
                <a:cubicBezTo>
                  <a:pt x="475" y="168"/>
                  <a:pt x="465" y="174"/>
                  <a:pt x="464" y="176"/>
                </a:cubicBezTo>
                <a:cubicBezTo>
                  <a:pt x="460" y="182"/>
                  <a:pt x="415" y="183"/>
                  <a:pt x="228" y="186"/>
                </a:cubicBezTo>
                <a:cubicBezTo>
                  <a:pt x="121" y="187"/>
                  <a:pt x="26" y="189"/>
                  <a:pt x="17" y="190"/>
                </a:cubicBezTo>
                <a:cubicBezTo>
                  <a:pt x="6" y="191"/>
                  <a:pt x="0" y="190"/>
                  <a:pt x="0" y="186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54" name="Freeform 120"/>
          <p:cNvSpPr/>
          <p:nvPr userDrawn="1">
            <p:custDataLst>
              <p:tags r:id="rId155"/>
            </p:custDataLst>
          </p:nvPr>
        </p:nvSpPr>
        <p:spPr bwMode="black">
          <a:xfrm>
            <a:off x="1893256" y="3209816"/>
            <a:ext cx="1627188" cy="1725613"/>
          </a:xfrm>
          <a:custGeom>
            <a:gdLst>
              <a:gd name="T0" fmla="*/ 703 w 1132"/>
              <a:gd name="T1" fmla="*/ 1170 h 1202"/>
              <a:gd name="T2" fmla="*/ 626 w 1132"/>
              <a:gd name="T3" fmla="*/ 1137 h 1202"/>
              <a:gd name="T4" fmla="*/ 594 w 1132"/>
              <a:gd name="T5" fmla="*/ 1112 h 1202"/>
              <a:gd name="T6" fmla="*/ 579 w 1132"/>
              <a:gd name="T7" fmla="*/ 1054 h 1202"/>
              <a:gd name="T8" fmla="*/ 543 w 1132"/>
              <a:gd name="T9" fmla="*/ 960 h 1202"/>
              <a:gd name="T10" fmla="*/ 448 w 1132"/>
              <a:gd name="T11" fmla="*/ 771 h 1202"/>
              <a:gd name="T12" fmla="*/ 405 w 1132"/>
              <a:gd name="T13" fmla="*/ 727 h 1202"/>
              <a:gd name="T14" fmla="*/ 300 w 1132"/>
              <a:gd name="T15" fmla="*/ 737 h 1202"/>
              <a:gd name="T16" fmla="*/ 268 w 1132"/>
              <a:gd name="T17" fmla="*/ 773 h 1202"/>
              <a:gd name="T18" fmla="*/ 198 w 1132"/>
              <a:gd name="T19" fmla="*/ 760 h 1202"/>
              <a:gd name="T20" fmla="*/ 129 w 1132"/>
              <a:gd name="T21" fmla="*/ 608 h 1202"/>
              <a:gd name="T22" fmla="*/ 74 w 1132"/>
              <a:gd name="T23" fmla="*/ 544 h 1202"/>
              <a:gd name="T24" fmla="*/ 39 w 1132"/>
              <a:gd name="T25" fmla="*/ 498 h 1202"/>
              <a:gd name="T26" fmla="*/ 18 w 1132"/>
              <a:gd name="T27" fmla="*/ 453 h 1202"/>
              <a:gd name="T28" fmla="*/ 28 w 1132"/>
              <a:gd name="T29" fmla="*/ 423 h 1202"/>
              <a:gd name="T30" fmla="*/ 175 w 1132"/>
              <a:gd name="T31" fmla="*/ 444 h 1202"/>
              <a:gd name="T32" fmla="*/ 242 w 1132"/>
              <a:gd name="T33" fmla="*/ 456 h 1202"/>
              <a:gd name="T34" fmla="*/ 316 w 1132"/>
              <a:gd name="T35" fmla="*/ 463 h 1202"/>
              <a:gd name="T36" fmla="*/ 330 w 1132"/>
              <a:gd name="T37" fmla="*/ 380 h 1202"/>
              <a:gd name="T38" fmla="*/ 371 w 1132"/>
              <a:gd name="T39" fmla="*/ 130 h 1202"/>
              <a:gd name="T40" fmla="*/ 378 w 1132"/>
              <a:gd name="T41" fmla="*/ 86 h 1202"/>
              <a:gd name="T42" fmla="*/ 386 w 1132"/>
              <a:gd name="T43" fmla="*/ 36 h 1202"/>
              <a:gd name="T44" fmla="*/ 392 w 1132"/>
              <a:gd name="T45" fmla="*/ 3 h 1202"/>
              <a:gd name="T46" fmla="*/ 485 w 1132"/>
              <a:gd name="T47" fmla="*/ 11 h 1202"/>
              <a:gd name="T48" fmla="*/ 544 w 1132"/>
              <a:gd name="T49" fmla="*/ 20 h 1202"/>
              <a:gd name="T50" fmla="*/ 618 w 1132"/>
              <a:gd name="T51" fmla="*/ 30 h 1202"/>
              <a:gd name="T52" fmla="*/ 602 w 1132"/>
              <a:gd name="T53" fmla="*/ 230 h 1202"/>
              <a:gd name="T54" fmla="*/ 663 w 1132"/>
              <a:gd name="T55" fmla="*/ 270 h 1202"/>
              <a:gd name="T56" fmla="*/ 775 w 1132"/>
              <a:gd name="T57" fmla="*/ 317 h 1202"/>
              <a:gd name="T58" fmla="*/ 824 w 1132"/>
              <a:gd name="T59" fmla="*/ 334 h 1202"/>
              <a:gd name="T60" fmla="*/ 1055 w 1132"/>
              <a:gd name="T61" fmla="*/ 367 h 1202"/>
              <a:gd name="T62" fmla="*/ 1100 w 1132"/>
              <a:gd name="T63" fmla="*/ 386 h 1202"/>
              <a:gd name="T64" fmla="*/ 1100 w 1132"/>
              <a:gd name="T65" fmla="*/ 560 h 1202"/>
              <a:gd name="T66" fmla="*/ 1128 w 1132"/>
              <a:gd name="T67" fmla="*/ 636 h 1202"/>
              <a:gd name="T68" fmla="*/ 1114 w 1132"/>
              <a:gd name="T69" fmla="*/ 718 h 1202"/>
              <a:gd name="T70" fmla="*/ 1094 w 1132"/>
              <a:gd name="T71" fmla="*/ 797 h 1202"/>
              <a:gd name="T72" fmla="*/ 1030 w 1132"/>
              <a:gd name="T73" fmla="*/ 837 h 1202"/>
              <a:gd name="T74" fmla="*/ 868 w 1132"/>
              <a:gd name="T75" fmla="*/ 933 h 1202"/>
              <a:gd name="T76" fmla="*/ 785 w 1132"/>
              <a:gd name="T77" fmla="*/ 1018 h 1202"/>
              <a:gd name="T78" fmla="*/ 772 w 1132"/>
              <a:gd name="T79" fmla="*/ 1112 h 1202"/>
              <a:gd name="T80" fmla="*/ 745 w 1132"/>
              <a:gd name="T81" fmla="*/ 1185 h 1202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32" h="1202">
                <a:moveTo>
                  <a:pt x="745" y="1185"/>
                </a:moveTo>
                <a:cubicBezTo>
                  <a:pt x="726" y="1172"/>
                  <a:pt x="720" y="1170"/>
                  <a:pt x="703" y="1170"/>
                </a:cubicBezTo>
                <a:cubicBezTo>
                  <a:pt x="688" y="1170"/>
                  <a:pt x="680" y="1167"/>
                  <a:pt x="663" y="1156"/>
                </a:cubicBezTo>
                <a:cubicBezTo>
                  <a:pt x="652" y="1148"/>
                  <a:pt x="635" y="1140"/>
                  <a:pt x="626" y="1137"/>
                </a:cubicBezTo>
                <a:cubicBezTo>
                  <a:pt x="617" y="1134"/>
                  <a:pt x="608" y="1129"/>
                  <a:pt x="605" y="1125"/>
                </a:cubicBezTo>
                <a:cubicBezTo>
                  <a:pt x="602" y="1121"/>
                  <a:pt x="597" y="1115"/>
                  <a:pt x="594" y="1112"/>
                </a:cubicBezTo>
                <a:cubicBezTo>
                  <a:pt x="589" y="1107"/>
                  <a:pt x="578" y="1072"/>
                  <a:pt x="582" y="1071"/>
                </a:cubicBezTo>
                <a:cubicBezTo>
                  <a:pt x="583" y="1071"/>
                  <a:pt x="583" y="1077"/>
                  <a:pt x="579" y="1054"/>
                </a:cubicBezTo>
                <a:cubicBezTo>
                  <a:pt x="578" y="1041"/>
                  <a:pt x="575" y="1050"/>
                  <a:pt x="573" y="1021"/>
                </a:cubicBezTo>
                <a:cubicBezTo>
                  <a:pt x="570" y="991"/>
                  <a:pt x="558" y="984"/>
                  <a:pt x="543" y="960"/>
                </a:cubicBezTo>
                <a:cubicBezTo>
                  <a:pt x="517" y="915"/>
                  <a:pt x="497" y="857"/>
                  <a:pt x="494" y="841"/>
                </a:cubicBezTo>
                <a:cubicBezTo>
                  <a:pt x="490" y="820"/>
                  <a:pt x="470" y="786"/>
                  <a:pt x="448" y="771"/>
                </a:cubicBezTo>
                <a:cubicBezTo>
                  <a:pt x="440" y="765"/>
                  <a:pt x="447" y="761"/>
                  <a:pt x="442" y="753"/>
                </a:cubicBezTo>
                <a:cubicBezTo>
                  <a:pt x="436" y="741"/>
                  <a:pt x="417" y="729"/>
                  <a:pt x="405" y="727"/>
                </a:cubicBezTo>
                <a:cubicBezTo>
                  <a:pt x="397" y="726"/>
                  <a:pt x="380" y="723"/>
                  <a:pt x="368" y="720"/>
                </a:cubicBezTo>
                <a:cubicBezTo>
                  <a:pt x="335" y="713"/>
                  <a:pt x="309" y="719"/>
                  <a:pt x="300" y="737"/>
                </a:cubicBezTo>
                <a:cubicBezTo>
                  <a:pt x="295" y="745"/>
                  <a:pt x="287" y="747"/>
                  <a:pt x="287" y="750"/>
                </a:cubicBezTo>
                <a:cubicBezTo>
                  <a:pt x="287" y="752"/>
                  <a:pt x="275" y="765"/>
                  <a:pt x="268" y="773"/>
                </a:cubicBezTo>
                <a:cubicBezTo>
                  <a:pt x="258" y="784"/>
                  <a:pt x="262" y="789"/>
                  <a:pt x="252" y="789"/>
                </a:cubicBezTo>
                <a:cubicBezTo>
                  <a:pt x="233" y="789"/>
                  <a:pt x="228" y="787"/>
                  <a:pt x="198" y="760"/>
                </a:cubicBezTo>
                <a:cubicBezTo>
                  <a:pt x="158" y="723"/>
                  <a:pt x="142" y="695"/>
                  <a:pt x="141" y="673"/>
                </a:cubicBezTo>
                <a:cubicBezTo>
                  <a:pt x="141" y="664"/>
                  <a:pt x="133" y="619"/>
                  <a:pt x="129" y="608"/>
                </a:cubicBezTo>
                <a:cubicBezTo>
                  <a:pt x="125" y="598"/>
                  <a:pt x="99" y="578"/>
                  <a:pt x="95" y="573"/>
                </a:cubicBezTo>
                <a:cubicBezTo>
                  <a:pt x="88" y="565"/>
                  <a:pt x="109" y="579"/>
                  <a:pt x="74" y="544"/>
                </a:cubicBezTo>
                <a:cubicBezTo>
                  <a:pt x="65" y="535"/>
                  <a:pt x="61" y="526"/>
                  <a:pt x="58" y="518"/>
                </a:cubicBezTo>
                <a:cubicBezTo>
                  <a:pt x="54" y="510"/>
                  <a:pt x="43" y="500"/>
                  <a:pt x="39" y="498"/>
                </a:cubicBezTo>
                <a:cubicBezTo>
                  <a:pt x="35" y="496"/>
                  <a:pt x="34" y="483"/>
                  <a:pt x="31" y="475"/>
                </a:cubicBezTo>
                <a:cubicBezTo>
                  <a:pt x="29" y="468"/>
                  <a:pt x="23" y="459"/>
                  <a:pt x="18" y="453"/>
                </a:cubicBezTo>
                <a:cubicBezTo>
                  <a:pt x="11" y="447"/>
                  <a:pt x="0" y="440"/>
                  <a:pt x="1" y="433"/>
                </a:cubicBezTo>
                <a:cubicBezTo>
                  <a:pt x="3" y="424"/>
                  <a:pt x="5" y="424"/>
                  <a:pt x="28" y="423"/>
                </a:cubicBezTo>
                <a:cubicBezTo>
                  <a:pt x="41" y="423"/>
                  <a:pt x="71" y="426"/>
                  <a:pt x="93" y="430"/>
                </a:cubicBezTo>
                <a:cubicBezTo>
                  <a:pt x="137" y="438"/>
                  <a:pt x="151" y="440"/>
                  <a:pt x="175" y="444"/>
                </a:cubicBezTo>
                <a:cubicBezTo>
                  <a:pt x="183" y="445"/>
                  <a:pt x="197" y="448"/>
                  <a:pt x="206" y="450"/>
                </a:cubicBezTo>
                <a:cubicBezTo>
                  <a:pt x="215" y="452"/>
                  <a:pt x="231" y="454"/>
                  <a:pt x="242" y="456"/>
                </a:cubicBezTo>
                <a:cubicBezTo>
                  <a:pt x="253" y="457"/>
                  <a:pt x="263" y="459"/>
                  <a:pt x="264" y="460"/>
                </a:cubicBezTo>
                <a:cubicBezTo>
                  <a:pt x="270" y="463"/>
                  <a:pt x="316" y="466"/>
                  <a:pt x="316" y="463"/>
                </a:cubicBezTo>
                <a:cubicBezTo>
                  <a:pt x="316" y="461"/>
                  <a:pt x="319" y="444"/>
                  <a:pt x="322" y="426"/>
                </a:cubicBezTo>
                <a:cubicBezTo>
                  <a:pt x="326" y="407"/>
                  <a:pt x="329" y="386"/>
                  <a:pt x="330" y="380"/>
                </a:cubicBezTo>
                <a:cubicBezTo>
                  <a:pt x="331" y="373"/>
                  <a:pt x="340" y="317"/>
                  <a:pt x="350" y="256"/>
                </a:cubicBezTo>
                <a:cubicBezTo>
                  <a:pt x="360" y="194"/>
                  <a:pt x="369" y="137"/>
                  <a:pt x="371" y="130"/>
                </a:cubicBezTo>
                <a:cubicBezTo>
                  <a:pt x="372" y="123"/>
                  <a:pt x="374" y="113"/>
                  <a:pt x="374" y="108"/>
                </a:cubicBezTo>
                <a:cubicBezTo>
                  <a:pt x="375" y="104"/>
                  <a:pt x="377" y="93"/>
                  <a:pt x="378" y="86"/>
                </a:cubicBezTo>
                <a:cubicBezTo>
                  <a:pt x="379" y="78"/>
                  <a:pt x="381" y="67"/>
                  <a:pt x="382" y="62"/>
                </a:cubicBezTo>
                <a:cubicBezTo>
                  <a:pt x="383" y="56"/>
                  <a:pt x="385" y="45"/>
                  <a:pt x="386" y="36"/>
                </a:cubicBezTo>
                <a:cubicBezTo>
                  <a:pt x="388" y="27"/>
                  <a:pt x="390" y="17"/>
                  <a:pt x="390" y="14"/>
                </a:cubicBezTo>
                <a:cubicBezTo>
                  <a:pt x="391" y="10"/>
                  <a:pt x="392" y="6"/>
                  <a:pt x="392" y="3"/>
                </a:cubicBezTo>
                <a:cubicBezTo>
                  <a:pt x="392" y="0"/>
                  <a:pt x="402" y="0"/>
                  <a:pt x="426" y="4"/>
                </a:cubicBezTo>
                <a:cubicBezTo>
                  <a:pt x="445" y="7"/>
                  <a:pt x="472" y="10"/>
                  <a:pt x="485" y="11"/>
                </a:cubicBezTo>
                <a:cubicBezTo>
                  <a:pt x="499" y="13"/>
                  <a:pt x="513" y="15"/>
                  <a:pt x="516" y="16"/>
                </a:cubicBezTo>
                <a:cubicBezTo>
                  <a:pt x="519" y="16"/>
                  <a:pt x="532" y="18"/>
                  <a:pt x="544" y="20"/>
                </a:cubicBezTo>
                <a:cubicBezTo>
                  <a:pt x="556" y="21"/>
                  <a:pt x="577" y="24"/>
                  <a:pt x="590" y="26"/>
                </a:cubicBezTo>
                <a:cubicBezTo>
                  <a:pt x="603" y="28"/>
                  <a:pt x="616" y="30"/>
                  <a:pt x="618" y="30"/>
                </a:cubicBezTo>
                <a:cubicBezTo>
                  <a:pt x="619" y="30"/>
                  <a:pt x="620" y="44"/>
                  <a:pt x="619" y="61"/>
                </a:cubicBezTo>
                <a:cubicBezTo>
                  <a:pt x="613" y="126"/>
                  <a:pt x="604" y="224"/>
                  <a:pt x="602" y="230"/>
                </a:cubicBezTo>
                <a:cubicBezTo>
                  <a:pt x="600" y="239"/>
                  <a:pt x="606" y="243"/>
                  <a:pt x="632" y="252"/>
                </a:cubicBezTo>
                <a:cubicBezTo>
                  <a:pt x="645" y="256"/>
                  <a:pt x="658" y="263"/>
                  <a:pt x="663" y="270"/>
                </a:cubicBezTo>
                <a:cubicBezTo>
                  <a:pt x="672" y="281"/>
                  <a:pt x="695" y="289"/>
                  <a:pt x="728" y="292"/>
                </a:cubicBezTo>
                <a:cubicBezTo>
                  <a:pt x="747" y="294"/>
                  <a:pt x="767" y="305"/>
                  <a:pt x="775" y="317"/>
                </a:cubicBezTo>
                <a:cubicBezTo>
                  <a:pt x="778" y="322"/>
                  <a:pt x="784" y="326"/>
                  <a:pt x="791" y="326"/>
                </a:cubicBezTo>
                <a:cubicBezTo>
                  <a:pt x="797" y="326"/>
                  <a:pt x="812" y="329"/>
                  <a:pt x="824" y="334"/>
                </a:cubicBezTo>
                <a:cubicBezTo>
                  <a:pt x="844" y="342"/>
                  <a:pt x="853" y="342"/>
                  <a:pt x="928" y="341"/>
                </a:cubicBezTo>
                <a:cubicBezTo>
                  <a:pt x="1018" y="340"/>
                  <a:pt x="1016" y="339"/>
                  <a:pt x="1055" y="367"/>
                </a:cubicBezTo>
                <a:cubicBezTo>
                  <a:pt x="1065" y="373"/>
                  <a:pt x="1079" y="380"/>
                  <a:pt x="1086" y="382"/>
                </a:cubicBezTo>
                <a:cubicBezTo>
                  <a:pt x="1100" y="386"/>
                  <a:pt x="1100" y="386"/>
                  <a:pt x="1100" y="386"/>
                </a:cubicBezTo>
                <a:cubicBezTo>
                  <a:pt x="1100" y="473"/>
                  <a:pt x="1100" y="473"/>
                  <a:pt x="1100" y="473"/>
                </a:cubicBezTo>
                <a:cubicBezTo>
                  <a:pt x="1100" y="560"/>
                  <a:pt x="1100" y="560"/>
                  <a:pt x="1100" y="560"/>
                </a:cubicBezTo>
                <a:cubicBezTo>
                  <a:pt x="1112" y="586"/>
                  <a:pt x="1112" y="586"/>
                  <a:pt x="1112" y="586"/>
                </a:cubicBezTo>
                <a:cubicBezTo>
                  <a:pt x="1118" y="600"/>
                  <a:pt x="1126" y="623"/>
                  <a:pt x="1128" y="636"/>
                </a:cubicBezTo>
                <a:cubicBezTo>
                  <a:pt x="1132" y="658"/>
                  <a:pt x="1132" y="662"/>
                  <a:pt x="1125" y="676"/>
                </a:cubicBezTo>
                <a:cubicBezTo>
                  <a:pt x="1121" y="685"/>
                  <a:pt x="1116" y="703"/>
                  <a:pt x="1114" y="718"/>
                </a:cubicBezTo>
                <a:cubicBezTo>
                  <a:pt x="1113" y="732"/>
                  <a:pt x="1108" y="753"/>
                  <a:pt x="1104" y="764"/>
                </a:cubicBezTo>
                <a:cubicBezTo>
                  <a:pt x="1100" y="775"/>
                  <a:pt x="1096" y="789"/>
                  <a:pt x="1094" y="797"/>
                </a:cubicBezTo>
                <a:cubicBezTo>
                  <a:pt x="1092" y="807"/>
                  <a:pt x="1089" y="810"/>
                  <a:pt x="1082" y="810"/>
                </a:cubicBezTo>
                <a:cubicBezTo>
                  <a:pt x="1067" y="810"/>
                  <a:pt x="1045" y="821"/>
                  <a:pt x="1030" y="837"/>
                </a:cubicBezTo>
                <a:cubicBezTo>
                  <a:pt x="1015" y="854"/>
                  <a:pt x="973" y="879"/>
                  <a:pt x="924" y="902"/>
                </a:cubicBezTo>
                <a:cubicBezTo>
                  <a:pt x="897" y="914"/>
                  <a:pt x="874" y="927"/>
                  <a:pt x="868" y="933"/>
                </a:cubicBezTo>
                <a:cubicBezTo>
                  <a:pt x="867" y="935"/>
                  <a:pt x="857" y="943"/>
                  <a:pt x="846" y="951"/>
                </a:cubicBezTo>
                <a:cubicBezTo>
                  <a:pt x="821" y="971"/>
                  <a:pt x="809" y="985"/>
                  <a:pt x="785" y="1018"/>
                </a:cubicBezTo>
                <a:cubicBezTo>
                  <a:pt x="767" y="1044"/>
                  <a:pt x="767" y="1046"/>
                  <a:pt x="768" y="1072"/>
                </a:cubicBezTo>
                <a:cubicBezTo>
                  <a:pt x="768" y="1087"/>
                  <a:pt x="770" y="1105"/>
                  <a:pt x="772" y="1112"/>
                </a:cubicBezTo>
                <a:cubicBezTo>
                  <a:pt x="776" y="1125"/>
                  <a:pt x="770" y="1170"/>
                  <a:pt x="767" y="1178"/>
                </a:cubicBezTo>
                <a:cubicBezTo>
                  <a:pt x="763" y="1186"/>
                  <a:pt x="768" y="1202"/>
                  <a:pt x="745" y="1185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55" name="Freeform 121"/>
          <p:cNvSpPr>
            <a:spLocks noEditPoints="1"/>
          </p:cNvSpPr>
          <p:nvPr userDrawn="1">
            <p:custDataLst>
              <p:tags r:id="rId156"/>
            </p:custDataLst>
          </p:nvPr>
        </p:nvSpPr>
        <p:spPr bwMode="black">
          <a:xfrm>
            <a:off x="1168299" y="2104860"/>
            <a:ext cx="698500" cy="871538"/>
          </a:xfrm>
          <a:custGeom>
            <a:gdLst>
              <a:gd name="T0" fmla="*/ 151 w 486"/>
              <a:gd name="T1" fmla="*/ 0 h 607"/>
              <a:gd name="T2" fmla="*/ 146 w 486"/>
              <a:gd name="T3" fmla="*/ 5 h 607"/>
              <a:gd name="T4" fmla="*/ 126 w 486"/>
              <a:gd name="T5" fmla="*/ 74 h 607"/>
              <a:gd name="T6" fmla="*/ 93 w 486"/>
              <a:gd name="T7" fmla="*/ 186 h 607"/>
              <a:gd name="T8" fmla="*/ 65 w 486"/>
              <a:gd name="T9" fmla="*/ 284 h 607"/>
              <a:gd name="T10" fmla="*/ 37 w 486"/>
              <a:gd name="T11" fmla="*/ 380 h 607"/>
              <a:gd name="T12" fmla="*/ 19 w 486"/>
              <a:gd name="T13" fmla="*/ 440 h 607"/>
              <a:gd name="T14" fmla="*/ 8 w 486"/>
              <a:gd name="T15" fmla="*/ 480 h 607"/>
              <a:gd name="T16" fmla="*/ 0 w 486"/>
              <a:gd name="T17" fmla="*/ 508 h 607"/>
              <a:gd name="T18" fmla="*/ 193 w 486"/>
              <a:gd name="T19" fmla="*/ 557 h 607"/>
              <a:gd name="T20" fmla="*/ 395 w 486"/>
              <a:gd name="T21" fmla="*/ 604 h 607"/>
              <a:gd name="T22" fmla="*/ 423 w 486"/>
              <a:gd name="T23" fmla="*/ 477 h 607"/>
              <a:gd name="T24" fmla="*/ 454 w 486"/>
              <a:gd name="T25" fmla="*/ 342 h 607"/>
              <a:gd name="T26" fmla="*/ 468 w 486"/>
              <a:gd name="T27" fmla="*/ 278 h 607"/>
              <a:gd name="T28" fmla="*/ 482 w 486"/>
              <a:gd name="T29" fmla="*/ 214 h 607"/>
              <a:gd name="T30" fmla="*/ 485 w 486"/>
              <a:gd name="T31" fmla="*/ 201 h 607"/>
              <a:gd name="T32" fmla="*/ 470 w 486"/>
              <a:gd name="T33" fmla="*/ 195 h 607"/>
              <a:gd name="T34" fmla="*/ 327 w 486"/>
              <a:gd name="T35" fmla="*/ 164 h 607"/>
              <a:gd name="T36" fmla="*/ 325 w 486"/>
              <a:gd name="T37" fmla="*/ 155 h 607"/>
              <a:gd name="T38" fmla="*/ 349 w 486"/>
              <a:gd name="T39" fmla="*/ 66 h 607"/>
              <a:gd name="T40" fmla="*/ 158 w 486"/>
              <a:gd name="T41" fmla="*/ 1 h 607"/>
              <a:gd name="T42" fmla="*/ 151 w 486"/>
              <a:gd name="T43" fmla="*/ 0 h 607"/>
              <a:gd name="T44" fmla="*/ 201 w 486"/>
              <a:gd name="T45" fmla="*/ 55 h 607"/>
              <a:gd name="T46" fmla="*/ 206 w 486"/>
              <a:gd name="T47" fmla="*/ 55 h 607"/>
              <a:gd name="T48" fmla="*/ 235 w 486"/>
              <a:gd name="T49" fmla="*/ 93 h 607"/>
              <a:gd name="T50" fmla="*/ 251 w 486"/>
              <a:gd name="T51" fmla="*/ 100 h 607"/>
              <a:gd name="T52" fmla="*/ 264 w 486"/>
              <a:gd name="T53" fmla="*/ 110 h 607"/>
              <a:gd name="T54" fmla="*/ 267 w 486"/>
              <a:gd name="T55" fmla="*/ 130 h 607"/>
              <a:gd name="T56" fmla="*/ 253 w 486"/>
              <a:gd name="T57" fmla="*/ 157 h 607"/>
              <a:gd name="T58" fmla="*/ 218 w 486"/>
              <a:gd name="T59" fmla="*/ 155 h 607"/>
              <a:gd name="T60" fmla="*/ 194 w 486"/>
              <a:gd name="T61" fmla="*/ 82 h 607"/>
              <a:gd name="T62" fmla="*/ 201 w 486"/>
              <a:gd name="T63" fmla="*/ 55 h 60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86" h="607">
                <a:moveTo>
                  <a:pt x="151" y="0"/>
                </a:moveTo>
                <a:cubicBezTo>
                  <a:pt x="148" y="0"/>
                  <a:pt x="146" y="2"/>
                  <a:pt x="146" y="5"/>
                </a:cubicBezTo>
                <a:cubicBezTo>
                  <a:pt x="144" y="9"/>
                  <a:pt x="136" y="39"/>
                  <a:pt x="126" y="74"/>
                </a:cubicBezTo>
                <a:cubicBezTo>
                  <a:pt x="116" y="108"/>
                  <a:pt x="101" y="158"/>
                  <a:pt x="93" y="186"/>
                </a:cubicBezTo>
                <a:cubicBezTo>
                  <a:pt x="85" y="213"/>
                  <a:pt x="72" y="257"/>
                  <a:pt x="65" y="284"/>
                </a:cubicBezTo>
                <a:cubicBezTo>
                  <a:pt x="57" y="310"/>
                  <a:pt x="44" y="353"/>
                  <a:pt x="37" y="380"/>
                </a:cubicBezTo>
                <a:cubicBezTo>
                  <a:pt x="29" y="406"/>
                  <a:pt x="21" y="433"/>
                  <a:pt x="19" y="440"/>
                </a:cubicBezTo>
                <a:cubicBezTo>
                  <a:pt x="17" y="446"/>
                  <a:pt x="12" y="464"/>
                  <a:pt x="8" y="480"/>
                </a:cubicBezTo>
                <a:cubicBezTo>
                  <a:pt x="3" y="495"/>
                  <a:pt x="0" y="508"/>
                  <a:pt x="0" y="508"/>
                </a:cubicBezTo>
                <a:cubicBezTo>
                  <a:pt x="1" y="508"/>
                  <a:pt x="88" y="530"/>
                  <a:pt x="193" y="557"/>
                </a:cubicBezTo>
                <a:cubicBezTo>
                  <a:pt x="382" y="604"/>
                  <a:pt x="395" y="607"/>
                  <a:pt x="395" y="604"/>
                </a:cubicBezTo>
                <a:cubicBezTo>
                  <a:pt x="395" y="603"/>
                  <a:pt x="408" y="546"/>
                  <a:pt x="423" y="477"/>
                </a:cubicBezTo>
                <a:cubicBezTo>
                  <a:pt x="439" y="408"/>
                  <a:pt x="453" y="347"/>
                  <a:pt x="454" y="342"/>
                </a:cubicBezTo>
                <a:cubicBezTo>
                  <a:pt x="455" y="336"/>
                  <a:pt x="461" y="308"/>
                  <a:pt x="468" y="278"/>
                </a:cubicBezTo>
                <a:cubicBezTo>
                  <a:pt x="474" y="249"/>
                  <a:pt x="481" y="220"/>
                  <a:pt x="482" y="214"/>
                </a:cubicBezTo>
                <a:cubicBezTo>
                  <a:pt x="483" y="209"/>
                  <a:pt x="484" y="203"/>
                  <a:pt x="485" y="201"/>
                </a:cubicBezTo>
                <a:cubicBezTo>
                  <a:pt x="486" y="200"/>
                  <a:pt x="479" y="197"/>
                  <a:pt x="470" y="195"/>
                </a:cubicBezTo>
                <a:cubicBezTo>
                  <a:pt x="437" y="190"/>
                  <a:pt x="332" y="166"/>
                  <a:pt x="327" y="164"/>
                </a:cubicBezTo>
                <a:cubicBezTo>
                  <a:pt x="325" y="162"/>
                  <a:pt x="324" y="158"/>
                  <a:pt x="325" y="155"/>
                </a:cubicBezTo>
                <a:cubicBezTo>
                  <a:pt x="328" y="146"/>
                  <a:pt x="348" y="72"/>
                  <a:pt x="349" y="66"/>
                </a:cubicBezTo>
                <a:cubicBezTo>
                  <a:pt x="349" y="62"/>
                  <a:pt x="282" y="39"/>
                  <a:pt x="158" y="1"/>
                </a:cubicBezTo>
                <a:cubicBezTo>
                  <a:pt x="155" y="0"/>
                  <a:pt x="153" y="0"/>
                  <a:pt x="151" y="0"/>
                </a:cubicBezTo>
                <a:close/>
                <a:moveTo>
                  <a:pt x="201" y="55"/>
                </a:moveTo>
                <a:cubicBezTo>
                  <a:pt x="202" y="54"/>
                  <a:pt x="204" y="55"/>
                  <a:pt x="206" y="55"/>
                </a:cubicBezTo>
                <a:cubicBezTo>
                  <a:pt x="220" y="59"/>
                  <a:pt x="235" y="77"/>
                  <a:pt x="235" y="93"/>
                </a:cubicBezTo>
                <a:cubicBezTo>
                  <a:pt x="235" y="107"/>
                  <a:pt x="243" y="110"/>
                  <a:pt x="251" y="100"/>
                </a:cubicBezTo>
                <a:cubicBezTo>
                  <a:pt x="258" y="92"/>
                  <a:pt x="267" y="99"/>
                  <a:pt x="264" y="110"/>
                </a:cubicBezTo>
                <a:cubicBezTo>
                  <a:pt x="263" y="114"/>
                  <a:pt x="264" y="123"/>
                  <a:pt x="267" y="130"/>
                </a:cubicBezTo>
                <a:cubicBezTo>
                  <a:pt x="272" y="144"/>
                  <a:pt x="268" y="152"/>
                  <a:pt x="253" y="157"/>
                </a:cubicBezTo>
                <a:cubicBezTo>
                  <a:pt x="231" y="166"/>
                  <a:pt x="229" y="166"/>
                  <a:pt x="218" y="155"/>
                </a:cubicBezTo>
                <a:cubicBezTo>
                  <a:pt x="198" y="132"/>
                  <a:pt x="191" y="114"/>
                  <a:pt x="194" y="82"/>
                </a:cubicBezTo>
                <a:cubicBezTo>
                  <a:pt x="196" y="61"/>
                  <a:pt x="196" y="55"/>
                  <a:pt x="201" y="55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56" name="Freeform 122"/>
          <p:cNvSpPr/>
          <p:nvPr userDrawn="1">
            <p:custDataLst>
              <p:tags r:id="rId157"/>
            </p:custDataLst>
          </p:nvPr>
        </p:nvSpPr>
        <p:spPr bwMode="black">
          <a:xfrm>
            <a:off x="4819019" y="2781191"/>
            <a:ext cx="858838" cy="463550"/>
          </a:xfrm>
          <a:custGeom>
            <a:gdLst>
              <a:gd name="T0" fmla="*/ 25 w 597"/>
              <a:gd name="T1" fmla="*/ 290 h 323"/>
              <a:gd name="T2" fmla="*/ 87 w 597"/>
              <a:gd name="T3" fmla="*/ 238 h 323"/>
              <a:gd name="T4" fmla="*/ 93 w 597"/>
              <a:gd name="T5" fmla="*/ 244 h 323"/>
              <a:gd name="T6" fmla="*/ 107 w 597"/>
              <a:gd name="T7" fmla="*/ 249 h 323"/>
              <a:gd name="T8" fmla="*/ 166 w 597"/>
              <a:gd name="T9" fmla="*/ 237 h 323"/>
              <a:gd name="T10" fmla="*/ 215 w 597"/>
              <a:gd name="T11" fmla="*/ 210 h 323"/>
              <a:gd name="T12" fmla="*/ 228 w 597"/>
              <a:gd name="T13" fmla="*/ 188 h 323"/>
              <a:gd name="T14" fmla="*/ 249 w 597"/>
              <a:gd name="T15" fmla="*/ 144 h 323"/>
              <a:gd name="T16" fmla="*/ 265 w 597"/>
              <a:gd name="T17" fmla="*/ 107 h 323"/>
              <a:gd name="T18" fmla="*/ 283 w 597"/>
              <a:gd name="T19" fmla="*/ 102 h 323"/>
              <a:gd name="T20" fmla="*/ 315 w 597"/>
              <a:gd name="T21" fmla="*/ 79 h 323"/>
              <a:gd name="T22" fmla="*/ 339 w 597"/>
              <a:gd name="T23" fmla="*/ 42 h 323"/>
              <a:gd name="T24" fmla="*/ 361 w 597"/>
              <a:gd name="T25" fmla="*/ 20 h 323"/>
              <a:gd name="T26" fmla="*/ 371 w 597"/>
              <a:gd name="T27" fmla="*/ 12 h 323"/>
              <a:gd name="T28" fmla="*/ 405 w 597"/>
              <a:gd name="T29" fmla="*/ 8 h 323"/>
              <a:gd name="T30" fmla="*/ 417 w 597"/>
              <a:gd name="T31" fmla="*/ 8 h 323"/>
              <a:gd name="T32" fmla="*/ 429 w 597"/>
              <a:gd name="T33" fmla="*/ 16 h 323"/>
              <a:gd name="T34" fmla="*/ 447 w 597"/>
              <a:gd name="T35" fmla="*/ 22 h 323"/>
              <a:gd name="T36" fmla="*/ 455 w 597"/>
              <a:gd name="T37" fmla="*/ 38 h 323"/>
              <a:gd name="T38" fmla="*/ 455 w 597"/>
              <a:gd name="T39" fmla="*/ 64 h 323"/>
              <a:gd name="T40" fmla="*/ 487 w 597"/>
              <a:gd name="T41" fmla="*/ 91 h 323"/>
              <a:gd name="T42" fmla="*/ 522 w 597"/>
              <a:gd name="T43" fmla="*/ 106 h 323"/>
              <a:gd name="T44" fmla="*/ 537 w 597"/>
              <a:gd name="T45" fmla="*/ 126 h 323"/>
              <a:gd name="T46" fmla="*/ 545 w 597"/>
              <a:gd name="T47" fmla="*/ 144 h 323"/>
              <a:gd name="T48" fmla="*/ 557 w 597"/>
              <a:gd name="T49" fmla="*/ 176 h 323"/>
              <a:gd name="T50" fmla="*/ 570 w 597"/>
              <a:gd name="T51" fmla="*/ 206 h 323"/>
              <a:gd name="T52" fmla="*/ 597 w 597"/>
              <a:gd name="T53" fmla="*/ 240 h 323"/>
              <a:gd name="T54" fmla="*/ 592 w 597"/>
              <a:gd name="T55" fmla="*/ 248 h 323"/>
              <a:gd name="T56" fmla="*/ 539 w 597"/>
              <a:gd name="T57" fmla="*/ 258 h 323"/>
              <a:gd name="T58" fmla="*/ 357 w 597"/>
              <a:gd name="T59" fmla="*/ 286 h 323"/>
              <a:gd name="T60" fmla="*/ 329 w 597"/>
              <a:gd name="T61" fmla="*/ 290 h 323"/>
              <a:gd name="T62" fmla="*/ 301 w 597"/>
              <a:gd name="T63" fmla="*/ 293 h 323"/>
              <a:gd name="T64" fmla="*/ 271 w 597"/>
              <a:gd name="T65" fmla="*/ 297 h 323"/>
              <a:gd name="T66" fmla="*/ 183 w 597"/>
              <a:gd name="T67" fmla="*/ 308 h 323"/>
              <a:gd name="T68" fmla="*/ 123 w 597"/>
              <a:gd name="T69" fmla="*/ 314 h 323"/>
              <a:gd name="T70" fmla="*/ 59 w 597"/>
              <a:gd name="T71" fmla="*/ 318 h 323"/>
              <a:gd name="T72" fmla="*/ 4 w 597"/>
              <a:gd name="T73" fmla="*/ 322 h 323"/>
              <a:gd name="T74" fmla="*/ 25 w 597"/>
              <a:gd name="T75" fmla="*/ 290 h 323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97" h="323">
                <a:moveTo>
                  <a:pt x="25" y="290"/>
                </a:moveTo>
                <a:cubicBezTo>
                  <a:pt x="57" y="251"/>
                  <a:pt x="78" y="234"/>
                  <a:pt x="87" y="238"/>
                </a:cubicBezTo>
                <a:cubicBezTo>
                  <a:pt x="90" y="239"/>
                  <a:pt x="93" y="242"/>
                  <a:pt x="93" y="244"/>
                </a:cubicBezTo>
                <a:cubicBezTo>
                  <a:pt x="93" y="245"/>
                  <a:pt x="99" y="248"/>
                  <a:pt x="107" y="249"/>
                </a:cubicBezTo>
                <a:cubicBezTo>
                  <a:pt x="117" y="251"/>
                  <a:pt x="132" y="248"/>
                  <a:pt x="166" y="237"/>
                </a:cubicBezTo>
                <a:cubicBezTo>
                  <a:pt x="206" y="224"/>
                  <a:pt x="211" y="221"/>
                  <a:pt x="215" y="210"/>
                </a:cubicBezTo>
                <a:cubicBezTo>
                  <a:pt x="218" y="203"/>
                  <a:pt x="224" y="193"/>
                  <a:pt x="228" y="188"/>
                </a:cubicBezTo>
                <a:cubicBezTo>
                  <a:pt x="232" y="182"/>
                  <a:pt x="242" y="162"/>
                  <a:pt x="249" y="144"/>
                </a:cubicBezTo>
                <a:cubicBezTo>
                  <a:pt x="256" y="125"/>
                  <a:pt x="263" y="108"/>
                  <a:pt x="265" y="107"/>
                </a:cubicBezTo>
                <a:cubicBezTo>
                  <a:pt x="266" y="105"/>
                  <a:pt x="274" y="103"/>
                  <a:pt x="283" y="102"/>
                </a:cubicBezTo>
                <a:cubicBezTo>
                  <a:pt x="310" y="98"/>
                  <a:pt x="312" y="96"/>
                  <a:pt x="315" y="79"/>
                </a:cubicBezTo>
                <a:cubicBezTo>
                  <a:pt x="317" y="65"/>
                  <a:pt x="321" y="58"/>
                  <a:pt x="339" y="42"/>
                </a:cubicBezTo>
                <a:cubicBezTo>
                  <a:pt x="351" y="32"/>
                  <a:pt x="361" y="22"/>
                  <a:pt x="361" y="20"/>
                </a:cubicBezTo>
                <a:cubicBezTo>
                  <a:pt x="359" y="10"/>
                  <a:pt x="362" y="8"/>
                  <a:pt x="371" y="12"/>
                </a:cubicBezTo>
                <a:cubicBezTo>
                  <a:pt x="388" y="18"/>
                  <a:pt x="400" y="16"/>
                  <a:pt x="405" y="8"/>
                </a:cubicBezTo>
                <a:cubicBezTo>
                  <a:pt x="409" y="0"/>
                  <a:pt x="409" y="0"/>
                  <a:pt x="417" y="8"/>
                </a:cubicBezTo>
                <a:cubicBezTo>
                  <a:pt x="422" y="12"/>
                  <a:pt x="427" y="16"/>
                  <a:pt x="429" y="16"/>
                </a:cubicBezTo>
                <a:cubicBezTo>
                  <a:pt x="431" y="16"/>
                  <a:pt x="439" y="18"/>
                  <a:pt x="447" y="22"/>
                </a:cubicBezTo>
                <a:cubicBezTo>
                  <a:pt x="461" y="28"/>
                  <a:pt x="461" y="28"/>
                  <a:pt x="455" y="38"/>
                </a:cubicBezTo>
                <a:cubicBezTo>
                  <a:pt x="448" y="47"/>
                  <a:pt x="449" y="49"/>
                  <a:pt x="455" y="64"/>
                </a:cubicBezTo>
                <a:cubicBezTo>
                  <a:pt x="461" y="76"/>
                  <a:pt x="467" y="82"/>
                  <a:pt x="487" y="91"/>
                </a:cubicBezTo>
                <a:cubicBezTo>
                  <a:pt x="500" y="98"/>
                  <a:pt x="516" y="104"/>
                  <a:pt x="522" y="106"/>
                </a:cubicBezTo>
                <a:cubicBezTo>
                  <a:pt x="535" y="109"/>
                  <a:pt x="543" y="120"/>
                  <a:pt x="537" y="126"/>
                </a:cubicBezTo>
                <a:cubicBezTo>
                  <a:pt x="535" y="129"/>
                  <a:pt x="538" y="135"/>
                  <a:pt x="545" y="144"/>
                </a:cubicBezTo>
                <a:cubicBezTo>
                  <a:pt x="554" y="155"/>
                  <a:pt x="557" y="161"/>
                  <a:pt x="557" y="176"/>
                </a:cubicBezTo>
                <a:cubicBezTo>
                  <a:pt x="557" y="192"/>
                  <a:pt x="559" y="197"/>
                  <a:pt x="570" y="206"/>
                </a:cubicBezTo>
                <a:cubicBezTo>
                  <a:pt x="595" y="229"/>
                  <a:pt x="597" y="232"/>
                  <a:pt x="597" y="240"/>
                </a:cubicBezTo>
                <a:cubicBezTo>
                  <a:pt x="597" y="244"/>
                  <a:pt x="595" y="248"/>
                  <a:pt x="592" y="248"/>
                </a:cubicBezTo>
                <a:cubicBezTo>
                  <a:pt x="585" y="248"/>
                  <a:pt x="570" y="251"/>
                  <a:pt x="539" y="258"/>
                </a:cubicBezTo>
                <a:cubicBezTo>
                  <a:pt x="511" y="264"/>
                  <a:pt x="399" y="281"/>
                  <a:pt x="357" y="286"/>
                </a:cubicBezTo>
                <a:cubicBezTo>
                  <a:pt x="345" y="287"/>
                  <a:pt x="332" y="289"/>
                  <a:pt x="329" y="290"/>
                </a:cubicBezTo>
                <a:cubicBezTo>
                  <a:pt x="326" y="290"/>
                  <a:pt x="313" y="292"/>
                  <a:pt x="301" y="293"/>
                </a:cubicBezTo>
                <a:cubicBezTo>
                  <a:pt x="288" y="295"/>
                  <a:pt x="275" y="296"/>
                  <a:pt x="271" y="297"/>
                </a:cubicBezTo>
                <a:cubicBezTo>
                  <a:pt x="257" y="300"/>
                  <a:pt x="228" y="303"/>
                  <a:pt x="183" y="308"/>
                </a:cubicBezTo>
                <a:cubicBezTo>
                  <a:pt x="159" y="310"/>
                  <a:pt x="132" y="313"/>
                  <a:pt x="123" y="314"/>
                </a:cubicBezTo>
                <a:cubicBezTo>
                  <a:pt x="114" y="314"/>
                  <a:pt x="86" y="316"/>
                  <a:pt x="59" y="318"/>
                </a:cubicBezTo>
                <a:cubicBezTo>
                  <a:pt x="33" y="319"/>
                  <a:pt x="8" y="321"/>
                  <a:pt x="4" y="322"/>
                </a:cubicBezTo>
                <a:cubicBezTo>
                  <a:pt x="0" y="323"/>
                  <a:pt x="9" y="310"/>
                  <a:pt x="25" y="290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57" name="Freeform 123"/>
          <p:cNvSpPr/>
          <p:nvPr userDrawn="1">
            <p:custDataLst>
              <p:tags r:id="rId158"/>
            </p:custDataLst>
          </p:nvPr>
        </p:nvSpPr>
        <p:spPr bwMode="black">
          <a:xfrm>
            <a:off x="5647695" y="2930416"/>
            <a:ext cx="69850" cy="141288"/>
          </a:xfrm>
          <a:custGeom>
            <a:gdLst>
              <a:gd name="T0" fmla="*/ 3 w 49"/>
              <a:gd name="T1" fmla="*/ 92 h 98"/>
              <a:gd name="T2" fmla="*/ 12 w 49"/>
              <a:gd name="T3" fmla="*/ 35 h 98"/>
              <a:gd name="T4" fmla="*/ 16 w 49"/>
              <a:gd name="T5" fmla="*/ 12 h 98"/>
              <a:gd name="T6" fmla="*/ 41 w 49"/>
              <a:gd name="T7" fmla="*/ 0 h 98"/>
              <a:gd name="T8" fmla="*/ 47 w 49"/>
              <a:gd name="T9" fmla="*/ 7 h 98"/>
              <a:gd name="T10" fmla="*/ 38 w 49"/>
              <a:gd name="T11" fmla="*/ 31 h 98"/>
              <a:gd name="T12" fmla="*/ 24 w 49"/>
              <a:gd name="T13" fmla="*/ 56 h 98"/>
              <a:gd name="T14" fmla="*/ 22 w 49"/>
              <a:gd name="T15" fmla="*/ 72 h 98"/>
              <a:gd name="T16" fmla="*/ 19 w 49"/>
              <a:gd name="T17" fmla="*/ 85 h 98"/>
              <a:gd name="T18" fmla="*/ 3 w 49"/>
              <a:gd name="T19" fmla="*/ 92 h 98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9" h="98">
                <a:moveTo>
                  <a:pt x="3" y="92"/>
                </a:moveTo>
                <a:cubicBezTo>
                  <a:pt x="0" y="86"/>
                  <a:pt x="5" y="53"/>
                  <a:pt x="12" y="35"/>
                </a:cubicBezTo>
                <a:cubicBezTo>
                  <a:pt x="15" y="26"/>
                  <a:pt x="17" y="16"/>
                  <a:pt x="16" y="12"/>
                </a:cubicBezTo>
                <a:cubicBezTo>
                  <a:pt x="14" y="4"/>
                  <a:pt x="22" y="0"/>
                  <a:pt x="41" y="0"/>
                </a:cubicBezTo>
                <a:cubicBezTo>
                  <a:pt x="48" y="0"/>
                  <a:pt x="49" y="1"/>
                  <a:pt x="47" y="7"/>
                </a:cubicBezTo>
                <a:cubicBezTo>
                  <a:pt x="45" y="10"/>
                  <a:pt x="41" y="22"/>
                  <a:pt x="38" y="31"/>
                </a:cubicBezTo>
                <a:cubicBezTo>
                  <a:pt x="34" y="41"/>
                  <a:pt x="28" y="52"/>
                  <a:pt x="24" y="56"/>
                </a:cubicBezTo>
                <a:cubicBezTo>
                  <a:pt x="16" y="65"/>
                  <a:pt x="15" y="70"/>
                  <a:pt x="22" y="72"/>
                </a:cubicBezTo>
                <a:cubicBezTo>
                  <a:pt x="25" y="73"/>
                  <a:pt x="24" y="77"/>
                  <a:pt x="19" y="85"/>
                </a:cubicBezTo>
                <a:cubicBezTo>
                  <a:pt x="12" y="96"/>
                  <a:pt x="7" y="98"/>
                  <a:pt x="3" y="92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58" name="Freeform 124"/>
          <p:cNvSpPr/>
          <p:nvPr userDrawn="1">
            <p:custDataLst>
              <p:tags r:id="rId159"/>
            </p:custDataLst>
          </p:nvPr>
        </p:nvSpPr>
        <p:spPr bwMode="black">
          <a:xfrm>
            <a:off x="5738182" y="1803290"/>
            <a:ext cx="168275" cy="334963"/>
          </a:xfrm>
          <a:custGeom>
            <a:gdLst>
              <a:gd name="T0" fmla="*/ 49 w 117"/>
              <a:gd name="T1" fmla="*/ 224 h 233"/>
              <a:gd name="T2" fmla="*/ 21 w 117"/>
              <a:gd name="T3" fmla="*/ 139 h 233"/>
              <a:gd name="T4" fmla="*/ 12 w 117"/>
              <a:gd name="T5" fmla="*/ 100 h 233"/>
              <a:gd name="T6" fmla="*/ 8 w 117"/>
              <a:gd name="T7" fmla="*/ 61 h 233"/>
              <a:gd name="T8" fmla="*/ 3 w 117"/>
              <a:gd name="T9" fmla="*/ 36 h 233"/>
              <a:gd name="T10" fmla="*/ 0 w 117"/>
              <a:gd name="T11" fmla="*/ 22 h 233"/>
              <a:gd name="T12" fmla="*/ 38 w 117"/>
              <a:gd name="T13" fmla="*/ 13 h 233"/>
              <a:gd name="T14" fmla="*/ 94 w 117"/>
              <a:gd name="T15" fmla="*/ 2 h 233"/>
              <a:gd name="T16" fmla="*/ 112 w 117"/>
              <a:gd name="T17" fmla="*/ 0 h 233"/>
              <a:gd name="T18" fmla="*/ 115 w 117"/>
              <a:gd name="T19" fmla="*/ 18 h 233"/>
              <a:gd name="T20" fmla="*/ 105 w 117"/>
              <a:gd name="T21" fmla="*/ 51 h 233"/>
              <a:gd name="T22" fmla="*/ 93 w 117"/>
              <a:gd name="T23" fmla="*/ 65 h 233"/>
              <a:gd name="T24" fmla="*/ 94 w 117"/>
              <a:gd name="T25" fmla="*/ 147 h 233"/>
              <a:gd name="T26" fmla="*/ 89 w 117"/>
              <a:gd name="T27" fmla="*/ 229 h 233"/>
              <a:gd name="T28" fmla="*/ 66 w 117"/>
              <a:gd name="T29" fmla="*/ 231 h 233"/>
              <a:gd name="T30" fmla="*/ 49 w 117"/>
              <a:gd name="T31" fmla="*/ 224 h 233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7" h="233">
                <a:moveTo>
                  <a:pt x="49" y="224"/>
                </a:moveTo>
                <a:cubicBezTo>
                  <a:pt x="49" y="207"/>
                  <a:pt x="30" y="148"/>
                  <a:pt x="21" y="139"/>
                </a:cubicBezTo>
                <a:cubicBezTo>
                  <a:pt x="15" y="132"/>
                  <a:pt x="13" y="123"/>
                  <a:pt x="12" y="100"/>
                </a:cubicBezTo>
                <a:cubicBezTo>
                  <a:pt x="11" y="84"/>
                  <a:pt x="9" y="66"/>
                  <a:pt x="8" y="61"/>
                </a:cubicBezTo>
                <a:cubicBezTo>
                  <a:pt x="6" y="55"/>
                  <a:pt x="4" y="44"/>
                  <a:pt x="3" y="36"/>
                </a:cubicBezTo>
                <a:cubicBezTo>
                  <a:pt x="0" y="22"/>
                  <a:pt x="0" y="22"/>
                  <a:pt x="0" y="22"/>
                </a:cubicBezTo>
                <a:cubicBezTo>
                  <a:pt x="38" y="13"/>
                  <a:pt x="38" y="13"/>
                  <a:pt x="38" y="13"/>
                </a:cubicBezTo>
                <a:cubicBezTo>
                  <a:pt x="58" y="8"/>
                  <a:pt x="83" y="3"/>
                  <a:pt x="94" y="2"/>
                </a:cubicBezTo>
                <a:cubicBezTo>
                  <a:pt x="112" y="0"/>
                  <a:pt x="112" y="0"/>
                  <a:pt x="112" y="0"/>
                </a:cubicBezTo>
                <a:cubicBezTo>
                  <a:pt x="115" y="18"/>
                  <a:pt x="115" y="18"/>
                  <a:pt x="115" y="18"/>
                </a:cubicBezTo>
                <a:cubicBezTo>
                  <a:pt x="117" y="35"/>
                  <a:pt x="117" y="38"/>
                  <a:pt x="105" y="51"/>
                </a:cubicBezTo>
                <a:cubicBezTo>
                  <a:pt x="93" y="65"/>
                  <a:pt x="93" y="65"/>
                  <a:pt x="93" y="65"/>
                </a:cubicBezTo>
                <a:cubicBezTo>
                  <a:pt x="94" y="147"/>
                  <a:pt x="94" y="147"/>
                  <a:pt x="94" y="147"/>
                </a:cubicBezTo>
                <a:cubicBezTo>
                  <a:pt x="95" y="217"/>
                  <a:pt x="94" y="229"/>
                  <a:pt x="89" y="229"/>
                </a:cubicBezTo>
                <a:cubicBezTo>
                  <a:pt x="86" y="229"/>
                  <a:pt x="75" y="230"/>
                  <a:pt x="66" y="231"/>
                </a:cubicBezTo>
                <a:cubicBezTo>
                  <a:pt x="50" y="233"/>
                  <a:pt x="49" y="233"/>
                  <a:pt x="49" y="224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59" name="Freeform 125"/>
          <p:cNvSpPr/>
          <p:nvPr userDrawn="1">
            <p:custDataLst>
              <p:tags r:id="rId160"/>
            </p:custDataLst>
          </p:nvPr>
        </p:nvSpPr>
        <p:spPr bwMode="black">
          <a:xfrm>
            <a:off x="570868" y="793640"/>
            <a:ext cx="788988" cy="611188"/>
          </a:xfrm>
          <a:custGeom>
            <a:gdLst>
              <a:gd name="T0" fmla="*/ 402 w 548"/>
              <a:gd name="T1" fmla="*/ 405 h 426"/>
              <a:gd name="T2" fmla="*/ 261 w 548"/>
              <a:gd name="T3" fmla="*/ 374 h 426"/>
              <a:gd name="T4" fmla="*/ 163 w 548"/>
              <a:gd name="T5" fmla="*/ 351 h 426"/>
              <a:gd name="T6" fmla="*/ 107 w 548"/>
              <a:gd name="T7" fmla="*/ 332 h 426"/>
              <a:gd name="T8" fmla="*/ 76 w 548"/>
              <a:gd name="T9" fmla="*/ 320 h 426"/>
              <a:gd name="T10" fmla="*/ 71 w 548"/>
              <a:gd name="T11" fmla="*/ 293 h 426"/>
              <a:gd name="T12" fmla="*/ 54 w 548"/>
              <a:gd name="T13" fmla="*/ 255 h 426"/>
              <a:gd name="T14" fmla="*/ 19 w 548"/>
              <a:gd name="T15" fmla="*/ 232 h 426"/>
              <a:gd name="T16" fmla="*/ 0 w 548"/>
              <a:gd name="T17" fmla="*/ 228 h 426"/>
              <a:gd name="T18" fmla="*/ 3 w 548"/>
              <a:gd name="T19" fmla="*/ 213 h 426"/>
              <a:gd name="T20" fmla="*/ 31 w 548"/>
              <a:gd name="T21" fmla="*/ 40 h 426"/>
              <a:gd name="T22" fmla="*/ 40 w 548"/>
              <a:gd name="T23" fmla="*/ 7 h 426"/>
              <a:gd name="T24" fmla="*/ 85 w 548"/>
              <a:gd name="T25" fmla="*/ 34 h 426"/>
              <a:gd name="T26" fmla="*/ 165 w 548"/>
              <a:gd name="T27" fmla="*/ 69 h 426"/>
              <a:gd name="T28" fmla="*/ 168 w 548"/>
              <a:gd name="T29" fmla="*/ 57 h 426"/>
              <a:gd name="T30" fmla="*/ 185 w 548"/>
              <a:gd name="T31" fmla="*/ 0 h 426"/>
              <a:gd name="T32" fmla="*/ 210 w 548"/>
              <a:gd name="T33" fmla="*/ 9 h 426"/>
              <a:gd name="T34" fmla="*/ 389 w 548"/>
              <a:gd name="T35" fmla="*/ 78 h 426"/>
              <a:gd name="T36" fmla="*/ 547 w 548"/>
              <a:gd name="T37" fmla="*/ 138 h 426"/>
              <a:gd name="T38" fmla="*/ 530 w 548"/>
              <a:gd name="T39" fmla="*/ 190 h 426"/>
              <a:gd name="T40" fmla="*/ 489 w 548"/>
              <a:gd name="T41" fmla="*/ 306 h 426"/>
              <a:gd name="T42" fmla="*/ 464 w 548"/>
              <a:gd name="T43" fmla="*/ 398 h 426"/>
              <a:gd name="T44" fmla="*/ 461 w 548"/>
              <a:gd name="T45" fmla="*/ 426 h 426"/>
              <a:gd name="T46" fmla="*/ 402 w 548"/>
              <a:gd name="T47" fmla="*/ 405 h 426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548" h="426">
                <a:moveTo>
                  <a:pt x="402" y="405"/>
                </a:moveTo>
                <a:cubicBezTo>
                  <a:pt x="344" y="384"/>
                  <a:pt x="317" y="378"/>
                  <a:pt x="261" y="374"/>
                </a:cubicBezTo>
                <a:cubicBezTo>
                  <a:pt x="219" y="371"/>
                  <a:pt x="196" y="365"/>
                  <a:pt x="163" y="351"/>
                </a:cubicBezTo>
                <a:cubicBezTo>
                  <a:pt x="147" y="343"/>
                  <a:pt x="121" y="335"/>
                  <a:pt x="107" y="332"/>
                </a:cubicBezTo>
                <a:cubicBezTo>
                  <a:pt x="93" y="329"/>
                  <a:pt x="79" y="323"/>
                  <a:pt x="76" y="320"/>
                </a:cubicBezTo>
                <a:cubicBezTo>
                  <a:pt x="74" y="316"/>
                  <a:pt x="71" y="304"/>
                  <a:pt x="71" y="293"/>
                </a:cubicBezTo>
                <a:cubicBezTo>
                  <a:pt x="71" y="275"/>
                  <a:pt x="69" y="271"/>
                  <a:pt x="54" y="255"/>
                </a:cubicBezTo>
                <a:cubicBezTo>
                  <a:pt x="42" y="242"/>
                  <a:pt x="32" y="236"/>
                  <a:pt x="19" y="232"/>
                </a:cubicBezTo>
                <a:cubicBezTo>
                  <a:pt x="0" y="228"/>
                  <a:pt x="0" y="228"/>
                  <a:pt x="0" y="228"/>
                </a:cubicBezTo>
                <a:cubicBezTo>
                  <a:pt x="3" y="213"/>
                  <a:pt x="3" y="213"/>
                  <a:pt x="3" y="213"/>
                </a:cubicBezTo>
                <a:cubicBezTo>
                  <a:pt x="7" y="194"/>
                  <a:pt x="26" y="81"/>
                  <a:pt x="31" y="40"/>
                </a:cubicBezTo>
                <a:cubicBezTo>
                  <a:pt x="33" y="24"/>
                  <a:pt x="37" y="9"/>
                  <a:pt x="40" y="7"/>
                </a:cubicBezTo>
                <a:cubicBezTo>
                  <a:pt x="46" y="3"/>
                  <a:pt x="57" y="10"/>
                  <a:pt x="85" y="34"/>
                </a:cubicBezTo>
                <a:cubicBezTo>
                  <a:pt x="102" y="48"/>
                  <a:pt x="150" y="69"/>
                  <a:pt x="165" y="69"/>
                </a:cubicBezTo>
                <a:cubicBezTo>
                  <a:pt x="167" y="70"/>
                  <a:pt x="169" y="64"/>
                  <a:pt x="168" y="57"/>
                </a:cubicBezTo>
                <a:cubicBezTo>
                  <a:pt x="167" y="47"/>
                  <a:pt x="178" y="10"/>
                  <a:pt x="185" y="0"/>
                </a:cubicBezTo>
                <a:cubicBezTo>
                  <a:pt x="186" y="0"/>
                  <a:pt x="197" y="3"/>
                  <a:pt x="210" y="9"/>
                </a:cubicBezTo>
                <a:cubicBezTo>
                  <a:pt x="223" y="14"/>
                  <a:pt x="303" y="45"/>
                  <a:pt x="389" y="78"/>
                </a:cubicBezTo>
                <a:cubicBezTo>
                  <a:pt x="475" y="110"/>
                  <a:pt x="546" y="137"/>
                  <a:pt x="547" y="138"/>
                </a:cubicBezTo>
                <a:cubicBezTo>
                  <a:pt x="548" y="139"/>
                  <a:pt x="540" y="162"/>
                  <a:pt x="530" y="190"/>
                </a:cubicBezTo>
                <a:cubicBezTo>
                  <a:pt x="520" y="219"/>
                  <a:pt x="502" y="270"/>
                  <a:pt x="489" y="306"/>
                </a:cubicBezTo>
                <a:cubicBezTo>
                  <a:pt x="473" y="349"/>
                  <a:pt x="465" y="378"/>
                  <a:pt x="464" y="398"/>
                </a:cubicBezTo>
                <a:cubicBezTo>
                  <a:pt x="461" y="426"/>
                  <a:pt x="461" y="426"/>
                  <a:pt x="461" y="426"/>
                </a:cubicBezTo>
                <a:lnTo>
                  <a:pt x="402" y="405"/>
                </a:ln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60" name="Freeform 126"/>
          <p:cNvSpPr/>
          <p:nvPr userDrawn="1">
            <p:custDataLst>
              <p:tags r:id="rId161"/>
            </p:custDataLst>
          </p:nvPr>
        </p:nvSpPr>
        <p:spPr bwMode="black">
          <a:xfrm>
            <a:off x="3696656" y="1719153"/>
            <a:ext cx="614363" cy="660400"/>
          </a:xfrm>
          <a:custGeom>
            <a:gdLst>
              <a:gd name="T0" fmla="*/ 211 w 427"/>
              <a:gd name="T1" fmla="*/ 455 h 459"/>
              <a:gd name="T2" fmla="*/ 123 w 427"/>
              <a:gd name="T3" fmla="*/ 401 h 459"/>
              <a:gd name="T4" fmla="*/ 88 w 427"/>
              <a:gd name="T5" fmla="*/ 295 h 459"/>
              <a:gd name="T6" fmla="*/ 40 w 427"/>
              <a:gd name="T7" fmla="*/ 255 h 459"/>
              <a:gd name="T8" fmla="*/ 0 w 427"/>
              <a:gd name="T9" fmla="*/ 219 h 459"/>
              <a:gd name="T10" fmla="*/ 0 w 427"/>
              <a:gd name="T11" fmla="*/ 170 h 459"/>
              <a:gd name="T12" fmla="*/ 7 w 427"/>
              <a:gd name="T13" fmla="*/ 117 h 459"/>
              <a:gd name="T14" fmla="*/ 38 w 427"/>
              <a:gd name="T15" fmla="*/ 75 h 459"/>
              <a:gd name="T16" fmla="*/ 51 w 427"/>
              <a:gd name="T17" fmla="*/ 32 h 459"/>
              <a:gd name="T18" fmla="*/ 131 w 427"/>
              <a:gd name="T19" fmla="*/ 6 h 459"/>
              <a:gd name="T20" fmla="*/ 139 w 427"/>
              <a:gd name="T21" fmla="*/ 13 h 459"/>
              <a:gd name="T22" fmla="*/ 148 w 427"/>
              <a:gd name="T23" fmla="*/ 27 h 459"/>
              <a:gd name="T24" fmla="*/ 179 w 427"/>
              <a:gd name="T25" fmla="*/ 57 h 459"/>
              <a:gd name="T26" fmla="*/ 220 w 427"/>
              <a:gd name="T27" fmla="*/ 77 h 459"/>
              <a:gd name="T28" fmla="*/ 336 w 427"/>
              <a:gd name="T29" fmla="*/ 117 h 459"/>
              <a:gd name="T30" fmla="*/ 375 w 427"/>
              <a:gd name="T31" fmla="*/ 186 h 459"/>
              <a:gd name="T32" fmla="*/ 383 w 427"/>
              <a:gd name="T33" fmla="*/ 203 h 459"/>
              <a:gd name="T34" fmla="*/ 412 w 427"/>
              <a:gd name="T35" fmla="*/ 172 h 459"/>
              <a:gd name="T36" fmla="*/ 423 w 427"/>
              <a:gd name="T37" fmla="*/ 170 h 459"/>
              <a:gd name="T38" fmla="*/ 421 w 427"/>
              <a:gd name="T39" fmla="*/ 190 h 459"/>
              <a:gd name="T40" fmla="*/ 417 w 427"/>
              <a:gd name="T41" fmla="*/ 199 h 459"/>
              <a:gd name="T42" fmla="*/ 397 w 427"/>
              <a:gd name="T43" fmla="*/ 234 h 459"/>
              <a:gd name="T44" fmla="*/ 380 w 427"/>
              <a:gd name="T45" fmla="*/ 296 h 459"/>
              <a:gd name="T46" fmla="*/ 371 w 427"/>
              <a:gd name="T47" fmla="*/ 428 h 459"/>
              <a:gd name="T48" fmla="*/ 374 w 427"/>
              <a:gd name="T49" fmla="*/ 459 h 459"/>
              <a:gd name="T50" fmla="*/ 323 w 427"/>
              <a:gd name="T51" fmla="*/ 458 h 459"/>
              <a:gd name="T52" fmla="*/ 211 w 427"/>
              <a:gd name="T53" fmla="*/ 455 h 459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27" h="459">
                <a:moveTo>
                  <a:pt x="211" y="455"/>
                </a:moveTo>
                <a:cubicBezTo>
                  <a:pt x="131" y="452"/>
                  <a:pt x="129" y="451"/>
                  <a:pt x="123" y="401"/>
                </a:cubicBezTo>
                <a:cubicBezTo>
                  <a:pt x="117" y="349"/>
                  <a:pt x="101" y="302"/>
                  <a:pt x="88" y="295"/>
                </a:cubicBezTo>
                <a:cubicBezTo>
                  <a:pt x="83" y="293"/>
                  <a:pt x="61" y="275"/>
                  <a:pt x="40" y="255"/>
                </a:cubicBezTo>
                <a:cubicBezTo>
                  <a:pt x="0" y="219"/>
                  <a:pt x="0" y="219"/>
                  <a:pt x="0" y="219"/>
                </a:cubicBezTo>
                <a:cubicBezTo>
                  <a:pt x="0" y="170"/>
                  <a:pt x="0" y="170"/>
                  <a:pt x="0" y="170"/>
                </a:cubicBezTo>
                <a:cubicBezTo>
                  <a:pt x="0" y="127"/>
                  <a:pt x="1" y="120"/>
                  <a:pt x="7" y="117"/>
                </a:cubicBezTo>
                <a:cubicBezTo>
                  <a:pt x="30" y="103"/>
                  <a:pt x="37" y="94"/>
                  <a:pt x="38" y="75"/>
                </a:cubicBezTo>
                <a:cubicBezTo>
                  <a:pt x="38" y="46"/>
                  <a:pt x="42" y="33"/>
                  <a:pt x="51" y="32"/>
                </a:cubicBezTo>
                <a:cubicBezTo>
                  <a:pt x="66" y="30"/>
                  <a:pt x="127" y="10"/>
                  <a:pt x="131" y="6"/>
                </a:cubicBezTo>
                <a:cubicBezTo>
                  <a:pt x="137" y="0"/>
                  <a:pt x="140" y="2"/>
                  <a:pt x="139" y="13"/>
                </a:cubicBezTo>
                <a:cubicBezTo>
                  <a:pt x="138" y="21"/>
                  <a:pt x="141" y="24"/>
                  <a:pt x="148" y="27"/>
                </a:cubicBezTo>
                <a:cubicBezTo>
                  <a:pt x="161" y="32"/>
                  <a:pt x="175" y="46"/>
                  <a:pt x="179" y="57"/>
                </a:cubicBezTo>
                <a:cubicBezTo>
                  <a:pt x="181" y="64"/>
                  <a:pt x="189" y="68"/>
                  <a:pt x="220" y="77"/>
                </a:cubicBezTo>
                <a:cubicBezTo>
                  <a:pt x="267" y="90"/>
                  <a:pt x="324" y="110"/>
                  <a:pt x="336" y="117"/>
                </a:cubicBezTo>
                <a:cubicBezTo>
                  <a:pt x="348" y="126"/>
                  <a:pt x="372" y="166"/>
                  <a:pt x="375" y="186"/>
                </a:cubicBezTo>
                <a:cubicBezTo>
                  <a:pt x="377" y="195"/>
                  <a:pt x="380" y="203"/>
                  <a:pt x="383" y="203"/>
                </a:cubicBezTo>
                <a:cubicBezTo>
                  <a:pt x="390" y="203"/>
                  <a:pt x="405" y="187"/>
                  <a:pt x="412" y="172"/>
                </a:cubicBezTo>
                <a:cubicBezTo>
                  <a:pt x="419" y="156"/>
                  <a:pt x="427" y="154"/>
                  <a:pt x="423" y="170"/>
                </a:cubicBezTo>
                <a:cubicBezTo>
                  <a:pt x="421" y="176"/>
                  <a:pt x="420" y="185"/>
                  <a:pt x="421" y="190"/>
                </a:cubicBezTo>
                <a:cubicBezTo>
                  <a:pt x="421" y="195"/>
                  <a:pt x="419" y="199"/>
                  <a:pt x="417" y="199"/>
                </a:cubicBezTo>
                <a:cubicBezTo>
                  <a:pt x="409" y="199"/>
                  <a:pt x="401" y="212"/>
                  <a:pt x="397" y="234"/>
                </a:cubicBezTo>
                <a:cubicBezTo>
                  <a:pt x="392" y="264"/>
                  <a:pt x="385" y="287"/>
                  <a:pt x="380" y="296"/>
                </a:cubicBezTo>
                <a:cubicBezTo>
                  <a:pt x="370" y="316"/>
                  <a:pt x="366" y="369"/>
                  <a:pt x="371" y="428"/>
                </a:cubicBezTo>
                <a:cubicBezTo>
                  <a:pt x="374" y="459"/>
                  <a:pt x="374" y="459"/>
                  <a:pt x="374" y="459"/>
                </a:cubicBezTo>
                <a:cubicBezTo>
                  <a:pt x="323" y="458"/>
                  <a:pt x="323" y="458"/>
                  <a:pt x="323" y="458"/>
                </a:cubicBezTo>
                <a:cubicBezTo>
                  <a:pt x="294" y="457"/>
                  <a:pt x="244" y="456"/>
                  <a:pt x="211" y="455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61" name="Freeform 127"/>
          <p:cNvSpPr/>
          <p:nvPr userDrawn="1">
            <p:custDataLst>
              <p:tags r:id="rId162"/>
            </p:custDataLst>
          </p:nvPr>
        </p:nvSpPr>
        <p:spPr bwMode="black">
          <a:xfrm>
            <a:off x="4868232" y="2651016"/>
            <a:ext cx="530225" cy="469900"/>
          </a:xfrm>
          <a:custGeom>
            <a:gdLst>
              <a:gd name="T0" fmla="*/ 76 w 369"/>
              <a:gd name="T1" fmla="*/ 325 h 327"/>
              <a:gd name="T2" fmla="*/ 1 w 369"/>
              <a:gd name="T3" fmla="*/ 242 h 327"/>
              <a:gd name="T4" fmla="*/ 11 w 369"/>
              <a:gd name="T5" fmla="*/ 215 h 327"/>
              <a:gd name="T6" fmla="*/ 23 w 369"/>
              <a:gd name="T7" fmla="*/ 190 h 327"/>
              <a:gd name="T8" fmla="*/ 37 w 369"/>
              <a:gd name="T9" fmla="*/ 175 h 327"/>
              <a:gd name="T10" fmla="*/ 53 w 369"/>
              <a:gd name="T11" fmla="*/ 156 h 327"/>
              <a:gd name="T12" fmla="*/ 88 w 369"/>
              <a:gd name="T13" fmla="*/ 112 h 327"/>
              <a:gd name="T14" fmla="*/ 123 w 369"/>
              <a:gd name="T15" fmla="*/ 33 h 327"/>
              <a:gd name="T16" fmla="*/ 133 w 369"/>
              <a:gd name="T17" fmla="*/ 30 h 327"/>
              <a:gd name="T18" fmla="*/ 188 w 369"/>
              <a:gd name="T19" fmla="*/ 69 h 327"/>
              <a:gd name="T20" fmla="*/ 225 w 369"/>
              <a:gd name="T21" fmla="*/ 68 h 327"/>
              <a:gd name="T22" fmla="*/ 229 w 369"/>
              <a:gd name="T23" fmla="*/ 88 h 327"/>
              <a:gd name="T24" fmla="*/ 243 w 369"/>
              <a:gd name="T25" fmla="*/ 107 h 327"/>
              <a:gd name="T26" fmla="*/ 276 w 369"/>
              <a:gd name="T27" fmla="*/ 90 h 327"/>
              <a:gd name="T28" fmla="*/ 357 w 369"/>
              <a:gd name="T29" fmla="*/ 69 h 327"/>
              <a:gd name="T30" fmla="*/ 362 w 369"/>
              <a:gd name="T31" fmla="*/ 87 h 327"/>
              <a:gd name="T32" fmla="*/ 339 w 369"/>
              <a:gd name="T33" fmla="*/ 86 h 327"/>
              <a:gd name="T34" fmla="*/ 313 w 369"/>
              <a:gd name="T35" fmla="*/ 97 h 327"/>
              <a:gd name="T36" fmla="*/ 279 w 369"/>
              <a:gd name="T37" fmla="*/ 134 h 327"/>
              <a:gd name="T38" fmla="*/ 269 w 369"/>
              <a:gd name="T39" fmla="*/ 155 h 327"/>
              <a:gd name="T40" fmla="*/ 240 w 369"/>
              <a:gd name="T41" fmla="*/ 179 h 327"/>
              <a:gd name="T42" fmla="*/ 222 w 369"/>
              <a:gd name="T43" fmla="*/ 182 h 327"/>
              <a:gd name="T44" fmla="*/ 206 w 369"/>
              <a:gd name="T45" fmla="*/ 222 h 327"/>
              <a:gd name="T46" fmla="*/ 179 w 369"/>
              <a:gd name="T47" fmla="*/ 277 h 327"/>
              <a:gd name="T48" fmla="*/ 167 w 369"/>
              <a:gd name="T49" fmla="*/ 298 h 327"/>
              <a:gd name="T50" fmla="*/ 103 w 369"/>
              <a:gd name="T51" fmla="*/ 323 h 327"/>
              <a:gd name="T52" fmla="*/ 76 w 369"/>
              <a:gd name="T53" fmla="*/ 325 h 32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69" h="327">
                <a:moveTo>
                  <a:pt x="76" y="325"/>
                </a:moveTo>
                <a:cubicBezTo>
                  <a:pt x="50" y="315"/>
                  <a:pt x="4" y="265"/>
                  <a:pt x="1" y="242"/>
                </a:cubicBezTo>
                <a:cubicBezTo>
                  <a:pt x="0" y="233"/>
                  <a:pt x="3" y="226"/>
                  <a:pt x="11" y="215"/>
                </a:cubicBezTo>
                <a:cubicBezTo>
                  <a:pt x="18" y="206"/>
                  <a:pt x="23" y="195"/>
                  <a:pt x="23" y="190"/>
                </a:cubicBezTo>
                <a:cubicBezTo>
                  <a:pt x="23" y="184"/>
                  <a:pt x="27" y="180"/>
                  <a:pt x="37" y="175"/>
                </a:cubicBezTo>
                <a:cubicBezTo>
                  <a:pt x="47" y="171"/>
                  <a:pt x="51" y="167"/>
                  <a:pt x="53" y="156"/>
                </a:cubicBezTo>
                <a:cubicBezTo>
                  <a:pt x="56" y="139"/>
                  <a:pt x="68" y="124"/>
                  <a:pt x="88" y="112"/>
                </a:cubicBezTo>
                <a:cubicBezTo>
                  <a:pt x="108" y="101"/>
                  <a:pt x="123" y="67"/>
                  <a:pt x="123" y="33"/>
                </a:cubicBezTo>
                <a:cubicBezTo>
                  <a:pt x="123" y="2"/>
                  <a:pt x="129" y="0"/>
                  <a:pt x="133" y="30"/>
                </a:cubicBezTo>
                <a:cubicBezTo>
                  <a:pt x="137" y="66"/>
                  <a:pt x="143" y="70"/>
                  <a:pt x="188" y="69"/>
                </a:cubicBezTo>
                <a:cubicBezTo>
                  <a:pt x="225" y="68"/>
                  <a:pt x="225" y="68"/>
                  <a:pt x="225" y="68"/>
                </a:cubicBezTo>
                <a:cubicBezTo>
                  <a:pt x="229" y="88"/>
                  <a:pt x="229" y="88"/>
                  <a:pt x="229" y="88"/>
                </a:cubicBezTo>
                <a:cubicBezTo>
                  <a:pt x="233" y="105"/>
                  <a:pt x="234" y="107"/>
                  <a:pt x="243" y="107"/>
                </a:cubicBezTo>
                <a:cubicBezTo>
                  <a:pt x="249" y="106"/>
                  <a:pt x="263" y="98"/>
                  <a:pt x="276" y="90"/>
                </a:cubicBezTo>
                <a:cubicBezTo>
                  <a:pt x="302" y="71"/>
                  <a:pt x="340" y="61"/>
                  <a:pt x="357" y="69"/>
                </a:cubicBezTo>
                <a:cubicBezTo>
                  <a:pt x="369" y="74"/>
                  <a:pt x="369" y="77"/>
                  <a:pt x="362" y="87"/>
                </a:cubicBezTo>
                <a:cubicBezTo>
                  <a:pt x="356" y="95"/>
                  <a:pt x="356" y="95"/>
                  <a:pt x="339" y="86"/>
                </a:cubicBezTo>
                <a:cubicBezTo>
                  <a:pt x="320" y="76"/>
                  <a:pt x="317" y="78"/>
                  <a:pt x="313" y="97"/>
                </a:cubicBezTo>
                <a:cubicBezTo>
                  <a:pt x="311" y="110"/>
                  <a:pt x="294" y="128"/>
                  <a:pt x="279" y="134"/>
                </a:cubicBezTo>
                <a:cubicBezTo>
                  <a:pt x="275" y="136"/>
                  <a:pt x="271" y="144"/>
                  <a:pt x="269" y="155"/>
                </a:cubicBezTo>
                <a:cubicBezTo>
                  <a:pt x="266" y="176"/>
                  <a:pt x="266" y="176"/>
                  <a:pt x="240" y="179"/>
                </a:cubicBezTo>
                <a:cubicBezTo>
                  <a:pt x="231" y="180"/>
                  <a:pt x="222" y="181"/>
                  <a:pt x="222" y="182"/>
                </a:cubicBezTo>
                <a:cubicBezTo>
                  <a:pt x="221" y="183"/>
                  <a:pt x="214" y="201"/>
                  <a:pt x="206" y="222"/>
                </a:cubicBezTo>
                <a:cubicBezTo>
                  <a:pt x="197" y="242"/>
                  <a:pt x="185" y="268"/>
                  <a:pt x="179" y="277"/>
                </a:cubicBezTo>
                <a:cubicBezTo>
                  <a:pt x="172" y="287"/>
                  <a:pt x="167" y="296"/>
                  <a:pt x="167" y="298"/>
                </a:cubicBezTo>
                <a:cubicBezTo>
                  <a:pt x="167" y="300"/>
                  <a:pt x="145" y="309"/>
                  <a:pt x="103" y="323"/>
                </a:cubicBezTo>
                <a:cubicBezTo>
                  <a:pt x="91" y="326"/>
                  <a:pt x="82" y="327"/>
                  <a:pt x="76" y="325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62" name="Freeform 128"/>
          <p:cNvSpPr/>
          <p:nvPr userDrawn="1">
            <p:custDataLst>
              <p:tags r:id="rId163"/>
            </p:custDataLst>
          </p:nvPr>
        </p:nvSpPr>
        <p:spPr bwMode="black">
          <a:xfrm>
            <a:off x="1658306" y="1749315"/>
            <a:ext cx="850900" cy="733425"/>
          </a:xfrm>
          <a:custGeom>
            <a:gdLst>
              <a:gd name="T0" fmla="*/ 483 w 592"/>
              <a:gd name="T1" fmla="*/ 501 h 510"/>
              <a:gd name="T2" fmla="*/ 421 w 592"/>
              <a:gd name="T3" fmla="*/ 488 h 510"/>
              <a:gd name="T4" fmla="*/ 325 w 592"/>
              <a:gd name="T5" fmla="*/ 467 h 510"/>
              <a:gd name="T6" fmla="*/ 39 w 592"/>
              <a:gd name="T7" fmla="*/ 407 h 510"/>
              <a:gd name="T8" fmla="*/ 4 w 592"/>
              <a:gd name="T9" fmla="*/ 400 h 510"/>
              <a:gd name="T10" fmla="*/ 1 w 592"/>
              <a:gd name="T11" fmla="*/ 394 h 510"/>
              <a:gd name="T12" fmla="*/ 9 w 592"/>
              <a:gd name="T13" fmla="*/ 362 h 510"/>
              <a:gd name="T14" fmla="*/ 19 w 592"/>
              <a:gd name="T15" fmla="*/ 326 h 510"/>
              <a:gd name="T16" fmla="*/ 25 w 592"/>
              <a:gd name="T17" fmla="*/ 303 h 510"/>
              <a:gd name="T18" fmla="*/ 67 w 592"/>
              <a:gd name="T19" fmla="*/ 124 h 510"/>
              <a:gd name="T20" fmla="*/ 87 w 592"/>
              <a:gd name="T21" fmla="*/ 37 h 510"/>
              <a:gd name="T22" fmla="*/ 97 w 592"/>
              <a:gd name="T23" fmla="*/ 8 h 510"/>
              <a:gd name="T24" fmla="*/ 299 w 592"/>
              <a:gd name="T25" fmla="*/ 42 h 510"/>
              <a:gd name="T26" fmla="*/ 497 w 592"/>
              <a:gd name="T27" fmla="*/ 83 h 510"/>
              <a:gd name="T28" fmla="*/ 546 w 592"/>
              <a:gd name="T29" fmla="*/ 93 h 510"/>
              <a:gd name="T30" fmla="*/ 592 w 592"/>
              <a:gd name="T31" fmla="*/ 103 h 510"/>
              <a:gd name="T32" fmla="*/ 590 w 592"/>
              <a:gd name="T33" fmla="*/ 117 h 510"/>
              <a:gd name="T34" fmla="*/ 563 w 592"/>
              <a:gd name="T35" fmla="*/ 276 h 510"/>
              <a:gd name="T36" fmla="*/ 537 w 592"/>
              <a:gd name="T37" fmla="*/ 430 h 510"/>
              <a:gd name="T38" fmla="*/ 527 w 592"/>
              <a:gd name="T39" fmla="*/ 485 h 510"/>
              <a:gd name="T40" fmla="*/ 523 w 592"/>
              <a:gd name="T41" fmla="*/ 508 h 510"/>
              <a:gd name="T42" fmla="*/ 483 w 592"/>
              <a:gd name="T43" fmla="*/ 501 h 510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92" h="510">
                <a:moveTo>
                  <a:pt x="483" y="501"/>
                </a:moveTo>
                <a:cubicBezTo>
                  <a:pt x="464" y="497"/>
                  <a:pt x="437" y="491"/>
                  <a:pt x="421" y="488"/>
                </a:cubicBezTo>
                <a:cubicBezTo>
                  <a:pt x="406" y="485"/>
                  <a:pt x="363" y="475"/>
                  <a:pt x="325" y="467"/>
                </a:cubicBezTo>
                <a:cubicBezTo>
                  <a:pt x="247" y="451"/>
                  <a:pt x="83" y="416"/>
                  <a:pt x="39" y="407"/>
                </a:cubicBezTo>
                <a:cubicBezTo>
                  <a:pt x="23" y="403"/>
                  <a:pt x="7" y="400"/>
                  <a:pt x="4" y="400"/>
                </a:cubicBezTo>
                <a:cubicBezTo>
                  <a:pt x="1" y="400"/>
                  <a:pt x="0" y="397"/>
                  <a:pt x="1" y="394"/>
                </a:cubicBezTo>
                <a:cubicBezTo>
                  <a:pt x="2" y="390"/>
                  <a:pt x="6" y="376"/>
                  <a:pt x="9" y="362"/>
                </a:cubicBezTo>
                <a:cubicBezTo>
                  <a:pt x="13" y="347"/>
                  <a:pt x="17" y="331"/>
                  <a:pt x="19" y="326"/>
                </a:cubicBezTo>
                <a:cubicBezTo>
                  <a:pt x="21" y="320"/>
                  <a:pt x="24" y="310"/>
                  <a:pt x="25" y="303"/>
                </a:cubicBezTo>
                <a:cubicBezTo>
                  <a:pt x="27" y="291"/>
                  <a:pt x="39" y="239"/>
                  <a:pt x="67" y="124"/>
                </a:cubicBezTo>
                <a:cubicBezTo>
                  <a:pt x="75" y="88"/>
                  <a:pt x="84" y="49"/>
                  <a:pt x="87" y="37"/>
                </a:cubicBezTo>
                <a:cubicBezTo>
                  <a:pt x="89" y="25"/>
                  <a:pt x="94" y="11"/>
                  <a:pt x="97" y="8"/>
                </a:cubicBezTo>
                <a:cubicBezTo>
                  <a:pt x="102" y="0"/>
                  <a:pt x="101" y="0"/>
                  <a:pt x="299" y="42"/>
                </a:cubicBezTo>
                <a:cubicBezTo>
                  <a:pt x="360" y="54"/>
                  <a:pt x="456" y="75"/>
                  <a:pt x="497" y="83"/>
                </a:cubicBezTo>
                <a:cubicBezTo>
                  <a:pt x="499" y="84"/>
                  <a:pt x="522" y="88"/>
                  <a:pt x="546" y="93"/>
                </a:cubicBezTo>
                <a:cubicBezTo>
                  <a:pt x="592" y="103"/>
                  <a:pt x="592" y="103"/>
                  <a:pt x="592" y="103"/>
                </a:cubicBezTo>
                <a:cubicBezTo>
                  <a:pt x="590" y="117"/>
                  <a:pt x="590" y="117"/>
                  <a:pt x="590" y="117"/>
                </a:cubicBezTo>
                <a:cubicBezTo>
                  <a:pt x="589" y="125"/>
                  <a:pt x="577" y="196"/>
                  <a:pt x="563" y="276"/>
                </a:cubicBezTo>
                <a:cubicBezTo>
                  <a:pt x="550" y="355"/>
                  <a:pt x="538" y="424"/>
                  <a:pt x="537" y="430"/>
                </a:cubicBezTo>
                <a:cubicBezTo>
                  <a:pt x="534" y="447"/>
                  <a:pt x="531" y="463"/>
                  <a:pt x="527" y="485"/>
                </a:cubicBezTo>
                <a:cubicBezTo>
                  <a:pt x="525" y="497"/>
                  <a:pt x="523" y="507"/>
                  <a:pt x="523" y="508"/>
                </a:cubicBezTo>
                <a:cubicBezTo>
                  <a:pt x="523" y="510"/>
                  <a:pt x="522" y="510"/>
                  <a:pt x="483" y="501"/>
                </a:cubicBez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63" name="Freeform 130"/>
          <p:cNvSpPr/>
          <p:nvPr userDrawn="1">
            <p:custDataLst>
              <p:tags r:id="rId164"/>
            </p:custDataLst>
          </p:nvPr>
        </p:nvSpPr>
        <p:spPr bwMode="black">
          <a:xfrm>
            <a:off x="3488694" y="187215"/>
            <a:ext cx="2101851" cy="2236788"/>
          </a:xfrm>
          <a:custGeom>
            <a:gdLst>
              <a:gd name="T0" fmla="*/ 901 w 1462"/>
              <a:gd name="T1" fmla="*/ 1532 h 1557"/>
              <a:gd name="T2" fmla="*/ 926 w 1462"/>
              <a:gd name="T3" fmla="*/ 1490 h 1557"/>
              <a:gd name="T4" fmla="*/ 932 w 1462"/>
              <a:gd name="T5" fmla="*/ 1457 h 1557"/>
              <a:gd name="T6" fmla="*/ 967 w 1462"/>
              <a:gd name="T7" fmla="*/ 1389 h 1557"/>
              <a:gd name="T8" fmla="*/ 979 w 1462"/>
              <a:gd name="T9" fmla="*/ 1285 h 1557"/>
              <a:gd name="T10" fmla="*/ 986 w 1462"/>
              <a:gd name="T11" fmla="*/ 1243 h 1557"/>
              <a:gd name="T12" fmla="*/ 965 w 1462"/>
              <a:gd name="T13" fmla="*/ 1202 h 1557"/>
              <a:gd name="T14" fmla="*/ 1056 w 1462"/>
              <a:gd name="T15" fmla="*/ 1267 h 1557"/>
              <a:gd name="T16" fmla="*/ 1009 w 1462"/>
              <a:gd name="T17" fmla="*/ 1142 h 1557"/>
              <a:gd name="T18" fmla="*/ 926 w 1462"/>
              <a:gd name="T19" fmla="*/ 1124 h 1557"/>
              <a:gd name="T20" fmla="*/ 781 w 1462"/>
              <a:gd name="T21" fmla="*/ 1109 h 1557"/>
              <a:gd name="T22" fmla="*/ 732 w 1462"/>
              <a:gd name="T23" fmla="*/ 1069 h 1557"/>
              <a:gd name="T24" fmla="*/ 715 w 1462"/>
              <a:gd name="T25" fmla="*/ 1031 h 1557"/>
              <a:gd name="T26" fmla="*/ 698 w 1462"/>
              <a:gd name="T27" fmla="*/ 976 h 1557"/>
              <a:gd name="T28" fmla="*/ 607 w 1462"/>
              <a:gd name="T29" fmla="*/ 924 h 1557"/>
              <a:gd name="T30" fmla="*/ 596 w 1462"/>
              <a:gd name="T31" fmla="*/ 876 h 1557"/>
              <a:gd name="T32" fmla="*/ 561 w 1462"/>
              <a:gd name="T33" fmla="*/ 867 h 1557"/>
              <a:gd name="T34" fmla="*/ 482 w 1462"/>
              <a:gd name="T35" fmla="*/ 845 h 1557"/>
              <a:gd name="T36" fmla="*/ 455 w 1462"/>
              <a:gd name="T37" fmla="*/ 873 h 1557"/>
              <a:gd name="T38" fmla="*/ 394 w 1462"/>
              <a:gd name="T39" fmla="*/ 929 h 1557"/>
              <a:gd name="T40" fmla="*/ 260 w 1462"/>
              <a:gd name="T41" fmla="*/ 932 h 1557"/>
              <a:gd name="T42" fmla="*/ 196 w 1462"/>
              <a:gd name="T43" fmla="*/ 910 h 1557"/>
              <a:gd name="T44" fmla="*/ 119 w 1462"/>
              <a:gd name="T45" fmla="*/ 882 h 1557"/>
              <a:gd name="T46" fmla="*/ 56 w 1462"/>
              <a:gd name="T47" fmla="*/ 867 h 1557"/>
              <a:gd name="T48" fmla="*/ 13 w 1462"/>
              <a:gd name="T49" fmla="*/ 801 h 1557"/>
              <a:gd name="T50" fmla="*/ 8 w 1462"/>
              <a:gd name="T51" fmla="*/ 600 h 1557"/>
              <a:gd name="T52" fmla="*/ 104 w 1462"/>
              <a:gd name="T53" fmla="*/ 346 h 1557"/>
              <a:gd name="T54" fmla="*/ 196 w 1462"/>
              <a:gd name="T55" fmla="*/ 244 h 1557"/>
              <a:gd name="T56" fmla="*/ 316 w 1462"/>
              <a:gd name="T57" fmla="*/ 105 h 1557"/>
              <a:gd name="T58" fmla="*/ 409 w 1462"/>
              <a:gd name="T59" fmla="*/ 0 h 1557"/>
              <a:gd name="T60" fmla="*/ 466 w 1462"/>
              <a:gd name="T61" fmla="*/ 48 h 1557"/>
              <a:gd name="T62" fmla="*/ 516 w 1462"/>
              <a:gd name="T63" fmla="*/ 82 h 1557"/>
              <a:gd name="T64" fmla="*/ 592 w 1462"/>
              <a:gd name="T65" fmla="*/ 113 h 1557"/>
              <a:gd name="T66" fmla="*/ 644 w 1462"/>
              <a:gd name="T67" fmla="*/ 152 h 1557"/>
              <a:gd name="T68" fmla="*/ 811 w 1462"/>
              <a:gd name="T69" fmla="*/ 166 h 1557"/>
              <a:gd name="T70" fmla="*/ 824 w 1462"/>
              <a:gd name="T71" fmla="*/ 209 h 1557"/>
              <a:gd name="T72" fmla="*/ 822 w 1462"/>
              <a:gd name="T73" fmla="*/ 263 h 1557"/>
              <a:gd name="T74" fmla="*/ 841 w 1462"/>
              <a:gd name="T75" fmla="*/ 336 h 1557"/>
              <a:gd name="T76" fmla="*/ 854 w 1462"/>
              <a:gd name="T77" fmla="*/ 399 h 1557"/>
              <a:gd name="T78" fmla="*/ 964 w 1462"/>
              <a:gd name="T79" fmla="*/ 536 h 1557"/>
              <a:gd name="T80" fmla="*/ 997 w 1462"/>
              <a:gd name="T81" fmla="*/ 557 h 1557"/>
              <a:gd name="T82" fmla="*/ 1024 w 1462"/>
              <a:gd name="T83" fmla="*/ 575 h 1557"/>
              <a:gd name="T84" fmla="*/ 1036 w 1462"/>
              <a:gd name="T85" fmla="*/ 678 h 1557"/>
              <a:gd name="T86" fmla="*/ 1044 w 1462"/>
              <a:gd name="T87" fmla="*/ 746 h 1557"/>
              <a:gd name="T88" fmla="*/ 1056 w 1462"/>
              <a:gd name="T89" fmla="*/ 850 h 1557"/>
              <a:gd name="T90" fmla="*/ 1083 w 1462"/>
              <a:gd name="T91" fmla="*/ 1001 h 1557"/>
              <a:gd name="T92" fmla="*/ 1216 w 1462"/>
              <a:gd name="T93" fmla="*/ 1080 h 1557"/>
              <a:gd name="T94" fmla="*/ 1284 w 1462"/>
              <a:gd name="T95" fmla="*/ 1106 h 1557"/>
              <a:gd name="T96" fmla="*/ 1314 w 1462"/>
              <a:gd name="T97" fmla="*/ 1137 h 1557"/>
              <a:gd name="T98" fmla="*/ 1408 w 1462"/>
              <a:gd name="T99" fmla="*/ 1119 h 1557"/>
              <a:gd name="T100" fmla="*/ 1460 w 1462"/>
              <a:gd name="T101" fmla="*/ 1129 h 1557"/>
              <a:gd name="T102" fmla="*/ 1372 w 1462"/>
              <a:gd name="T103" fmla="*/ 1230 h 1557"/>
              <a:gd name="T104" fmla="*/ 1320 w 1462"/>
              <a:gd name="T105" fmla="*/ 1285 h 1557"/>
              <a:gd name="T106" fmla="*/ 1134 w 1462"/>
              <a:gd name="T107" fmla="*/ 1359 h 1557"/>
              <a:gd name="T108" fmla="*/ 1157 w 1462"/>
              <a:gd name="T109" fmla="*/ 1399 h 1557"/>
              <a:gd name="T110" fmla="*/ 1149 w 1462"/>
              <a:gd name="T111" fmla="*/ 1430 h 1557"/>
              <a:gd name="T112" fmla="*/ 1082 w 1462"/>
              <a:gd name="T113" fmla="*/ 1469 h 1557"/>
              <a:gd name="T114" fmla="*/ 1081 w 1462"/>
              <a:gd name="T115" fmla="*/ 1480 h 1557"/>
              <a:gd name="T116" fmla="*/ 958 w 1462"/>
              <a:gd name="T117" fmla="*/ 1522 h 1557"/>
              <a:gd name="T118" fmla="*/ 887 w 1462"/>
              <a:gd name="T119" fmla="*/ 1556 h 1557"/>
              <a:gd name="T120" fmla="*/ 880 w 1462"/>
              <a:gd name="T121" fmla="*/ 1546 h 1557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62" h="1557">
                <a:moveTo>
                  <a:pt x="880" y="1546"/>
                </a:moveTo>
                <a:cubicBezTo>
                  <a:pt x="884" y="1538"/>
                  <a:pt x="890" y="1534"/>
                  <a:pt x="901" y="1532"/>
                </a:cubicBezTo>
                <a:cubicBezTo>
                  <a:pt x="909" y="1531"/>
                  <a:pt x="918" y="1528"/>
                  <a:pt x="921" y="1526"/>
                </a:cubicBezTo>
                <a:cubicBezTo>
                  <a:pt x="929" y="1521"/>
                  <a:pt x="933" y="1494"/>
                  <a:pt x="926" y="1490"/>
                </a:cubicBezTo>
                <a:cubicBezTo>
                  <a:pt x="923" y="1487"/>
                  <a:pt x="922" y="1484"/>
                  <a:pt x="925" y="1479"/>
                </a:cubicBezTo>
                <a:cubicBezTo>
                  <a:pt x="927" y="1475"/>
                  <a:pt x="930" y="1465"/>
                  <a:pt x="932" y="1457"/>
                </a:cubicBezTo>
                <a:cubicBezTo>
                  <a:pt x="933" y="1448"/>
                  <a:pt x="938" y="1439"/>
                  <a:pt x="942" y="1437"/>
                </a:cubicBezTo>
                <a:cubicBezTo>
                  <a:pt x="956" y="1427"/>
                  <a:pt x="969" y="1403"/>
                  <a:pt x="967" y="1389"/>
                </a:cubicBezTo>
                <a:cubicBezTo>
                  <a:pt x="967" y="1382"/>
                  <a:pt x="966" y="1361"/>
                  <a:pt x="965" y="1343"/>
                </a:cubicBezTo>
                <a:cubicBezTo>
                  <a:pt x="965" y="1313"/>
                  <a:pt x="966" y="1309"/>
                  <a:pt x="979" y="1285"/>
                </a:cubicBezTo>
                <a:cubicBezTo>
                  <a:pt x="994" y="1259"/>
                  <a:pt x="994" y="1259"/>
                  <a:pt x="994" y="1259"/>
                </a:cubicBezTo>
                <a:cubicBezTo>
                  <a:pt x="986" y="1243"/>
                  <a:pt x="986" y="1243"/>
                  <a:pt x="986" y="1243"/>
                </a:cubicBezTo>
                <a:cubicBezTo>
                  <a:pt x="982" y="1235"/>
                  <a:pt x="975" y="1224"/>
                  <a:pt x="971" y="1220"/>
                </a:cubicBezTo>
                <a:cubicBezTo>
                  <a:pt x="962" y="1213"/>
                  <a:pt x="959" y="1202"/>
                  <a:pt x="965" y="1202"/>
                </a:cubicBezTo>
                <a:cubicBezTo>
                  <a:pt x="967" y="1202"/>
                  <a:pt x="979" y="1212"/>
                  <a:pt x="992" y="1225"/>
                </a:cubicBezTo>
                <a:cubicBezTo>
                  <a:pt x="1013" y="1247"/>
                  <a:pt x="1035" y="1261"/>
                  <a:pt x="1056" y="1267"/>
                </a:cubicBezTo>
                <a:cubicBezTo>
                  <a:pt x="1078" y="1273"/>
                  <a:pt x="1090" y="1236"/>
                  <a:pt x="1074" y="1213"/>
                </a:cubicBezTo>
                <a:cubicBezTo>
                  <a:pt x="1063" y="1198"/>
                  <a:pt x="1020" y="1150"/>
                  <a:pt x="1009" y="1142"/>
                </a:cubicBezTo>
                <a:cubicBezTo>
                  <a:pt x="1004" y="1139"/>
                  <a:pt x="989" y="1135"/>
                  <a:pt x="975" y="1133"/>
                </a:cubicBezTo>
                <a:cubicBezTo>
                  <a:pt x="960" y="1132"/>
                  <a:pt x="938" y="1127"/>
                  <a:pt x="926" y="1124"/>
                </a:cubicBezTo>
                <a:cubicBezTo>
                  <a:pt x="911" y="1119"/>
                  <a:pt x="887" y="1118"/>
                  <a:pt x="845" y="1118"/>
                </a:cubicBezTo>
                <a:cubicBezTo>
                  <a:pt x="791" y="1118"/>
                  <a:pt x="786" y="1117"/>
                  <a:pt x="781" y="1109"/>
                </a:cubicBezTo>
                <a:cubicBezTo>
                  <a:pt x="778" y="1105"/>
                  <a:pt x="766" y="1096"/>
                  <a:pt x="754" y="1090"/>
                </a:cubicBezTo>
                <a:cubicBezTo>
                  <a:pt x="737" y="1081"/>
                  <a:pt x="733" y="1077"/>
                  <a:pt x="732" y="1069"/>
                </a:cubicBezTo>
                <a:cubicBezTo>
                  <a:pt x="732" y="1063"/>
                  <a:pt x="727" y="1052"/>
                  <a:pt x="720" y="1046"/>
                </a:cubicBezTo>
                <a:cubicBezTo>
                  <a:pt x="710" y="1035"/>
                  <a:pt x="710" y="1033"/>
                  <a:pt x="715" y="1031"/>
                </a:cubicBezTo>
                <a:cubicBezTo>
                  <a:pt x="724" y="1028"/>
                  <a:pt x="724" y="1019"/>
                  <a:pt x="714" y="1005"/>
                </a:cubicBezTo>
                <a:cubicBezTo>
                  <a:pt x="710" y="999"/>
                  <a:pt x="702" y="986"/>
                  <a:pt x="698" y="976"/>
                </a:cubicBezTo>
                <a:cubicBezTo>
                  <a:pt x="691" y="961"/>
                  <a:pt x="688" y="958"/>
                  <a:pt x="675" y="956"/>
                </a:cubicBezTo>
                <a:cubicBezTo>
                  <a:pt x="659" y="954"/>
                  <a:pt x="617" y="933"/>
                  <a:pt x="607" y="924"/>
                </a:cubicBezTo>
                <a:cubicBezTo>
                  <a:pt x="604" y="921"/>
                  <a:pt x="601" y="911"/>
                  <a:pt x="600" y="903"/>
                </a:cubicBezTo>
                <a:cubicBezTo>
                  <a:pt x="600" y="894"/>
                  <a:pt x="598" y="882"/>
                  <a:pt x="596" y="876"/>
                </a:cubicBezTo>
                <a:cubicBezTo>
                  <a:pt x="593" y="865"/>
                  <a:pt x="593" y="865"/>
                  <a:pt x="593" y="865"/>
                </a:cubicBezTo>
                <a:cubicBezTo>
                  <a:pt x="561" y="867"/>
                  <a:pt x="561" y="867"/>
                  <a:pt x="561" y="867"/>
                </a:cubicBezTo>
                <a:cubicBezTo>
                  <a:pt x="531" y="869"/>
                  <a:pt x="527" y="868"/>
                  <a:pt x="505" y="857"/>
                </a:cubicBezTo>
                <a:cubicBezTo>
                  <a:pt x="482" y="845"/>
                  <a:pt x="482" y="845"/>
                  <a:pt x="482" y="845"/>
                </a:cubicBezTo>
                <a:cubicBezTo>
                  <a:pt x="466" y="856"/>
                  <a:pt x="466" y="856"/>
                  <a:pt x="466" y="856"/>
                </a:cubicBezTo>
                <a:cubicBezTo>
                  <a:pt x="451" y="865"/>
                  <a:pt x="450" y="867"/>
                  <a:pt x="455" y="873"/>
                </a:cubicBezTo>
                <a:cubicBezTo>
                  <a:pt x="461" y="878"/>
                  <a:pt x="459" y="880"/>
                  <a:pt x="435" y="896"/>
                </a:cubicBezTo>
                <a:cubicBezTo>
                  <a:pt x="420" y="906"/>
                  <a:pt x="402" y="921"/>
                  <a:pt x="394" y="929"/>
                </a:cubicBezTo>
                <a:cubicBezTo>
                  <a:pt x="377" y="947"/>
                  <a:pt x="376" y="947"/>
                  <a:pt x="318" y="937"/>
                </a:cubicBezTo>
                <a:cubicBezTo>
                  <a:pt x="302" y="935"/>
                  <a:pt x="275" y="932"/>
                  <a:pt x="260" y="932"/>
                </a:cubicBezTo>
                <a:cubicBezTo>
                  <a:pt x="233" y="931"/>
                  <a:pt x="206" y="921"/>
                  <a:pt x="206" y="913"/>
                </a:cubicBezTo>
                <a:cubicBezTo>
                  <a:pt x="206" y="911"/>
                  <a:pt x="202" y="910"/>
                  <a:pt x="196" y="910"/>
                </a:cubicBezTo>
                <a:cubicBezTo>
                  <a:pt x="190" y="910"/>
                  <a:pt x="180" y="904"/>
                  <a:pt x="171" y="896"/>
                </a:cubicBezTo>
                <a:cubicBezTo>
                  <a:pt x="156" y="882"/>
                  <a:pt x="156" y="882"/>
                  <a:pt x="119" y="882"/>
                </a:cubicBezTo>
                <a:cubicBezTo>
                  <a:pt x="93" y="882"/>
                  <a:pt x="81" y="880"/>
                  <a:pt x="77" y="876"/>
                </a:cubicBezTo>
                <a:cubicBezTo>
                  <a:pt x="74" y="873"/>
                  <a:pt x="64" y="869"/>
                  <a:pt x="56" y="867"/>
                </a:cubicBezTo>
                <a:cubicBezTo>
                  <a:pt x="34" y="863"/>
                  <a:pt x="31" y="860"/>
                  <a:pt x="28" y="832"/>
                </a:cubicBezTo>
                <a:cubicBezTo>
                  <a:pt x="26" y="810"/>
                  <a:pt x="25" y="807"/>
                  <a:pt x="13" y="801"/>
                </a:cubicBezTo>
                <a:cubicBezTo>
                  <a:pt x="1" y="795"/>
                  <a:pt x="0" y="794"/>
                  <a:pt x="1" y="771"/>
                </a:cubicBezTo>
                <a:cubicBezTo>
                  <a:pt x="1" y="746"/>
                  <a:pt x="6" y="638"/>
                  <a:pt x="8" y="600"/>
                </a:cubicBezTo>
                <a:cubicBezTo>
                  <a:pt x="9" y="586"/>
                  <a:pt x="11" y="547"/>
                  <a:pt x="12" y="512"/>
                </a:cubicBezTo>
                <a:cubicBezTo>
                  <a:pt x="15" y="432"/>
                  <a:pt x="8" y="445"/>
                  <a:pt x="104" y="346"/>
                </a:cubicBezTo>
                <a:cubicBezTo>
                  <a:pt x="124" y="325"/>
                  <a:pt x="152" y="294"/>
                  <a:pt x="166" y="278"/>
                </a:cubicBezTo>
                <a:cubicBezTo>
                  <a:pt x="180" y="262"/>
                  <a:pt x="194" y="246"/>
                  <a:pt x="196" y="244"/>
                </a:cubicBezTo>
                <a:cubicBezTo>
                  <a:pt x="199" y="242"/>
                  <a:pt x="222" y="214"/>
                  <a:pt x="248" y="184"/>
                </a:cubicBezTo>
                <a:cubicBezTo>
                  <a:pt x="275" y="153"/>
                  <a:pt x="305" y="118"/>
                  <a:pt x="316" y="105"/>
                </a:cubicBezTo>
                <a:cubicBezTo>
                  <a:pt x="370" y="46"/>
                  <a:pt x="394" y="19"/>
                  <a:pt x="401" y="10"/>
                </a:cubicBezTo>
                <a:cubicBezTo>
                  <a:pt x="409" y="0"/>
                  <a:pt x="409" y="0"/>
                  <a:pt x="409" y="0"/>
                </a:cubicBezTo>
                <a:cubicBezTo>
                  <a:pt x="423" y="7"/>
                  <a:pt x="423" y="7"/>
                  <a:pt x="423" y="7"/>
                </a:cubicBezTo>
                <a:cubicBezTo>
                  <a:pt x="439" y="16"/>
                  <a:pt x="466" y="42"/>
                  <a:pt x="466" y="48"/>
                </a:cubicBezTo>
                <a:cubicBezTo>
                  <a:pt x="466" y="50"/>
                  <a:pt x="472" y="58"/>
                  <a:pt x="479" y="65"/>
                </a:cubicBezTo>
                <a:cubicBezTo>
                  <a:pt x="489" y="74"/>
                  <a:pt x="499" y="79"/>
                  <a:pt x="516" y="82"/>
                </a:cubicBezTo>
                <a:cubicBezTo>
                  <a:pt x="533" y="85"/>
                  <a:pt x="544" y="90"/>
                  <a:pt x="552" y="98"/>
                </a:cubicBezTo>
                <a:cubicBezTo>
                  <a:pt x="564" y="109"/>
                  <a:pt x="574" y="113"/>
                  <a:pt x="592" y="113"/>
                </a:cubicBezTo>
                <a:cubicBezTo>
                  <a:pt x="597" y="113"/>
                  <a:pt x="610" y="122"/>
                  <a:pt x="622" y="133"/>
                </a:cubicBezTo>
                <a:cubicBezTo>
                  <a:pt x="644" y="152"/>
                  <a:pt x="644" y="152"/>
                  <a:pt x="644" y="152"/>
                </a:cubicBezTo>
                <a:cubicBezTo>
                  <a:pt x="719" y="155"/>
                  <a:pt x="719" y="155"/>
                  <a:pt x="719" y="155"/>
                </a:cubicBezTo>
                <a:cubicBezTo>
                  <a:pt x="784" y="157"/>
                  <a:pt x="796" y="158"/>
                  <a:pt x="811" y="166"/>
                </a:cubicBezTo>
                <a:cubicBezTo>
                  <a:pt x="827" y="174"/>
                  <a:pt x="827" y="174"/>
                  <a:pt x="827" y="174"/>
                </a:cubicBezTo>
                <a:cubicBezTo>
                  <a:pt x="824" y="209"/>
                  <a:pt x="824" y="209"/>
                  <a:pt x="824" y="209"/>
                </a:cubicBezTo>
                <a:cubicBezTo>
                  <a:pt x="823" y="228"/>
                  <a:pt x="820" y="245"/>
                  <a:pt x="818" y="247"/>
                </a:cubicBezTo>
                <a:cubicBezTo>
                  <a:pt x="816" y="249"/>
                  <a:pt x="818" y="256"/>
                  <a:pt x="822" y="263"/>
                </a:cubicBezTo>
                <a:cubicBezTo>
                  <a:pt x="827" y="270"/>
                  <a:pt x="831" y="283"/>
                  <a:pt x="832" y="293"/>
                </a:cubicBezTo>
                <a:cubicBezTo>
                  <a:pt x="837" y="325"/>
                  <a:pt x="837" y="329"/>
                  <a:pt x="841" y="336"/>
                </a:cubicBezTo>
                <a:cubicBezTo>
                  <a:pt x="843" y="340"/>
                  <a:pt x="844" y="352"/>
                  <a:pt x="844" y="362"/>
                </a:cubicBezTo>
                <a:cubicBezTo>
                  <a:pt x="843" y="377"/>
                  <a:pt x="845" y="384"/>
                  <a:pt x="854" y="399"/>
                </a:cubicBezTo>
                <a:cubicBezTo>
                  <a:pt x="870" y="423"/>
                  <a:pt x="918" y="482"/>
                  <a:pt x="922" y="482"/>
                </a:cubicBezTo>
                <a:cubicBezTo>
                  <a:pt x="932" y="482"/>
                  <a:pt x="957" y="515"/>
                  <a:pt x="964" y="536"/>
                </a:cubicBezTo>
                <a:cubicBezTo>
                  <a:pt x="972" y="558"/>
                  <a:pt x="972" y="558"/>
                  <a:pt x="972" y="558"/>
                </a:cubicBezTo>
                <a:cubicBezTo>
                  <a:pt x="997" y="557"/>
                  <a:pt x="997" y="557"/>
                  <a:pt x="997" y="557"/>
                </a:cubicBezTo>
                <a:cubicBezTo>
                  <a:pt x="1022" y="555"/>
                  <a:pt x="1022" y="555"/>
                  <a:pt x="1022" y="555"/>
                </a:cubicBezTo>
                <a:cubicBezTo>
                  <a:pt x="1024" y="575"/>
                  <a:pt x="1024" y="575"/>
                  <a:pt x="1024" y="575"/>
                </a:cubicBezTo>
                <a:cubicBezTo>
                  <a:pt x="1028" y="607"/>
                  <a:pt x="1030" y="622"/>
                  <a:pt x="1032" y="646"/>
                </a:cubicBezTo>
                <a:cubicBezTo>
                  <a:pt x="1033" y="658"/>
                  <a:pt x="1035" y="672"/>
                  <a:pt x="1036" y="678"/>
                </a:cubicBezTo>
                <a:cubicBezTo>
                  <a:pt x="1037" y="683"/>
                  <a:pt x="1039" y="698"/>
                  <a:pt x="1040" y="712"/>
                </a:cubicBezTo>
                <a:cubicBezTo>
                  <a:pt x="1041" y="725"/>
                  <a:pt x="1043" y="740"/>
                  <a:pt x="1044" y="746"/>
                </a:cubicBezTo>
                <a:cubicBezTo>
                  <a:pt x="1046" y="759"/>
                  <a:pt x="1050" y="791"/>
                  <a:pt x="1052" y="816"/>
                </a:cubicBezTo>
                <a:cubicBezTo>
                  <a:pt x="1053" y="827"/>
                  <a:pt x="1055" y="842"/>
                  <a:pt x="1056" y="850"/>
                </a:cubicBezTo>
                <a:cubicBezTo>
                  <a:pt x="1062" y="898"/>
                  <a:pt x="1066" y="931"/>
                  <a:pt x="1068" y="951"/>
                </a:cubicBezTo>
                <a:cubicBezTo>
                  <a:pt x="1070" y="964"/>
                  <a:pt x="1076" y="987"/>
                  <a:pt x="1083" y="1001"/>
                </a:cubicBezTo>
                <a:cubicBezTo>
                  <a:pt x="1093" y="1024"/>
                  <a:pt x="1098" y="1031"/>
                  <a:pt x="1118" y="1045"/>
                </a:cubicBezTo>
                <a:cubicBezTo>
                  <a:pt x="1144" y="1063"/>
                  <a:pt x="1180" y="1076"/>
                  <a:pt x="1216" y="1080"/>
                </a:cubicBezTo>
                <a:cubicBezTo>
                  <a:pt x="1233" y="1081"/>
                  <a:pt x="1246" y="1086"/>
                  <a:pt x="1258" y="1094"/>
                </a:cubicBezTo>
                <a:cubicBezTo>
                  <a:pt x="1269" y="1100"/>
                  <a:pt x="1280" y="1106"/>
                  <a:pt x="1284" y="1106"/>
                </a:cubicBezTo>
                <a:cubicBezTo>
                  <a:pt x="1289" y="1106"/>
                  <a:pt x="1297" y="1113"/>
                  <a:pt x="1303" y="1121"/>
                </a:cubicBezTo>
                <a:cubicBezTo>
                  <a:pt x="1314" y="1137"/>
                  <a:pt x="1314" y="1137"/>
                  <a:pt x="1314" y="1137"/>
                </a:cubicBezTo>
                <a:cubicBezTo>
                  <a:pt x="1349" y="1135"/>
                  <a:pt x="1349" y="1135"/>
                  <a:pt x="1349" y="1135"/>
                </a:cubicBezTo>
                <a:cubicBezTo>
                  <a:pt x="1378" y="1133"/>
                  <a:pt x="1386" y="1131"/>
                  <a:pt x="1408" y="1119"/>
                </a:cubicBezTo>
                <a:cubicBezTo>
                  <a:pt x="1434" y="1105"/>
                  <a:pt x="1454" y="1099"/>
                  <a:pt x="1454" y="1104"/>
                </a:cubicBezTo>
                <a:cubicBezTo>
                  <a:pt x="1455" y="1111"/>
                  <a:pt x="1457" y="1121"/>
                  <a:pt x="1460" y="1129"/>
                </a:cubicBezTo>
                <a:cubicBezTo>
                  <a:pt x="1462" y="1136"/>
                  <a:pt x="1459" y="1140"/>
                  <a:pt x="1447" y="1151"/>
                </a:cubicBezTo>
                <a:cubicBezTo>
                  <a:pt x="1422" y="1172"/>
                  <a:pt x="1402" y="1194"/>
                  <a:pt x="1372" y="1230"/>
                </a:cubicBezTo>
                <a:cubicBezTo>
                  <a:pt x="1357" y="1250"/>
                  <a:pt x="1342" y="1265"/>
                  <a:pt x="1340" y="1266"/>
                </a:cubicBezTo>
                <a:cubicBezTo>
                  <a:pt x="1333" y="1266"/>
                  <a:pt x="1317" y="1281"/>
                  <a:pt x="1320" y="1285"/>
                </a:cubicBezTo>
                <a:cubicBezTo>
                  <a:pt x="1324" y="1292"/>
                  <a:pt x="1292" y="1304"/>
                  <a:pt x="1266" y="1305"/>
                </a:cubicBezTo>
                <a:cubicBezTo>
                  <a:pt x="1218" y="1307"/>
                  <a:pt x="1149" y="1335"/>
                  <a:pt x="1134" y="1359"/>
                </a:cubicBezTo>
                <a:cubicBezTo>
                  <a:pt x="1120" y="1383"/>
                  <a:pt x="1120" y="1389"/>
                  <a:pt x="1135" y="1395"/>
                </a:cubicBezTo>
                <a:cubicBezTo>
                  <a:pt x="1143" y="1399"/>
                  <a:pt x="1152" y="1400"/>
                  <a:pt x="1157" y="1399"/>
                </a:cubicBezTo>
                <a:cubicBezTo>
                  <a:pt x="1163" y="1398"/>
                  <a:pt x="1166" y="1400"/>
                  <a:pt x="1171" y="1411"/>
                </a:cubicBezTo>
                <a:cubicBezTo>
                  <a:pt x="1179" y="1427"/>
                  <a:pt x="1176" y="1430"/>
                  <a:pt x="1149" y="1430"/>
                </a:cubicBezTo>
                <a:cubicBezTo>
                  <a:pt x="1133" y="1430"/>
                  <a:pt x="1089" y="1446"/>
                  <a:pt x="1078" y="1456"/>
                </a:cubicBezTo>
                <a:cubicBezTo>
                  <a:pt x="1073" y="1461"/>
                  <a:pt x="1073" y="1463"/>
                  <a:pt x="1082" y="1469"/>
                </a:cubicBezTo>
                <a:cubicBezTo>
                  <a:pt x="1092" y="1477"/>
                  <a:pt x="1092" y="1477"/>
                  <a:pt x="1092" y="1477"/>
                </a:cubicBezTo>
                <a:cubicBezTo>
                  <a:pt x="1081" y="1480"/>
                  <a:pt x="1081" y="1480"/>
                  <a:pt x="1081" y="1480"/>
                </a:cubicBezTo>
                <a:cubicBezTo>
                  <a:pt x="1075" y="1481"/>
                  <a:pt x="1062" y="1480"/>
                  <a:pt x="1052" y="1478"/>
                </a:cubicBezTo>
                <a:cubicBezTo>
                  <a:pt x="1014" y="1468"/>
                  <a:pt x="1005" y="1473"/>
                  <a:pt x="958" y="1522"/>
                </a:cubicBezTo>
                <a:cubicBezTo>
                  <a:pt x="932" y="1549"/>
                  <a:pt x="926" y="1554"/>
                  <a:pt x="914" y="1554"/>
                </a:cubicBezTo>
                <a:cubicBezTo>
                  <a:pt x="906" y="1554"/>
                  <a:pt x="894" y="1555"/>
                  <a:pt x="887" y="1556"/>
                </a:cubicBezTo>
                <a:cubicBezTo>
                  <a:pt x="874" y="1557"/>
                  <a:pt x="874" y="1557"/>
                  <a:pt x="874" y="1557"/>
                </a:cubicBezTo>
                <a:lnTo>
                  <a:pt x="880" y="1546"/>
                </a:lnTo>
                <a:close/>
              </a:path>
            </a:pathLst>
          </a:custGeom>
          <a:solidFill>
            <a:srgbClr val="0090A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64" name="Oval 163"/>
          <p:cNvSpPr/>
          <p:nvPr userDrawn="1">
            <p:custDataLst>
              <p:tags r:id="rId165"/>
            </p:custDataLst>
          </p:nvPr>
        </p:nvSpPr>
        <p:spPr>
          <a:xfrm>
            <a:off x="5018664" y="3293134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Oval 164"/>
          <p:cNvSpPr/>
          <p:nvPr userDrawn="1">
            <p:custDataLst>
              <p:tags r:id="rId166"/>
            </p:custDataLst>
          </p:nvPr>
        </p:nvSpPr>
        <p:spPr>
          <a:xfrm>
            <a:off x="5155824" y="3622725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Oval 165"/>
          <p:cNvSpPr/>
          <p:nvPr userDrawn="1">
            <p:custDataLst>
              <p:tags r:id="rId167"/>
            </p:custDataLst>
          </p:nvPr>
        </p:nvSpPr>
        <p:spPr>
          <a:xfrm>
            <a:off x="4855532" y="3403491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Oval 166"/>
          <p:cNvSpPr/>
          <p:nvPr userDrawn="1">
            <p:custDataLst>
              <p:tags r:id="rId168"/>
            </p:custDataLst>
          </p:nvPr>
        </p:nvSpPr>
        <p:spPr>
          <a:xfrm>
            <a:off x="5018664" y="3501281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Oval 167"/>
          <p:cNvSpPr/>
          <p:nvPr userDrawn="1">
            <p:custDataLst>
              <p:tags r:id="rId169"/>
            </p:custDataLst>
          </p:nvPr>
        </p:nvSpPr>
        <p:spPr>
          <a:xfrm>
            <a:off x="4616334" y="3564146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Oval 168"/>
          <p:cNvSpPr/>
          <p:nvPr userDrawn="1">
            <p:custDataLst>
              <p:tags r:id="rId170"/>
            </p:custDataLst>
          </p:nvPr>
        </p:nvSpPr>
        <p:spPr>
          <a:xfrm>
            <a:off x="4309721" y="3602881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Oval 170"/>
          <p:cNvSpPr/>
          <p:nvPr userDrawn="1">
            <p:custDataLst>
              <p:tags r:id="rId171"/>
            </p:custDataLst>
          </p:nvPr>
        </p:nvSpPr>
        <p:spPr>
          <a:xfrm>
            <a:off x="3852977" y="3390634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Oval 171"/>
          <p:cNvSpPr/>
          <p:nvPr userDrawn="1">
            <p:custDataLst>
              <p:tags r:id="rId172"/>
            </p:custDataLst>
          </p:nvPr>
        </p:nvSpPr>
        <p:spPr>
          <a:xfrm>
            <a:off x="4221494" y="3233305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3" name="Oval 172"/>
          <p:cNvSpPr/>
          <p:nvPr userDrawn="1">
            <p:custDataLst>
              <p:tags r:id="rId173"/>
            </p:custDataLst>
          </p:nvPr>
        </p:nvSpPr>
        <p:spPr>
          <a:xfrm>
            <a:off x="3855080" y="4283272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" name="Oval 173"/>
          <p:cNvSpPr/>
          <p:nvPr userDrawn="1">
            <p:custDataLst>
              <p:tags r:id="rId174"/>
            </p:custDataLst>
          </p:nvPr>
        </p:nvSpPr>
        <p:spPr>
          <a:xfrm>
            <a:off x="4849987" y="4406315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Oval 174"/>
          <p:cNvSpPr/>
          <p:nvPr userDrawn="1">
            <p:custDataLst>
              <p:tags r:id="rId175"/>
            </p:custDataLst>
          </p:nvPr>
        </p:nvSpPr>
        <p:spPr>
          <a:xfrm>
            <a:off x="5219060" y="4770973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Oval 175"/>
          <p:cNvSpPr/>
          <p:nvPr userDrawn="1">
            <p:custDataLst>
              <p:tags r:id="rId176"/>
            </p:custDataLst>
          </p:nvPr>
        </p:nvSpPr>
        <p:spPr>
          <a:xfrm>
            <a:off x="5313966" y="3180145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7" name="Oval 176"/>
          <p:cNvSpPr/>
          <p:nvPr userDrawn="1">
            <p:custDataLst>
              <p:tags r:id="rId177"/>
            </p:custDataLst>
          </p:nvPr>
        </p:nvSpPr>
        <p:spPr>
          <a:xfrm>
            <a:off x="5340947" y="2906527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8" name="Oval 177"/>
          <p:cNvSpPr/>
          <p:nvPr userDrawn="1">
            <p:custDataLst>
              <p:tags r:id="rId178"/>
            </p:custDataLst>
          </p:nvPr>
        </p:nvSpPr>
        <p:spPr>
          <a:xfrm>
            <a:off x="5333688" y="2681115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Oval 178"/>
          <p:cNvSpPr/>
          <p:nvPr userDrawn="1">
            <p:custDataLst>
              <p:tags r:id="rId179"/>
            </p:custDataLst>
          </p:nvPr>
        </p:nvSpPr>
        <p:spPr>
          <a:xfrm>
            <a:off x="5012676" y="2510687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0" name="Oval 179"/>
          <p:cNvSpPr/>
          <p:nvPr userDrawn="1">
            <p:custDataLst>
              <p:tags r:id="rId180"/>
            </p:custDataLst>
          </p:nvPr>
        </p:nvSpPr>
        <p:spPr>
          <a:xfrm>
            <a:off x="5463235" y="2497982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1" name="Oval 180"/>
          <p:cNvSpPr/>
          <p:nvPr userDrawn="1">
            <p:custDataLst>
              <p:tags r:id="rId181"/>
            </p:custDataLst>
          </p:nvPr>
        </p:nvSpPr>
        <p:spPr>
          <a:xfrm>
            <a:off x="5701513" y="2298909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2" name="Oval 181"/>
          <p:cNvSpPr/>
          <p:nvPr userDrawn="1">
            <p:custDataLst>
              <p:tags r:id="rId182"/>
            </p:custDataLst>
          </p:nvPr>
        </p:nvSpPr>
        <p:spPr>
          <a:xfrm>
            <a:off x="5599744" y="2353668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3" name="Oval 182"/>
          <p:cNvSpPr/>
          <p:nvPr userDrawn="1">
            <p:custDataLst>
              <p:tags r:id="rId183"/>
            </p:custDataLst>
          </p:nvPr>
        </p:nvSpPr>
        <p:spPr>
          <a:xfrm>
            <a:off x="5782314" y="2168417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" name="Oval 183"/>
          <p:cNvSpPr/>
          <p:nvPr userDrawn="1">
            <p:custDataLst>
              <p:tags r:id="rId184"/>
            </p:custDataLst>
          </p:nvPr>
        </p:nvSpPr>
        <p:spPr>
          <a:xfrm>
            <a:off x="5939159" y="2024109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5" name="Oval 184"/>
          <p:cNvSpPr/>
          <p:nvPr userDrawn="1">
            <p:custDataLst>
              <p:tags r:id="rId185"/>
            </p:custDataLst>
          </p:nvPr>
        </p:nvSpPr>
        <p:spPr>
          <a:xfrm>
            <a:off x="6001152" y="1751698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6" name="Oval 185"/>
          <p:cNvSpPr/>
          <p:nvPr userDrawn="1">
            <p:custDataLst>
              <p:tags r:id="rId186"/>
            </p:custDataLst>
          </p:nvPr>
        </p:nvSpPr>
        <p:spPr>
          <a:xfrm>
            <a:off x="4931096" y="1929969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Oval 186"/>
          <p:cNvSpPr/>
          <p:nvPr userDrawn="1">
            <p:custDataLst>
              <p:tags r:id="rId187"/>
            </p:custDataLst>
          </p:nvPr>
        </p:nvSpPr>
        <p:spPr>
          <a:xfrm>
            <a:off x="4555980" y="2223474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8" name="Oval 187"/>
          <p:cNvSpPr/>
          <p:nvPr userDrawn="1">
            <p:custDataLst>
              <p:tags r:id="rId188"/>
            </p:custDataLst>
          </p:nvPr>
        </p:nvSpPr>
        <p:spPr>
          <a:xfrm>
            <a:off x="4720114" y="2441470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9" name="Oval 188"/>
          <p:cNvSpPr/>
          <p:nvPr userDrawn="1">
            <p:custDataLst>
              <p:tags r:id="rId189"/>
            </p:custDataLst>
          </p:nvPr>
        </p:nvSpPr>
        <p:spPr>
          <a:xfrm>
            <a:off x="4297204" y="2576721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0" name="Oval 189"/>
          <p:cNvSpPr/>
          <p:nvPr userDrawn="1">
            <p:custDataLst>
              <p:tags r:id="rId190"/>
            </p:custDataLst>
          </p:nvPr>
        </p:nvSpPr>
        <p:spPr>
          <a:xfrm>
            <a:off x="3790975" y="2816614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1" name="Oval 190"/>
          <p:cNvSpPr/>
          <p:nvPr userDrawn="1">
            <p:custDataLst>
              <p:tags r:id="rId191"/>
            </p:custDataLst>
          </p:nvPr>
        </p:nvSpPr>
        <p:spPr>
          <a:xfrm>
            <a:off x="4084346" y="2338430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2" name="Oval 191"/>
          <p:cNvSpPr/>
          <p:nvPr userDrawn="1">
            <p:custDataLst>
              <p:tags r:id="rId192"/>
            </p:custDataLst>
          </p:nvPr>
        </p:nvSpPr>
        <p:spPr>
          <a:xfrm>
            <a:off x="4056389" y="2077606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Oval 192"/>
          <p:cNvSpPr/>
          <p:nvPr userDrawn="1">
            <p:custDataLst>
              <p:tags r:id="rId193"/>
            </p:custDataLst>
          </p:nvPr>
        </p:nvSpPr>
        <p:spPr>
          <a:xfrm>
            <a:off x="3401092" y="1872052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4" name="Oval 193"/>
          <p:cNvSpPr/>
          <p:nvPr userDrawn="1">
            <p:custDataLst>
              <p:tags r:id="rId194"/>
            </p:custDataLst>
          </p:nvPr>
        </p:nvSpPr>
        <p:spPr>
          <a:xfrm>
            <a:off x="3332180" y="2752929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5" name="Oval 194"/>
          <p:cNvSpPr/>
          <p:nvPr userDrawn="1">
            <p:custDataLst>
              <p:tags r:id="rId195"/>
            </p:custDataLst>
          </p:nvPr>
        </p:nvSpPr>
        <p:spPr>
          <a:xfrm>
            <a:off x="2950103" y="3240249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Oval 195"/>
          <p:cNvSpPr/>
          <p:nvPr userDrawn="1">
            <p:custDataLst>
              <p:tags r:id="rId196"/>
            </p:custDataLst>
          </p:nvPr>
        </p:nvSpPr>
        <p:spPr>
          <a:xfrm>
            <a:off x="3025465" y="3775601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7" name="Oval 196"/>
          <p:cNvSpPr/>
          <p:nvPr userDrawn="1">
            <p:custDataLst>
              <p:tags r:id="rId197"/>
            </p:custDataLst>
          </p:nvPr>
        </p:nvSpPr>
        <p:spPr>
          <a:xfrm>
            <a:off x="3094835" y="4307018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Oval 197"/>
          <p:cNvSpPr/>
          <p:nvPr userDrawn="1">
            <p:custDataLst>
              <p:tags r:id="rId198"/>
            </p:custDataLst>
          </p:nvPr>
        </p:nvSpPr>
        <p:spPr>
          <a:xfrm>
            <a:off x="2854955" y="4126121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Oval 198"/>
          <p:cNvSpPr/>
          <p:nvPr userDrawn="1">
            <p:custDataLst>
              <p:tags r:id="rId199"/>
            </p:custDataLst>
          </p:nvPr>
        </p:nvSpPr>
        <p:spPr>
          <a:xfrm>
            <a:off x="2676361" y="4269155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Oval 199"/>
          <p:cNvSpPr/>
          <p:nvPr userDrawn="1">
            <p:custDataLst>
              <p:tags r:id="rId200"/>
            </p:custDataLst>
          </p:nvPr>
        </p:nvSpPr>
        <p:spPr>
          <a:xfrm>
            <a:off x="2192983" y="2564021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Oval 201"/>
          <p:cNvSpPr/>
          <p:nvPr userDrawn="1">
            <p:custDataLst>
              <p:tags r:id="rId201"/>
            </p:custDataLst>
          </p:nvPr>
        </p:nvSpPr>
        <p:spPr>
          <a:xfrm>
            <a:off x="1095216" y="3226090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Oval 202"/>
          <p:cNvSpPr/>
          <p:nvPr userDrawn="1">
            <p:custDataLst>
              <p:tags r:id="rId202"/>
            </p:custDataLst>
          </p:nvPr>
        </p:nvSpPr>
        <p:spPr>
          <a:xfrm>
            <a:off x="808125" y="2756152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Oval 203"/>
          <p:cNvSpPr/>
          <p:nvPr userDrawn="1">
            <p:custDataLst>
              <p:tags r:id="rId203"/>
            </p:custDataLst>
          </p:nvPr>
        </p:nvSpPr>
        <p:spPr>
          <a:xfrm>
            <a:off x="624280" y="884927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Oval 204"/>
          <p:cNvSpPr/>
          <p:nvPr userDrawn="1">
            <p:custDataLst>
              <p:tags r:id="rId204"/>
            </p:custDataLst>
          </p:nvPr>
        </p:nvSpPr>
        <p:spPr>
          <a:xfrm>
            <a:off x="460056" y="1181777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" name="Oval 205"/>
          <p:cNvSpPr/>
          <p:nvPr userDrawn="1">
            <p:custDataLst>
              <p:tags r:id="rId205"/>
            </p:custDataLst>
          </p:nvPr>
        </p:nvSpPr>
        <p:spPr>
          <a:xfrm>
            <a:off x="138458" y="2306846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7" name="Oval 206"/>
          <p:cNvSpPr/>
          <p:nvPr userDrawn="1">
            <p:custDataLst>
              <p:tags r:id="rId206"/>
            </p:custDataLst>
          </p:nvPr>
        </p:nvSpPr>
        <p:spPr>
          <a:xfrm>
            <a:off x="274594" y="2177471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8" name="Oval 207"/>
          <p:cNvSpPr/>
          <p:nvPr userDrawn="1">
            <p:custDataLst>
              <p:tags r:id="rId207"/>
            </p:custDataLst>
          </p:nvPr>
        </p:nvSpPr>
        <p:spPr>
          <a:xfrm>
            <a:off x="493876" y="3258635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" name="Oval 208"/>
          <p:cNvSpPr/>
          <p:nvPr userDrawn="1">
            <p:custDataLst>
              <p:tags r:id="rId208"/>
            </p:custDataLst>
          </p:nvPr>
        </p:nvSpPr>
        <p:spPr>
          <a:xfrm>
            <a:off x="452823" y="3008521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0" name="Oval 209"/>
          <p:cNvSpPr/>
          <p:nvPr userDrawn="1">
            <p:custDataLst>
              <p:tags r:id="rId209"/>
            </p:custDataLst>
          </p:nvPr>
        </p:nvSpPr>
        <p:spPr>
          <a:xfrm>
            <a:off x="418262" y="2965929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1" name="Oval 210"/>
          <p:cNvSpPr/>
          <p:nvPr userDrawn="1">
            <p:custDataLst>
              <p:tags r:id="rId210"/>
            </p:custDataLst>
          </p:nvPr>
        </p:nvSpPr>
        <p:spPr>
          <a:xfrm>
            <a:off x="344089" y="2911004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2" name="Oval 211"/>
          <p:cNvSpPr/>
          <p:nvPr userDrawn="1">
            <p:custDataLst>
              <p:tags r:id="rId211"/>
            </p:custDataLst>
          </p:nvPr>
        </p:nvSpPr>
        <p:spPr>
          <a:xfrm>
            <a:off x="2426783" y="5870101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" name="Oval 212"/>
          <p:cNvSpPr/>
          <p:nvPr userDrawn="1">
            <p:custDataLst>
              <p:tags r:id="rId212"/>
            </p:custDataLst>
          </p:nvPr>
        </p:nvSpPr>
        <p:spPr>
          <a:xfrm>
            <a:off x="9685995" y="1200514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4" name="Oval 213"/>
          <p:cNvSpPr/>
          <p:nvPr userDrawn="1">
            <p:custDataLst>
              <p:tags r:id="rId213"/>
            </p:custDataLst>
          </p:nvPr>
        </p:nvSpPr>
        <p:spPr>
          <a:xfrm>
            <a:off x="9870860" y="1588978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5" name="Oval 214"/>
          <p:cNvSpPr/>
          <p:nvPr userDrawn="1">
            <p:custDataLst>
              <p:tags r:id="rId214"/>
            </p:custDataLst>
          </p:nvPr>
        </p:nvSpPr>
        <p:spPr>
          <a:xfrm>
            <a:off x="10658100" y="1001762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6" name="Oval 215"/>
          <p:cNvSpPr/>
          <p:nvPr userDrawn="1">
            <p:custDataLst>
              <p:tags r:id="rId215"/>
            </p:custDataLst>
          </p:nvPr>
        </p:nvSpPr>
        <p:spPr>
          <a:xfrm>
            <a:off x="6220783" y="5347458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7" name="Oval 216"/>
          <p:cNvSpPr/>
          <p:nvPr userDrawn="1">
            <p:custDataLst>
              <p:tags r:id="rId216"/>
            </p:custDataLst>
          </p:nvPr>
        </p:nvSpPr>
        <p:spPr>
          <a:xfrm>
            <a:off x="5546117" y="1581016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8" name="Picture 217"/>
          <p:cNvPicPr>
            <a:picLocks noChangeAspect="1"/>
          </p:cNvPicPr>
          <p:nvPr userDrawn="1">
            <p:custDataLst>
              <p:tags r:id="rId218"/>
            </p:custDataLst>
          </p:nvPr>
        </p:nvPicPr>
        <p:blipFill>
          <a:blip r:embed="rId2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7149" y="5826882"/>
            <a:ext cx="1242194" cy="716191"/>
          </a:xfrm>
          <a:prstGeom prst="rect">
            <a:avLst/>
          </a:prstGeom>
        </p:spPr>
      </p:pic>
      <p:sp>
        <p:nvSpPr>
          <p:cNvPr id="221" name="Oval 220"/>
          <p:cNvSpPr/>
          <p:nvPr userDrawn="1">
            <p:custDataLst>
              <p:tags r:id="rId219"/>
            </p:custDataLst>
          </p:nvPr>
        </p:nvSpPr>
        <p:spPr>
          <a:xfrm>
            <a:off x="1430546" y="2304594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Oval 221"/>
          <p:cNvSpPr/>
          <p:nvPr userDrawn="1">
            <p:custDataLst>
              <p:tags r:id="rId220"/>
            </p:custDataLst>
          </p:nvPr>
        </p:nvSpPr>
        <p:spPr>
          <a:xfrm>
            <a:off x="4651758" y="2613397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 userDrawn="1">
            <p:custDataLst>
              <p:tags r:id="rId221"/>
            </p:custDataLst>
          </p:nvPr>
        </p:nvSpPr>
        <p:spPr>
          <a:xfrm rot="995051">
            <a:off x="1416403" y="2156735"/>
            <a:ext cx="152399" cy="189565"/>
          </a:xfrm>
          <a:prstGeom prst="rect">
            <a:avLst/>
          </a:prstGeom>
          <a:solidFill>
            <a:srgbClr val="0090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Oval 222"/>
          <p:cNvSpPr/>
          <p:nvPr userDrawn="1">
            <p:custDataLst>
              <p:tags r:id="rId222"/>
            </p:custDataLst>
          </p:nvPr>
        </p:nvSpPr>
        <p:spPr>
          <a:xfrm>
            <a:off x="426994" y="2597888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4" name="Oval 223"/>
          <p:cNvSpPr/>
          <p:nvPr userDrawn="1">
            <p:custDataLst>
              <p:tags r:id="rId223"/>
            </p:custDataLst>
          </p:nvPr>
        </p:nvSpPr>
        <p:spPr>
          <a:xfrm>
            <a:off x="5132832" y="2105375"/>
            <a:ext cx="274320" cy="2743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220800"/>
      </p:ext>
    </p:extLst>
  </p:cSld>
  <p:clrMapOvr>
    <a:masterClrMapping/>
  </p:clrMapOvr>
  <p:transition/>
  <p:timing/>
</p:sldLayout>
</file>

<file path=ppt/slideLayouts/slideLayout11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About the Firm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12" name="Picture 1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2884"/>
          </a:xfrm>
          <a:prstGeom prst="rect">
            <a:avLst/>
          </a:prstGeom>
        </p:spPr>
      </p:pic>
      <p:sp>
        <p:nvSpPr>
          <p:cNvPr id="13" name="object 3" descr="Blue rectangle">
            <a:extLst>
              <a:ext uri="{FF2B5EF4-FFF2-40B4-BE49-F238E27FC236}">
                <a16:creationId xmlns:a16="http://schemas.microsoft.com/office/drawing/2014/main" id="{2D225086-68BE-4168-8F17-9443ADD8967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189600" cy="6858000"/>
          </a:xfrm>
          <a:custGeom>
            <a:rect l="l" t="t" r="r" b="b"/>
            <a:pathLst>
              <a:path w="12189460" h="6858000">
                <a:moveTo>
                  <a:pt x="0" y="6858000"/>
                </a:moveTo>
                <a:lnTo>
                  <a:pt x="12188952" y="6858000"/>
                </a:lnTo>
                <a:lnTo>
                  <a:pt x="1218895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TextBox 5"/>
          <p:cNvSpPr txBox="1"/>
          <p:nvPr userDrawn="1">
            <p:custDataLst>
              <p:tags r:id="rId7"/>
            </p:custDataLst>
          </p:nvPr>
        </p:nvSpPr>
        <p:spPr>
          <a:xfrm>
            <a:off x="690824" y="1971841"/>
            <a:ext cx="6515844" cy="37431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algn="l"/>
            <a:r>
              <a:rPr lang="en-US" sz="24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Ogletree Deakins is one of the largest labor and employment law firms representing management in all types of employment-related legal matters. </a:t>
            </a:r>
          </a:p>
          <a:p>
            <a:pPr lvl="0" algn="l"/>
            <a:endParaRPr lang="en-US" sz="120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lvl="0" algn="l"/>
            <a:r>
              <a:rPr lang="en-US" sz="24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The firm has more than 1000 attorneys located in 56 offices across the United States and in Europe, Canada, and Mexico. </a:t>
            </a:r>
          </a:p>
          <a:p>
            <a:pPr lvl="0" algn="l"/>
            <a:endParaRPr lang="en-US" sz="120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lvl="0" algn="l"/>
            <a:r>
              <a:rPr lang="en-US" sz="24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We represent a diverse range of clients, from small businesses to Fortune 50 companies.</a:t>
            </a:r>
          </a:p>
        </p:txBody>
      </p:sp>
      <p:sp>
        <p:nvSpPr>
          <p:cNvPr id="7" name="Rectangle 6"/>
          <p:cNvSpPr/>
          <p:nvPr userDrawn="1">
            <p:custDataLst>
              <p:tags r:id="rId8"/>
            </p:custDataLst>
          </p:nvPr>
        </p:nvSpPr>
        <p:spPr>
          <a:xfrm>
            <a:off x="690824" y="720412"/>
            <a:ext cx="669555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Arial" panose="020b0604020202020204" pitchFamily="34" charset="0"/>
              </a:rPr>
              <a:t>About the Firm</a:t>
            </a:r>
            <a:endParaRPr lang="en-US" sz="2800" b="1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11" name="Straight Connector 10"/>
          <p:cNvCxnSpPr/>
          <p:nvPr userDrawn="1">
            <p:custDataLst>
              <p:tags r:id="rId9"/>
            </p:custDataLst>
          </p:nvPr>
        </p:nvCxnSpPr>
        <p:spPr>
          <a:xfrm>
            <a:off x="740552" y="1643742"/>
            <a:ext cx="6343642" cy="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4109" y="1643742"/>
            <a:ext cx="2317721" cy="133628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2729" y="3546714"/>
            <a:ext cx="1500480" cy="1754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638872"/>
      </p:ext>
    </p:extLst>
  </p:cSld>
  <p:clrMapOvr>
    <a:masterClrMapping/>
  </p:clrMapOvr>
  <p:transition/>
  <p:timing/>
</p:sldLayout>
</file>

<file path=ppt/slideLayouts/slideLayout12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Client Pledge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15" name="Picture 14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0341429" cy="6858000"/>
          </a:xfrm>
          <a:prstGeom prst="rect">
            <a:avLst/>
          </a:prstGeom>
        </p:spPr>
      </p:pic>
      <p:sp>
        <p:nvSpPr>
          <p:cNvPr id="16" name="object 3" descr="Blue rectangle">
            <a:extLst>
              <a:ext uri="{FF2B5EF4-FFF2-40B4-BE49-F238E27FC236}">
                <a16:creationId xmlns:a16="http://schemas.microsoft.com/office/drawing/2014/main" id="{2D225086-68BE-4168-8F17-9443ADD8967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1" y="0"/>
            <a:ext cx="12189600" cy="6858000"/>
          </a:xfrm>
          <a:custGeom>
            <a:rect l="l" t="t" r="r" b="b"/>
            <a:pathLst>
              <a:path w="12189460" h="6858000">
                <a:moveTo>
                  <a:pt x="0" y="6858000"/>
                </a:moveTo>
                <a:lnTo>
                  <a:pt x="12188952" y="6858000"/>
                </a:lnTo>
                <a:lnTo>
                  <a:pt x="1218895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alpha val="88000"/>
            </a:schemeClr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2" name="Rectangle 11"/>
          <p:cNvSpPr/>
          <p:nvPr userDrawn="1">
            <p:custDataLst>
              <p:tags r:id="rId8"/>
            </p:custDataLst>
          </p:nvPr>
        </p:nvSpPr>
        <p:spPr>
          <a:xfrm>
            <a:off x="5651338" y="0"/>
            <a:ext cx="654066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 userDrawn="1">
            <p:custDataLst>
              <p:tags r:id="rId9"/>
            </p:custDataLst>
          </p:nvPr>
        </p:nvSpPr>
        <p:spPr>
          <a:xfrm>
            <a:off x="5976256" y="656365"/>
            <a:ext cx="60415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>
              <a:spcAft>
                <a:spcPts val="600"/>
              </a:spcAft>
            </a:pPr>
            <a:r>
              <a:rPr lang="en-US" sz="4400" b="0" i="0" u="none" strike="noStrike" kern="1200" baseline="3000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Premier client service is a firm tradition and remains our top priority. Our attorneys pledge to: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918" y="2233617"/>
            <a:ext cx="4869221" cy="2390765"/>
          </a:xfrm>
          <a:prstGeom prst="rect">
            <a:avLst/>
          </a:prstGeom>
        </p:spPr>
      </p:pic>
      <p:sp>
        <p:nvSpPr>
          <p:cNvPr id="20" name="Rectangle 19"/>
          <p:cNvSpPr/>
          <p:nvPr userDrawn="1">
            <p:custDataLst>
              <p:tags r:id="rId12"/>
            </p:custDataLst>
          </p:nvPr>
        </p:nvSpPr>
        <p:spPr>
          <a:xfrm>
            <a:off x="5519057" y="2460172"/>
            <a:ext cx="230253" cy="43978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 userDrawn="1">
            <p:custDataLst>
              <p:tags r:id="rId13"/>
            </p:custDataLst>
          </p:nvPr>
        </p:nvSpPr>
        <p:spPr>
          <a:xfrm>
            <a:off x="5985014" y="2160491"/>
            <a:ext cx="603281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j-lt"/>
              </a:rPr>
              <a:t>Understand your business and objec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j-lt"/>
              </a:rPr>
              <a:t>Focus on and anticipate your ne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j-lt"/>
              </a:rPr>
              <a:t>Collaborate to develop creative</a:t>
            </a:r>
            <a:br>
              <a:rPr lang="en-US" sz="2400">
                <a:solidFill>
                  <a:schemeClr val="bg1"/>
                </a:solidFill>
                <a:latin typeface="+mj-lt"/>
              </a:rPr>
            </a:br>
            <a:r>
              <a:rPr lang="en-US" sz="2400">
                <a:solidFill>
                  <a:schemeClr val="bg1"/>
                </a:solidFill>
                <a:latin typeface="+mj-lt"/>
              </a:rPr>
              <a:t>business solu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j-lt"/>
              </a:rPr>
              <a:t>Harness technology and innovation to better serve your inter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j-lt"/>
              </a:rPr>
              <a:t>Communicate in a timely and</a:t>
            </a:r>
            <a:br>
              <a:rPr lang="en-US" sz="2400">
                <a:solidFill>
                  <a:schemeClr val="bg1"/>
                </a:solidFill>
                <a:latin typeface="+mj-lt"/>
              </a:rPr>
            </a:br>
            <a:r>
              <a:rPr lang="en-US" sz="2400">
                <a:solidFill>
                  <a:schemeClr val="bg1"/>
                </a:solidFill>
                <a:latin typeface="+mj-lt"/>
              </a:rPr>
              <a:t>effective man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schemeClr val="bg1"/>
                </a:solidFill>
                <a:latin typeface="+mj-lt"/>
              </a:rPr>
              <a:t>Provide quality representation with exceptional value</a:t>
            </a:r>
          </a:p>
        </p:txBody>
      </p:sp>
    </p:spTree>
    <p:extLst>
      <p:ext uri="{BB962C8B-B14F-4D97-AF65-F5344CB8AC3E}">
        <p14:creationId xmlns:p14="http://schemas.microsoft.com/office/powerpoint/2010/main" val="3432004439"/>
      </p:ext>
    </p:extLst>
  </p:cSld>
  <p:clrMapOvr>
    <a:masterClrMapping/>
  </p:clrMapOvr>
  <p:transition/>
  <p:timing/>
</p:sldLayout>
</file>

<file path=ppt/slideLayouts/slideLayout13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twoObj" preserve="1">
  <p:cSld name="Two Content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8" name="Picture 7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9" name="object 3" descr="Blue rectangle">
            <a:extLst>
              <a:ext uri="{FF2B5EF4-FFF2-40B4-BE49-F238E27FC236}">
                <a16:creationId xmlns:a16="http://schemas.microsoft.com/office/drawing/2014/main" id="{2D225086-68BE-4168-8F17-9443ADD8967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189600" cy="6858000"/>
          </a:xfrm>
          <a:custGeom>
            <a:rect l="l" t="t" r="r" b="b"/>
            <a:pathLst>
              <a:path w="12189460" h="6858000">
                <a:moveTo>
                  <a:pt x="0" y="6858000"/>
                </a:moveTo>
                <a:lnTo>
                  <a:pt x="12188952" y="6858000"/>
                </a:lnTo>
                <a:lnTo>
                  <a:pt x="1218895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F76098-6FA1-470A-BEF4-E4B0AC75E8F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647ABC-6745-43B6-8A64-6E191BD65CA2}"/>
              </a:ext>
            </a:extLst>
          </p:cNvPr>
          <p:cNvSpPr>
            <a:spLocks noGrp="1"/>
          </p:cNvSpPr>
          <p:nvPr>
            <p:ph sz="half" idx="1"/>
            <p:custDataLst>
              <p:tags r:id="rId6"/>
            </p:custDataLst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387105-2538-4216-9A7E-445FA092F960}"/>
              </a:ext>
            </a:extLst>
          </p:cNvPr>
          <p:cNvSpPr>
            <a:spLocks noGrp="1"/>
          </p:cNvSpPr>
          <p:nvPr>
            <p:ph sz="half" idx="2"/>
            <p:custDataLst>
              <p:tags r:id="rId7"/>
            </p:custDataLst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F57DE0-C032-4FCC-9006-09C2C328A665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8"/>
            </p:custDataLst>
          </p:nvPr>
        </p:nvSpPr>
        <p:spPr/>
        <p:txBody>
          <a:bodyPr/>
          <a:lstStyle/>
          <a:p>
            <a:fld id="{397CD216-73DE-4B96-8E1B-BB64D86142BB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C776CB-2819-4488-9012-A6EA22079A47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6640" y="6235388"/>
            <a:ext cx="740536" cy="426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036729"/>
      </p:ext>
    </p:extLst>
  </p:cSld>
  <p:clrMapOvr>
    <a:masterClrMapping/>
  </p:clrMapOvr>
  <p:transition/>
  <p:timing/>
</p:sldLayout>
</file>

<file path=ppt/slideLayouts/slideLayout14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6 Panel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6" name="Picture Placeholder 3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bject 3" descr="Blue rectangle">
            <a:extLst>
              <a:ext uri="{FF2B5EF4-FFF2-40B4-BE49-F238E27FC236}">
                <a16:creationId xmlns:a16="http://schemas.microsoft.com/office/drawing/2014/main" id="{2D225086-68BE-4168-8F17-9443ADD8967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-3563" y="0"/>
            <a:ext cx="12189600" cy="6858000"/>
          </a:xfrm>
          <a:custGeom>
            <a:rect l="l" t="t" r="r" b="b"/>
            <a:pathLst>
              <a:path w="12189460" h="6858000">
                <a:moveTo>
                  <a:pt x="0" y="6858000"/>
                </a:moveTo>
                <a:lnTo>
                  <a:pt x="12188952" y="6858000"/>
                </a:lnTo>
                <a:lnTo>
                  <a:pt x="1218895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838200" y="365125"/>
            <a:ext cx="10515600" cy="841375"/>
          </a:xfrm>
        </p:spPr>
        <p:txBody>
          <a:bodyPr anchor="b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838200" y="2036762"/>
            <a:ext cx="3121025" cy="1816100"/>
          </a:xfrm>
        </p:spPr>
        <p:txBody>
          <a:bodyPr/>
          <a:lstStyle>
            <a:lvl1pPr marL="0" indent="0">
              <a:buNone/>
              <a:defRPr i="1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 hasCustomPrompt="1"/>
            <p:custDataLst>
              <p:tags r:id="rId9"/>
            </p:custDataLst>
          </p:nvPr>
        </p:nvSpPr>
        <p:spPr>
          <a:xfrm>
            <a:off x="838200" y="1571625"/>
            <a:ext cx="3121025" cy="465137"/>
          </a:xfrm>
        </p:spPr>
        <p:txBody>
          <a:bodyPr anchor="b">
            <a:noAutofit/>
          </a:bodyPr>
          <a:lstStyle>
            <a:lvl1pPr marL="0" indent="0">
              <a:buNone/>
              <a:defRPr sz="2000" b="1" i="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  <p:custDataLst>
              <p:tags r:id="rId10"/>
            </p:custDataLst>
          </p:nvPr>
        </p:nvSpPr>
        <p:spPr>
          <a:xfrm>
            <a:off x="4530725" y="2036762"/>
            <a:ext cx="3121025" cy="1816100"/>
          </a:xfrm>
        </p:spPr>
        <p:txBody>
          <a:bodyPr/>
          <a:lstStyle>
            <a:lvl1pPr marL="0" indent="0">
              <a:buNone/>
              <a:defRPr i="1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4530725" y="1571625"/>
            <a:ext cx="3121025" cy="465137"/>
          </a:xfrm>
        </p:spPr>
        <p:txBody>
          <a:bodyPr anchor="b">
            <a:noAutofit/>
          </a:bodyPr>
          <a:lstStyle>
            <a:lvl1pPr marL="0" indent="0">
              <a:buNone/>
              <a:defRPr sz="2000" b="1" i="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8232775" y="2036762"/>
            <a:ext cx="3121025" cy="1816100"/>
          </a:xfrm>
        </p:spPr>
        <p:txBody>
          <a:bodyPr/>
          <a:lstStyle>
            <a:lvl1pPr marL="0" indent="0">
              <a:buNone/>
              <a:defRPr i="1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8" hasCustomPrompt="1"/>
            <p:custDataLst>
              <p:tags r:id="rId13"/>
            </p:custDataLst>
          </p:nvPr>
        </p:nvSpPr>
        <p:spPr>
          <a:xfrm>
            <a:off x="8232775" y="1571625"/>
            <a:ext cx="3121025" cy="465137"/>
          </a:xfrm>
        </p:spPr>
        <p:txBody>
          <a:bodyPr anchor="b">
            <a:noAutofit/>
          </a:bodyPr>
          <a:lstStyle>
            <a:lvl1pPr marL="0" indent="0">
              <a:buNone/>
              <a:defRPr sz="2000" b="1" i="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9" hasCustomPrompt="1"/>
            <p:custDataLst>
              <p:tags r:id="rId14"/>
            </p:custDataLst>
          </p:nvPr>
        </p:nvSpPr>
        <p:spPr>
          <a:xfrm>
            <a:off x="838200" y="4317999"/>
            <a:ext cx="3121025" cy="1816100"/>
          </a:xfrm>
        </p:spPr>
        <p:txBody>
          <a:bodyPr/>
          <a:lstStyle>
            <a:lvl1pPr marL="0" indent="0">
              <a:buNone/>
              <a:defRPr i="1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20" hasCustomPrompt="1"/>
            <p:custDataLst>
              <p:tags r:id="rId15"/>
            </p:custDataLst>
          </p:nvPr>
        </p:nvSpPr>
        <p:spPr>
          <a:xfrm>
            <a:off x="838200" y="3852862"/>
            <a:ext cx="3121025" cy="465137"/>
          </a:xfrm>
        </p:spPr>
        <p:txBody>
          <a:bodyPr anchor="b">
            <a:noAutofit/>
          </a:bodyPr>
          <a:lstStyle>
            <a:lvl1pPr marL="0" indent="0">
              <a:buNone/>
              <a:defRPr sz="2000" b="1" i="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21" hasCustomPrompt="1"/>
            <p:custDataLst>
              <p:tags r:id="rId16"/>
            </p:custDataLst>
          </p:nvPr>
        </p:nvSpPr>
        <p:spPr>
          <a:xfrm>
            <a:off x="4530725" y="4317999"/>
            <a:ext cx="3121025" cy="1816100"/>
          </a:xfrm>
        </p:spPr>
        <p:txBody>
          <a:bodyPr/>
          <a:lstStyle>
            <a:lvl1pPr marL="0" indent="0">
              <a:buNone/>
              <a:defRPr i="1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22" hasCustomPrompt="1"/>
            <p:custDataLst>
              <p:tags r:id="rId17"/>
            </p:custDataLst>
          </p:nvPr>
        </p:nvSpPr>
        <p:spPr>
          <a:xfrm>
            <a:off x="4530725" y="3852862"/>
            <a:ext cx="3121025" cy="465137"/>
          </a:xfrm>
        </p:spPr>
        <p:txBody>
          <a:bodyPr anchor="b">
            <a:noAutofit/>
          </a:bodyPr>
          <a:lstStyle>
            <a:lvl1pPr marL="0" indent="0">
              <a:buNone/>
              <a:defRPr sz="2000" b="1" i="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</a:t>
            </a:r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23" hasCustomPrompt="1"/>
            <p:custDataLst>
              <p:tags r:id="rId18"/>
            </p:custDataLst>
          </p:nvPr>
        </p:nvSpPr>
        <p:spPr>
          <a:xfrm>
            <a:off x="8232775" y="4317999"/>
            <a:ext cx="3121025" cy="1816100"/>
          </a:xfrm>
        </p:spPr>
        <p:txBody>
          <a:bodyPr/>
          <a:lstStyle>
            <a:lvl1pPr marL="0" indent="0">
              <a:buNone/>
              <a:defRPr i="1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24" hasCustomPrompt="1"/>
            <p:custDataLst>
              <p:tags r:id="rId19"/>
            </p:custDataLst>
          </p:nvPr>
        </p:nvSpPr>
        <p:spPr>
          <a:xfrm>
            <a:off x="8232775" y="3852862"/>
            <a:ext cx="3121025" cy="465137"/>
          </a:xfrm>
        </p:spPr>
        <p:txBody>
          <a:bodyPr anchor="b">
            <a:noAutofit/>
          </a:bodyPr>
          <a:lstStyle>
            <a:lvl1pPr marL="0" indent="0">
              <a:buNone/>
              <a:defRPr sz="2000" b="1" i="0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>
            <p:custDataLst>
              <p:tags r:id="rId21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6960" y="6235388"/>
            <a:ext cx="740536" cy="426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665159"/>
      </p:ext>
    </p:extLst>
  </p:cSld>
  <p:clrMapOvr>
    <a:masterClrMapping/>
  </p:clrMapOvr>
  <p:transition/>
  <p:timing/>
</p:sldLayout>
</file>

<file path=ppt/slideLayouts/slideLayout15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Half Image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sp>
        <p:nvSpPr>
          <p:cNvPr id="13" name="Rectangle 12"/>
          <p:cNvSpPr/>
          <p:nvPr userDrawn="1">
            <p:custDataLst>
              <p:tags r:id="rId2"/>
            </p:custDataLst>
          </p:nvPr>
        </p:nvSpPr>
        <p:spPr>
          <a:xfrm>
            <a:off x="0" y="1803400"/>
            <a:ext cx="12192000" cy="1028700"/>
          </a:xfrm>
          <a:prstGeom prst="rect">
            <a:avLst/>
          </a:prstGeom>
          <a:solidFill>
            <a:srgbClr val="0090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32100"/>
            <a:ext cx="12192000" cy="4025900"/>
          </a:xfrm>
          <a:prstGeom prst="rect">
            <a:avLst/>
          </a:prstGeom>
        </p:spPr>
      </p:pic>
      <p:sp>
        <p:nvSpPr>
          <p:cNvPr id="12" name="object 3" descr="Blue rectangle">
            <a:extLst>
              <a:ext uri="{FF2B5EF4-FFF2-40B4-BE49-F238E27FC236}">
                <a16:creationId xmlns:a16="http://schemas.microsoft.com/office/drawing/2014/main" id="{2D225086-68BE-4168-8F17-9443ADD8967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2832100"/>
            <a:ext cx="12189600" cy="4025900"/>
          </a:xfrm>
          <a:custGeom>
            <a:rect l="l" t="t" r="r" b="b"/>
            <a:pathLst>
              <a:path w="12189460" h="6858000">
                <a:moveTo>
                  <a:pt x="0" y="6858000"/>
                </a:moveTo>
                <a:lnTo>
                  <a:pt x="12188952" y="6858000"/>
                </a:lnTo>
                <a:lnTo>
                  <a:pt x="1218895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838200" y="365126"/>
            <a:ext cx="10515600" cy="1120302"/>
          </a:xfrm>
        </p:spPr>
        <p:txBody>
          <a:bodyPr anchor="b">
            <a:normAutofit/>
          </a:bodyPr>
          <a:lstStyle>
            <a:lvl1pPr>
              <a:defRPr sz="4400"/>
            </a:lvl1pPr>
          </a:lstStyle>
          <a:p>
            <a:r>
              <a:rPr lang="en-US"/>
              <a:t>Insert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93C1E99-672F-46AE-BB08-DD22B0928366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9"/>
            </p:custDataLst>
          </p:nvPr>
        </p:nvSpPr>
        <p:spPr bwMode="white">
          <a:xfrm>
            <a:off x="836612" y="1803400"/>
            <a:ext cx="5106099" cy="1006475"/>
          </a:xfr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Insert Subtit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8A73375-FA03-4191-8AD5-B40CD9B59B94}"/>
              </a:ext>
            </a:extLst>
          </p:cNvPr>
          <p:cNvSpPr>
            <a:spLocks noGrp="1"/>
          </p:cNvSpPr>
          <p:nvPr>
            <p:ph type="body" sz="quarter" idx="3" hasCustomPrompt="1"/>
            <p:custDataLst>
              <p:tags r:id="rId10"/>
            </p:custDataLst>
          </p:nvPr>
        </p:nvSpPr>
        <p:spPr bwMode="white">
          <a:xfrm>
            <a:off x="6172200" y="1803400"/>
            <a:ext cx="5183188" cy="1006475"/>
          </a:xfr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Insert Subtitle</a:t>
            </a:r>
          </a:p>
        </p:txBody>
      </p:sp>
      <p:sp>
        <p:nvSpPr>
          <p:cNvPr id="10" name="object 5" descr="Beige rectangle">
            <a:extLst>
              <a:ext uri="{FF2B5EF4-FFF2-40B4-BE49-F238E27FC236}">
                <a16:creationId xmlns:a16="http://schemas.microsoft.com/office/drawing/2014/main" id="{890F7762-BD37-4D33-9F80-1DA07B5E172E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 flipV="1">
            <a:off x="902936" y="1408565"/>
            <a:ext cx="10450863" cy="76863"/>
          </a:xfrm>
          <a:custGeom>
            <a:rect l="l" t="t" r="r" b="b"/>
            <a:pathLst>
              <a:path w="3931920">
                <a:moveTo>
                  <a:pt x="0" y="0"/>
                </a:moveTo>
                <a:lnTo>
                  <a:pt x="3931920" y="0"/>
                </a:lnTo>
              </a:path>
            </a:pathLst>
          </a:custGeom>
          <a:ln w="54864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6960" y="6235388"/>
            <a:ext cx="740536" cy="426958"/>
          </a:xfrm>
          <a:prstGeom prst="rect">
            <a:avLst/>
          </a:prstGeom>
        </p:spPr>
      </p:pic>
      <p:sp>
        <p:nvSpPr>
          <p:cNvPr id="15" name="Content Placeholder 14"/>
          <p:cNvSpPr>
            <a:spLocks noGrp="1"/>
          </p:cNvSpPr>
          <p:nvPr>
            <p:ph sz="quarter" idx="12"/>
            <p:custDataLst>
              <p:tags r:id="rId14"/>
            </p:custDataLst>
          </p:nvPr>
        </p:nvSpPr>
        <p:spPr>
          <a:xfrm>
            <a:off x="836612" y="2981325"/>
            <a:ext cx="5106099" cy="3154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3"/>
            <p:custDataLst>
              <p:tags r:id="rId15"/>
            </p:custDataLst>
          </p:nvPr>
        </p:nvSpPr>
        <p:spPr>
          <a:xfrm>
            <a:off x="6172200" y="2981325"/>
            <a:ext cx="5181599" cy="3154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8431186"/>
      </p:ext>
    </p:extLst>
  </p:cSld>
  <p:clrMapOvr>
    <a:masterClrMapping/>
  </p:clrMapOvr>
  <p:transition/>
  <p:timing/>
</p:sldLayout>
</file>

<file path=ppt/slideLayouts/slideLayout16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Image left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sp>
        <p:nvSpPr>
          <p:cNvPr id="7" name="Rectangle 6"/>
          <p:cNvSpPr/>
          <p:nvPr userDrawn="1">
            <p:custDataLst>
              <p:tags r:id="rId2"/>
            </p:custDataLst>
          </p:nvPr>
        </p:nvSpPr>
        <p:spPr>
          <a:xfrm>
            <a:off x="6045200" y="0"/>
            <a:ext cx="61468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68300" y="200025"/>
            <a:ext cx="5969000" cy="1325563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Rectangle 7"/>
          <p:cNvSpPr/>
          <p:nvPr userDrawn="1">
            <p:custDataLst>
              <p:tags r:id="rId7"/>
            </p:custDataLst>
          </p:nvPr>
        </p:nvSpPr>
        <p:spPr>
          <a:xfrm>
            <a:off x="0" y="2070100"/>
            <a:ext cx="3797300" cy="3644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01900"/>
            <a:ext cx="6337300" cy="2877448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93C1E99-672F-46AE-BB08-DD22B0928366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10"/>
            </p:custDataLst>
          </p:nvPr>
        </p:nvSpPr>
        <p:spPr bwMode="white">
          <a:xfrm>
            <a:off x="6756437" y="1525588"/>
            <a:ext cx="5106099" cy="1006475"/>
          </a:xfrm>
        </p:spPr>
        <p:txBody>
          <a:bodyPr anchor="b">
            <a:normAutofit/>
          </a:bodyPr>
          <a:lstStyle>
            <a:lvl1pPr marL="0" indent="0">
              <a:buNone/>
              <a:defRPr sz="3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Insert Sub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  <p:custDataLst>
              <p:tags r:id="rId11"/>
            </p:custDataLst>
          </p:nvPr>
        </p:nvSpPr>
        <p:spPr>
          <a:xfrm>
            <a:off x="6756400" y="2705100"/>
            <a:ext cx="5105400" cy="30099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90" y="5955639"/>
            <a:ext cx="1054100" cy="607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642252"/>
      </p:ext>
    </p:extLst>
  </p:cSld>
  <p:clrMapOvr>
    <a:masterClrMapping/>
  </p:clrMapOvr>
  <p:transition/>
  <p:timing/>
</p:sldLayout>
</file>

<file path=ppt/slideLayouts/slideLayout17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Three Icon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17" name="Picture 16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00" cy="6868886"/>
          </a:xfrm>
          <a:prstGeom prst="rect">
            <a:avLst/>
          </a:prstGeom>
        </p:spPr>
      </p:pic>
      <p:sp>
        <p:nvSpPr>
          <p:cNvPr id="16" name="object 3" descr="Blue rectangle">
            <a:extLst>
              <a:ext uri="{FF2B5EF4-FFF2-40B4-BE49-F238E27FC236}">
                <a16:creationId xmlns:a16="http://schemas.microsoft.com/office/drawing/2014/main" id="{2D225086-68BE-4168-8F17-9443ADD8967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189600" cy="6868886"/>
          </a:xfrm>
          <a:custGeom>
            <a:rect l="l" t="t" r="r" b="b"/>
            <a:pathLst>
              <a:path w="12189460" h="6858000">
                <a:moveTo>
                  <a:pt x="0" y="6858000"/>
                </a:moveTo>
                <a:lnTo>
                  <a:pt x="12188952" y="6858000"/>
                </a:lnTo>
                <a:lnTo>
                  <a:pt x="1218895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alpha val="86000"/>
            </a:schemeClr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Rectangle 6"/>
          <p:cNvSpPr/>
          <p:nvPr userDrawn="1">
            <p:custDataLst>
              <p:tags r:id="rId8"/>
            </p:custDataLst>
          </p:nvPr>
        </p:nvSpPr>
        <p:spPr bwMode="gray">
          <a:xfrm>
            <a:off x="1773849" y="2090262"/>
            <a:ext cx="1630837" cy="1630837"/>
          </a:xfrm>
          <a:prstGeom prst="rect">
            <a:avLst/>
          </a:prstGeom>
          <a:gradFill>
            <a:gsLst>
              <a:gs pos="47000">
                <a:srgbClr val="368190"/>
              </a:gs>
              <a:gs pos="0">
                <a:schemeClr val="accent2">
                  <a:lumMod val="75000"/>
                </a:schemeClr>
              </a:gs>
              <a:gs pos="10000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>
            <p:custDataLst>
              <p:tags r:id="rId9"/>
            </p:custDataLst>
          </p:nvPr>
        </p:nvSpPr>
        <p:spPr bwMode="gray">
          <a:xfrm>
            <a:off x="5280582" y="2090262"/>
            <a:ext cx="1630837" cy="1630837"/>
          </a:xfrm>
          <a:prstGeom prst="rect">
            <a:avLst/>
          </a:prstGeom>
          <a:gradFill>
            <a:gsLst>
              <a:gs pos="47000">
                <a:srgbClr val="368190"/>
              </a:gs>
              <a:gs pos="0">
                <a:schemeClr val="accent2">
                  <a:lumMod val="75000"/>
                </a:schemeClr>
              </a:gs>
              <a:gs pos="10000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9" name="Rectangle 8"/>
          <p:cNvSpPr/>
          <p:nvPr userDrawn="1">
            <p:custDataLst>
              <p:tags r:id="rId10"/>
            </p:custDataLst>
          </p:nvPr>
        </p:nvSpPr>
        <p:spPr bwMode="gray">
          <a:xfrm>
            <a:off x="8777965" y="2090262"/>
            <a:ext cx="1630837" cy="1630837"/>
          </a:xfrm>
          <a:prstGeom prst="rect">
            <a:avLst/>
          </a:prstGeom>
          <a:gradFill>
            <a:gsLst>
              <a:gs pos="47000">
                <a:srgbClr val="368190"/>
              </a:gs>
              <a:gs pos="0">
                <a:schemeClr val="accent2">
                  <a:lumMod val="75000"/>
                </a:schemeClr>
              </a:gs>
              <a:gs pos="10000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  <p:custDataLst>
              <p:tags r:id="rId11"/>
            </p:custDataLst>
          </p:nvPr>
        </p:nvSpPr>
        <p:spPr>
          <a:xfrm>
            <a:off x="1184330" y="3881853"/>
            <a:ext cx="2809875" cy="671294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  <a:lvl2pPr marL="457200" indent="0" algn="l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  <p:custDataLst>
              <p:tags r:id="rId12"/>
            </p:custDataLst>
          </p:nvPr>
        </p:nvSpPr>
        <p:spPr>
          <a:xfrm>
            <a:off x="1184330" y="4553048"/>
            <a:ext cx="2809875" cy="1584325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  <p:custDataLst>
              <p:tags r:id="rId13"/>
            </p:custDataLst>
          </p:nvPr>
        </p:nvSpPr>
        <p:spPr>
          <a:xfrm>
            <a:off x="4691063" y="3899547"/>
            <a:ext cx="2809875" cy="671294"/>
          </a:xfrm>
        </p:spPr>
        <p:txBody>
          <a:bodyPr>
            <a:normAutofit/>
          </a:bodyPr>
          <a:lstStyle>
            <a:lvl1pPr marL="0" indent="0" algn="ctr">
              <a:buNone/>
              <a:defRPr lang="en-US" sz="20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  <p:custDataLst>
              <p:tags r:id="rId14"/>
            </p:custDataLst>
          </p:nvPr>
        </p:nvSpPr>
        <p:spPr>
          <a:xfrm>
            <a:off x="4691063" y="4570742"/>
            <a:ext cx="2809875" cy="1584325"/>
          </a:xfrm>
        </p:spPr>
        <p:txBody>
          <a:bodyPr>
            <a:normAutofit/>
          </a:bodyPr>
          <a:lstStyle>
            <a:lvl1pPr marL="0" indent="0" algn="ctr">
              <a:buNone/>
              <a:defRPr lang="en-US" sz="20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7"/>
            <p:custDataLst>
              <p:tags r:id="rId15"/>
            </p:custDataLst>
          </p:nvPr>
        </p:nvSpPr>
        <p:spPr>
          <a:xfrm>
            <a:off x="8188446" y="3899547"/>
            <a:ext cx="2809875" cy="671294"/>
          </a:xfrm>
        </p:spPr>
        <p:txBody>
          <a:bodyPr>
            <a:normAutofit/>
          </a:bodyPr>
          <a:lstStyle>
            <a:lvl1pPr marL="0" indent="0" algn="ctr">
              <a:buNone/>
              <a:defRPr lang="en-US" sz="20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l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  <p:custDataLst>
              <p:tags r:id="rId16"/>
            </p:custDataLst>
          </p:nvPr>
        </p:nvSpPr>
        <p:spPr>
          <a:xfrm>
            <a:off x="8188446" y="4570742"/>
            <a:ext cx="2809875" cy="1584325"/>
          </a:xfrm>
        </p:spPr>
        <p:txBody>
          <a:bodyPr>
            <a:normAutofit/>
          </a:bodyPr>
          <a:lstStyle>
            <a:lvl1pPr marL="0" indent="0" algn="ctr">
              <a:buNone/>
              <a:defRPr lang="en-US" sz="20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>
            <p:custDataLst>
              <p:tags r:id="rId18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1602" y="6235388"/>
            <a:ext cx="740536" cy="426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713798"/>
      </p:ext>
    </p:extLst>
  </p:cSld>
  <p:clrMapOvr>
    <a:masterClrMapping/>
  </p:clrMapOvr>
  <p:transition/>
  <p:timing/>
</p:sldLayout>
</file>

<file path=ppt/slideLayouts/slideLayout18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Chart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10" name="Picture 9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14620" cy="6858000"/>
          </a:xfrm>
          <a:prstGeom prst="rect">
            <a:avLst/>
          </a:prstGeom>
        </p:spPr>
      </p:pic>
      <p:sp>
        <p:nvSpPr>
          <p:cNvPr id="11" name="object 3" descr="Blue rectangle">
            <a:extLst>
              <a:ext uri="{FF2B5EF4-FFF2-40B4-BE49-F238E27FC236}">
                <a16:creationId xmlns:a16="http://schemas.microsoft.com/office/drawing/2014/main" id="{2D225086-68BE-4168-8F17-9443ADD8967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189600" cy="6858000"/>
          </a:xfrm>
          <a:custGeom>
            <a:rect l="l" t="t" r="r" b="b"/>
            <a:pathLst>
              <a:path w="12189460" h="6858000">
                <a:moveTo>
                  <a:pt x="0" y="6858000"/>
                </a:moveTo>
                <a:lnTo>
                  <a:pt x="12188952" y="6858000"/>
                </a:lnTo>
                <a:lnTo>
                  <a:pt x="1218895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112713" y="226243"/>
            <a:ext cx="7950200" cy="877070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Chart 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6" hasCustomPrompt="1"/>
            <p:custDataLst>
              <p:tags r:id="rId9"/>
            </p:custDataLst>
          </p:nvPr>
        </p:nvSpPr>
        <p:spPr>
          <a:xfrm>
            <a:off x="0" y="1103313"/>
            <a:ext cx="12192000" cy="57546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insert char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6640" y="6215068"/>
            <a:ext cx="740536" cy="426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841024"/>
      </p:ext>
    </p:extLst>
  </p:cSld>
  <p:clrMapOvr>
    <a:masterClrMapping/>
  </p:clrMapOvr>
  <p:transition/>
  <p:timing/>
</p:sldLayout>
</file>

<file path=ppt/slideLayouts/slideLayout19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Break Slide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4021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39" name="think-cell Slide" r:id="rId3" imgW="348" imgH="346" progId="TCLayout.ActiveDocument.1">
                  <p:embed/>
                </p:oleObj>
              </mc:Choice>
              <mc:Fallback>
                <p:oleObj name="think-cell Slide" r:id="rId3" imgW="348" imgH="346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647" y="-13648"/>
            <a:ext cx="12201098" cy="6892120"/>
          </a:xfrm>
          <a:prstGeom prst="rect">
            <a:avLst/>
          </a:prstGeom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-13648" y="343580"/>
            <a:ext cx="10463933" cy="1347108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86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/>
        <p:txBody>
          <a:bodyPr>
            <a:norm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Break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cxnSp>
        <p:nvCxnSpPr>
          <p:cNvPr id="11" name="Straight Connector 10"/>
          <p:cNvCxnSpPr/>
          <p:nvPr userDrawn="1">
            <p:custDataLst>
              <p:tags r:id="rId11"/>
            </p:custDataLst>
          </p:nvPr>
        </p:nvCxnSpPr>
        <p:spPr>
          <a:xfrm>
            <a:off x="838200" y="1436914"/>
            <a:ext cx="5192486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886" y="5861921"/>
            <a:ext cx="1246627" cy="718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058340"/>
      </p:ext>
    </p:extLst>
  </p:cSld>
  <p:clrMapOvr>
    <a:masterClrMapping/>
  </p:clrMapOvr>
  <p:transition/>
  <p:timing/>
</p:sldLayout>
</file>

<file path=ppt/slideLayouts/slideLayout2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obj" preserve="1">
  <p:cSld name="Title and Content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8" name="Picture 7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211141-A77D-4E0E-8CAF-4CD3B279937B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838200" y="365126"/>
            <a:ext cx="10515600" cy="1097436"/>
          </a:xfrm>
        </p:spPr>
        <p:txBody>
          <a:bodyPr anchor="b">
            <a:normAutofit/>
          </a:bodyPr>
          <a:lstStyle>
            <a:lvl1pPr>
              <a:defRPr sz="44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7EFDE0-5A54-402A-B0C3-6BC0BB739C25}"/>
              </a:ext>
            </a:extLst>
          </p:cNvPr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838200" y="1701800"/>
            <a:ext cx="10515600" cy="44751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2825AD-4585-4E37-A076-3D0070C9300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fld id="{0312561F-7E45-400C-8758-912CDFE9410A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2064AD-EDC3-4B13-8CD6-49EB60099ED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0FD1E-16F6-49B1-A938-8CE601ED7AF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object 27" descr="Beige rectangle">
            <a:extLst>
              <a:ext uri="{FF2B5EF4-FFF2-40B4-BE49-F238E27FC236}">
                <a16:creationId xmlns:a16="http://schemas.microsoft.com/office/drawing/2014/main" id="{CE178D24-EC15-4677-8CE4-B6FAE887C7CE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 flipV="1">
            <a:off x="838200" y="1416842"/>
            <a:ext cx="10515600" cy="84499"/>
          </a:xfrm>
          <a:custGeom>
            <a:rect l="l" t="t" r="r" b="b"/>
            <a:pathLst>
              <a:path w="2501265">
                <a:moveTo>
                  <a:pt x="0" y="0"/>
                </a:moveTo>
                <a:lnTo>
                  <a:pt x="2500883" y="0"/>
                </a:lnTo>
              </a:path>
            </a:pathLst>
          </a:custGeom>
          <a:ln w="54863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2682" y="6225702"/>
            <a:ext cx="821849" cy="47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465226"/>
      </p:ext>
    </p:extLst>
  </p:cSld>
  <p:clrMapOvr>
    <a:masterClrMapping/>
  </p:clrMapOvr>
  <p:transition/>
  <p:timing/>
</p:sldLayout>
</file>

<file path=ppt/slideLayouts/slideLayout20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Full photo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7" name="Picture 6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  <p:custDataLst>
              <p:tags r:id="rId7"/>
            </p:custDataLst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ctr">
              <a:buNone/>
              <a:defRPr sz="3200"/>
            </a:lvl1pPr>
          </a:lstStyle>
          <a:p>
            <a:r>
              <a:rPr lang="en-US"/>
              <a:t>Click Icon to insert photo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266713"/>
      </p:ext>
    </p:extLst>
  </p:cSld>
  <p:clrMapOvr>
    <a:masterClrMapping/>
  </p:clrMapOvr>
  <p:transition/>
  <p:timing/>
</p:sldLayout>
</file>

<file path=ppt/slideLayouts/slideLayout21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Video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3648"/>
            <a:ext cx="12191999" cy="6892120"/>
          </a:xfrm>
          <a:prstGeom prst="rect">
            <a:avLst/>
          </a:prstGeom>
        </p:spPr>
      </p:pic>
      <p:sp>
        <p:nvSpPr>
          <p:cNvPr id="7" name="Media Placeholder 4"/>
          <p:cNvSpPr>
            <a:spLocks noGrp="1"/>
          </p:cNvSpPr>
          <p:nvPr>
            <p:ph type="media" sz="quarter" idx="13"/>
            <p:custDataLst>
              <p:tags r:id="rId8"/>
            </p:custDataLst>
          </p:nvPr>
        </p:nvSpPr>
        <p:spPr>
          <a:xfrm>
            <a:off x="3166281" y="955343"/>
            <a:ext cx="5773003" cy="3616657"/>
          </a:xfrm>
        </p:spPr>
        <p:txBody>
          <a:bodyPr anchor="t">
            <a:normAutofit/>
          </a:bodyPr>
          <a:lstStyle>
            <a:lvl1pPr marL="0" indent="0" algn="ctr">
              <a:buNone/>
              <a:defRPr sz="4800" baseline="0">
                <a:solidFill>
                  <a:srgbClr val="00447B"/>
                </a:solidFill>
              </a:defRPr>
            </a:lvl1pPr>
          </a:lstStyle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924839"/>
      </p:ext>
    </p:extLst>
  </p:cSld>
  <p:clrMapOvr>
    <a:masterClrMapping/>
  </p:clrMapOvr>
  <p:transition/>
  <p:timing/>
</p:sldLayout>
</file>

<file path=ppt/slideLayouts/slideLayout22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blank" preserve="1">
  <p:cSld name="Blank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5" name="Picture 4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5C546-684A-45B9-8890-66DC55DF7D0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/>
          <a:p>
            <a:fld id="{40B0A371-51FE-4D99-BD87-6A650FCE519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43EBDF-D696-42F7-B962-56F5FEE120CC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931" y="6014720"/>
            <a:ext cx="1048305" cy="604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02544"/>
      </p:ext>
    </p:extLst>
  </p:cSld>
  <p:clrMapOvr>
    <a:masterClrMapping/>
  </p:clrMapOvr>
  <p:transition/>
  <p:timing/>
</p:sldLayout>
</file>

<file path=ppt/slideLayouts/slideLayout23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Custom Layout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8" name="Picture 7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4137" y="624255"/>
            <a:ext cx="6737863" cy="54888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10635724" y="6276502"/>
            <a:ext cx="357116" cy="365125"/>
          </a:xfrm>
        </p:spPr>
        <p:txBody>
          <a:bodyPr/>
          <a:lstStyle/>
          <a:p>
            <a:fld id="{82EE24B5-652C-4DB5-B7C3-B5BBEC1280B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D5537408-2125-4CE5-92A7-F7E0FCBA31D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-1" y="1341439"/>
            <a:ext cx="5556739" cy="4140200"/>
          </a:xfrm>
          <a:prstGeom prst="rect">
            <a:avLst/>
          </a:prstGeom>
          <a:solidFill>
            <a:schemeClr val="accent2"/>
          </a:solidFill>
        </p:spPr>
        <p:txBody>
          <a:bodyPr lIns="1548000" tIns="216000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5000"/>
              </a:lnSpc>
              <a:buFont typeface="Arial" panose="020b0604020202020204" pitchFamily="34" charset="0"/>
              <a:buNone/>
            </a:pPr>
            <a:endParaRPr lang="en-US" sz="2500" b="1">
              <a:solidFill>
                <a:schemeClr val="bg2">
                  <a:alpha val="50000"/>
                </a:schemeClr>
              </a:solidFill>
            </a:endParaRPr>
          </a:p>
        </p:txBody>
      </p:sp>
      <p:sp>
        <p:nvSpPr>
          <p:cNvPr id="7" name="object 6" descr="Beige rectangle">
            <a:extLst>
              <a:ext uri="{FF2B5EF4-FFF2-40B4-BE49-F238E27FC236}">
                <a16:creationId xmlns:a16="http://schemas.microsoft.com/office/drawing/2014/main" id="{B0C70F64-F3E5-413B-AF4F-E15CE944B761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ltGray">
          <a:xfrm>
            <a:off x="935237" y="2683234"/>
            <a:ext cx="4176000" cy="0"/>
          </a:xfrm>
          <a:custGeom>
            <a:rect l="l" t="t" r="r" b="b"/>
            <a:pathLst>
              <a:path w="4206240">
                <a:moveTo>
                  <a:pt x="0" y="0"/>
                </a:moveTo>
                <a:lnTo>
                  <a:pt x="4206240" y="0"/>
                </a:lnTo>
              </a:path>
            </a:pathLst>
          </a:custGeom>
          <a:ln w="54863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pic>
        <p:nvPicPr>
          <p:cNvPr id="9" name="Graphic 10" descr="Person icon">
            <a:extLst>
              <a:ext uri="{FF2B5EF4-FFF2-40B4-BE49-F238E27FC236}">
                <a16:creationId xmlns:a16="http://schemas.microsoft.com/office/drawing/2014/main" id="{623730AD-04DB-4D31-90B9-486007BC48F8}"/>
              </a:ext>
            </a:extLst>
          </p:cNvPr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35237" y="3470503"/>
            <a:ext cx="342900" cy="352425"/>
          </a:xfrm>
          <a:prstGeom prst="rect">
            <a:avLst/>
          </a:prstGeom>
        </p:spPr>
      </p:pic>
      <p:pic>
        <p:nvPicPr>
          <p:cNvPr id="10" name="Graphic 11" descr="Mail icon">
            <a:extLst>
              <a:ext uri="{FF2B5EF4-FFF2-40B4-BE49-F238E27FC236}">
                <a16:creationId xmlns:a16="http://schemas.microsoft.com/office/drawing/2014/main" id="{A19DD78C-1BBA-435D-AB9C-910A5A3B509F}"/>
              </a:ext>
            </a:extLst>
          </p:cNvPr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5237" y="3965704"/>
            <a:ext cx="342900" cy="342900"/>
          </a:xfrm>
          <a:prstGeom prst="rect">
            <a:avLst/>
          </a:prstGeom>
        </p:spPr>
      </p:pic>
      <p:pic>
        <p:nvPicPr>
          <p:cNvPr id="11" name="Graphic 12" descr="Phone icon">
            <a:extLst>
              <a:ext uri="{FF2B5EF4-FFF2-40B4-BE49-F238E27FC236}">
                <a16:creationId xmlns:a16="http://schemas.microsoft.com/office/drawing/2014/main" id="{E1FE68E0-BC77-4B86-BF40-6A4FF5062F58}"/>
              </a:ext>
            </a:extLst>
          </p:cNvPr>
          <p:cNvPicPr>
            <a:picLocks noChangeAspect="1"/>
          </p:cNvPicPr>
          <p:nvPr userDrawn="1">
            <p:custDataLst>
              <p:tags r:id="rId17"/>
            </p:custDataLst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35237" y="4451380"/>
            <a:ext cx="342900" cy="3429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8"/>
            </p:custDataLst>
          </p:nvPr>
        </p:nvSpPr>
        <p:spPr>
          <a:xfrm>
            <a:off x="838200" y="1341439"/>
            <a:ext cx="5510212" cy="1435802"/>
          </a:xfrm>
        </p:spPr>
        <p:txBody>
          <a:bodyPr anchor="b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  <p:custDataLst>
              <p:tags r:id="rId19"/>
            </p:custDataLst>
          </p:nvPr>
        </p:nvSpPr>
        <p:spPr>
          <a:xfrm>
            <a:off x="1278137" y="3452273"/>
            <a:ext cx="3946525" cy="388884"/>
          </a:xfrm>
        </p:spPr>
        <p:txBody>
          <a:bodyPr anchor="ctr"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Contact Name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 hasCustomPrompt="1"/>
            <p:custDataLst>
              <p:tags r:id="rId20"/>
            </p:custDataLst>
          </p:nvPr>
        </p:nvSpPr>
        <p:spPr>
          <a:xfrm>
            <a:off x="1278136" y="3970498"/>
            <a:ext cx="3946525" cy="356335"/>
          </a:xfrm>
        </p:spPr>
        <p:txBody>
          <a:bodyPr anchor="ctr"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Contact Emai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  <p:custDataLst>
              <p:tags r:id="rId21"/>
            </p:custDataLst>
          </p:nvPr>
        </p:nvSpPr>
        <p:spPr>
          <a:xfrm>
            <a:off x="1278137" y="4437945"/>
            <a:ext cx="3946525" cy="972255"/>
          </a:xfrm>
        </p:spPr>
        <p:txBody>
          <a:bodyPr anchor="t"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Contact Address</a:t>
            </a:r>
          </a:p>
        </p:txBody>
      </p:sp>
      <p:sp>
        <p:nvSpPr>
          <p:cNvPr id="17" name="Rectangle 16"/>
          <p:cNvSpPr/>
          <p:nvPr userDrawn="1">
            <p:custDataLst>
              <p:tags r:id="rId22"/>
            </p:custDataLst>
          </p:nvPr>
        </p:nvSpPr>
        <p:spPr>
          <a:xfrm>
            <a:off x="7078133" y="116987"/>
            <a:ext cx="5113867" cy="4995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>
            <p:custDataLst>
              <p:tags r:id="rId2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276" y="5945127"/>
            <a:ext cx="1079460" cy="622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421327"/>
      </p:ext>
    </p:extLst>
  </p:cSld>
  <p:clrMapOvr>
    <a:masterClrMapping/>
  </p:clrMapOvr>
  <p:transition/>
  <p:timing/>
</p:sldLayout>
</file>

<file path=ppt/slideLayouts/slideLayout24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userDrawn="1">
  <p:cSld name="1_Custom Layout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defPPr>
              <a:defRPr kern="1200"/>
            </a:defPPr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 bwMode="auto">
          <a:xfrm>
            <a:off x="454784" y="1600201"/>
            <a:ext cx="11446931" cy="4060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/>
          <a:lstStyle>
            <a:defPPr>
              <a:defRPr kern="1200"/>
            </a:defPPr>
            <a:lvl1pPr>
              <a:defRPr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87059842"/>
      </p:ext>
    </p:extLst>
  </p:cSld>
  <p:clrMapOvr>
    <a:masterClrMapping/>
  </p:clrMapOvr>
  <p:transition advClick="0"/>
  <p:timing/>
</p:sldLayout>
</file>

<file path=ppt/slideLayouts/slideLayout25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userDrawn="1">
  <p:cSld name="Thank You/Contact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4" name="Picture 3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453"/>
          <a:stretch>
            <a:fillRect/>
          </a:stretch>
        </p:blipFill>
        <p:spPr>
          <a:xfrm>
            <a:off x="-27297" y="1"/>
            <a:ext cx="12214747" cy="6858000"/>
          </a:xfrm>
          <a:prstGeom prst="rect">
            <a:avLst/>
          </a:prstGeom>
          <a:effectLst>
            <a:softEdge rad="0"/>
          </a:effec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C48ADFD3-F854-41F5-BFAE-93B13FD028EA}" type="datetimeFigureOut">
              <a:rPr lang="en-US" smtClean="0"/>
              <a:t>1/21/2025</a:t>
            </a:fld>
            <a:endParaRPr lang="en-US"/>
          </a:p>
        </p:txBody>
      </p:sp>
      <p:sp>
        <p:nvSpPr>
          <p:cNvPr id="5" name="Rectangle 13"/>
          <p:cNvSpPr/>
          <p:nvPr userDrawn="1">
            <p:custDataLst>
              <p:tags r:id="rId5"/>
            </p:custDataLst>
          </p:nvPr>
        </p:nvSpPr>
        <p:spPr>
          <a:xfrm flipH="1">
            <a:off x="-10" y="-18854"/>
            <a:ext cx="7230368" cy="6928701"/>
          </a:xfrm>
          <a:custGeom>
            <a:gdLst>
              <a:gd name="connsiteX0" fmla="*/ 0 w 7150760"/>
              <a:gd name="connsiteY0" fmla="*/ 9525 h 6858000"/>
              <a:gd name="connsiteX1" fmla="*/ 7150760 w 7150760"/>
              <a:gd name="connsiteY1" fmla="*/ 0 h 6858000"/>
              <a:gd name="connsiteX2" fmla="*/ 7150760 w 7150760"/>
              <a:gd name="connsiteY2" fmla="*/ 6858000 h 6858000"/>
              <a:gd name="connsiteX3" fmla="*/ 2435883 w 7150760"/>
              <a:gd name="connsiteY3" fmla="*/ 6838950 h 6858000"/>
              <a:gd name="connsiteX4" fmla="*/ 0 w 7150760"/>
              <a:gd name="connsiteY4" fmla="*/ 9525 h 6858000"/>
            </a:gdLst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50760" h="6858000">
                <a:moveTo>
                  <a:pt x="0" y="9525"/>
                </a:moveTo>
                <a:lnTo>
                  <a:pt x="7150760" y="0"/>
                </a:lnTo>
                <a:lnTo>
                  <a:pt x="7150760" y="6858000"/>
                </a:lnTo>
                <a:lnTo>
                  <a:pt x="2435883" y="6838950"/>
                </a:lnTo>
                <a:lnTo>
                  <a:pt x="0" y="952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52400" dist="2286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/>
          <p:cNvCxnSpPr/>
          <p:nvPr userDrawn="1">
            <p:custDataLst>
              <p:tags r:id="rId6"/>
            </p:custDataLst>
          </p:nvPr>
        </p:nvCxnSpPr>
        <p:spPr>
          <a:xfrm>
            <a:off x="575853" y="1657448"/>
            <a:ext cx="5215431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7730" y="6019054"/>
            <a:ext cx="1170043" cy="674592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1" hasCustomPrompt="1"/>
            <p:custDataLst>
              <p:tags r:id="rId9"/>
            </p:custDataLst>
          </p:nvPr>
        </p:nvSpPr>
        <p:spPr>
          <a:xfrm>
            <a:off x="575853" y="849539"/>
            <a:ext cx="5988050" cy="987425"/>
          </a:xfrm>
        </p:spPr>
        <p:txBody>
          <a:bodyPr anchor="b">
            <a:noAutofit/>
          </a:bodyPr>
          <a:lstStyle>
            <a:lvl1pPr marL="0" indent="0">
              <a:buNone/>
              <a:defRPr sz="6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  <p:custDataLst>
              <p:tags r:id="rId10"/>
            </p:custDataLst>
          </p:nvPr>
        </p:nvSpPr>
        <p:spPr>
          <a:xfrm>
            <a:off x="576263" y="2049463"/>
            <a:ext cx="4338637" cy="4306887"/>
          </a:xfrm>
        </p:spPr>
        <p:txBody>
          <a:bodyPr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458142164"/>
      </p:ext>
    </p:extLst>
  </p:cSld>
  <p:clrMapOvr>
    <a:masterClrMapping/>
  </p:clrMapOvr>
  <p:transition/>
  <p:timing/>
</p:sldLayout>
</file>

<file path=ppt/slideLayouts/slideLayout26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twoObj" preserve="1">
  <p:cSld name="Two Content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211918" y="150284"/>
            <a:ext cx="9637183" cy="137794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2209801" y="2014537"/>
            <a:ext cx="4610100" cy="46021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7124700" y="2001837"/>
            <a:ext cx="4749800" cy="46021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5644953"/>
      </p:ext>
    </p:extLst>
  </p:cSld>
  <p:clrMapOvr>
    <a:masterClrMapping/>
  </p:clrMapOvr>
  <p:transition/>
  <p:timing/>
</p:sldLayout>
</file>

<file path=ppt/slideLayouts/slideLayout27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1_Two Content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133601" y="239185"/>
            <a:ext cx="9893300" cy="9927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2133600" y="1435101"/>
            <a:ext cx="9893301" cy="5092700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4751261"/>
      </p:ext>
    </p:extLst>
  </p:cSld>
  <p:clrMapOvr>
    <a:masterClrMapping/>
  </p:clrMapOvr>
  <p:transition/>
  <p:timing/>
</p:sldLayout>
</file>

<file path=ppt/slideLayouts/slideLayout3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Agenda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149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38" name="think-cell Slide" r:id="rId3" imgW="348" imgH="346" progId="TCLayout.ActiveDocument.1">
                  <p:embed/>
                </p:oleObj>
              </mc:Choice>
              <mc:Fallback>
                <p:oleObj name="think-cell Slide" r:id="rId3" imgW="348" imgH="346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3" descr="Beige rectangle">
            <a:extLst>
              <a:ext uri="{FF2B5EF4-FFF2-40B4-BE49-F238E27FC236}">
                <a16:creationId xmlns:a16="http://schemas.microsoft.com/office/drawing/2014/main" id="{DCF29767-6635-4A46-AB77-672CC90C6FBE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7332133" y="368124"/>
            <a:ext cx="4859868" cy="3738079"/>
          </a:xfrm>
          <a:custGeom>
            <a:rect l="l" t="t" r="r" b="b"/>
            <a:pathLst>
              <a:path w="4010659" h="333375">
                <a:moveTo>
                  <a:pt x="0" y="333006"/>
                </a:moveTo>
                <a:lnTo>
                  <a:pt x="4010367" y="333006"/>
                </a:lnTo>
                <a:lnTo>
                  <a:pt x="4010367" y="0"/>
                </a:lnTo>
                <a:lnTo>
                  <a:pt x="0" y="0"/>
                </a:lnTo>
                <a:lnTo>
                  <a:pt x="0" y="33300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05171" y="259607"/>
            <a:ext cx="6826961" cy="1186336"/>
          </a:xfrm>
        </p:spPr>
        <p:txBody>
          <a:bodyPr anchor="b">
            <a:normAutofit/>
          </a:bodyPr>
          <a:lstStyle>
            <a:lvl1pPr>
              <a:defRPr sz="4400">
                <a:solidFill>
                  <a:srgbClr val="0090A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0" name="object 3" descr="Beige rectangle">
            <a:extLst>
              <a:ext uri="{FF2B5EF4-FFF2-40B4-BE49-F238E27FC236}">
                <a16:creationId xmlns:a16="http://schemas.microsoft.com/office/drawing/2014/main" id="{DCF29767-6635-4A46-AB77-672CC90C6FBE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1585171"/>
            <a:ext cx="8286253" cy="4589732"/>
          </a:xfrm>
          <a:custGeom>
            <a:rect l="l" t="t" r="r" b="b"/>
            <a:pathLst>
              <a:path w="4010659" h="333375">
                <a:moveTo>
                  <a:pt x="0" y="333006"/>
                </a:moveTo>
                <a:lnTo>
                  <a:pt x="4010367" y="333006"/>
                </a:lnTo>
                <a:lnTo>
                  <a:pt x="4010367" y="0"/>
                </a:lnTo>
                <a:lnTo>
                  <a:pt x="0" y="0"/>
                </a:lnTo>
                <a:lnTo>
                  <a:pt x="0" y="33300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11" name="object 7" descr="Beige rectangle">
            <a:extLst>
              <a:ext uri="{FF2B5EF4-FFF2-40B4-BE49-F238E27FC236}">
                <a16:creationId xmlns:a16="http://schemas.microsoft.com/office/drawing/2014/main" id="{B36975AA-C62E-46BE-9382-E2CF56FDF817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white">
          <a:xfrm>
            <a:off x="569383" y="1468270"/>
            <a:ext cx="4696884" cy="45719"/>
          </a:xfrm>
          <a:custGeom>
            <a:rect l="l" t="t" r="r" b="b"/>
            <a:pathLst>
              <a:path w="3935729">
                <a:moveTo>
                  <a:pt x="0" y="0"/>
                </a:moveTo>
                <a:lnTo>
                  <a:pt x="3935349" y="0"/>
                </a:lnTo>
              </a:path>
            </a:pathLst>
          </a:custGeom>
          <a:ln w="54863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pic>
        <p:nvPicPr>
          <p:cNvPr id="6" name="Picture Placeholder 3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3800" y="239369"/>
            <a:ext cx="4648200" cy="3640667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504825" y="1771650"/>
            <a:ext cx="6827838" cy="4221163"/>
          </a:xfrm>
        </p:spPr>
        <p:txBody>
          <a:bodyPr>
            <a:normAutofit/>
          </a:bodyPr>
          <a:lstStyle>
            <a:lvl1pPr marL="514350" indent="-514350">
              <a:buFont typeface="+mj-lt"/>
              <a:buAutoNum type="romanUcPeriod"/>
              <a:defRPr sz="3200">
                <a:solidFill>
                  <a:schemeClr val="bg1"/>
                </a:solidFill>
              </a:defRPr>
            </a:lvl1pPr>
            <a:lvl2pPr marL="971550" indent="-514350">
              <a:buFont typeface="+mj-lt"/>
              <a:buAutoNum type="romanUcPeriod"/>
              <a:defRPr>
                <a:solidFill>
                  <a:schemeClr val="bg1"/>
                </a:solidFill>
              </a:defRPr>
            </a:lvl2pPr>
            <a:lvl3pPr marL="1428750" indent="-514350">
              <a:buFont typeface="+mj-lt"/>
              <a:buAutoNum type="romanUcPeriod"/>
              <a:defRPr>
                <a:solidFill>
                  <a:schemeClr val="bg1"/>
                </a:solidFill>
              </a:defRPr>
            </a:lvl3pPr>
            <a:lvl4pPr marL="1885950" indent="-514350">
              <a:buFont typeface="+mj-lt"/>
              <a:buAutoNum type="romanUcPeriod"/>
              <a:defRPr>
                <a:solidFill>
                  <a:schemeClr val="bg1"/>
                </a:solidFill>
              </a:defRPr>
            </a:lvl4pPr>
            <a:lvl5pPr marL="2343150" indent="-514350">
              <a:buFont typeface="+mj-lt"/>
              <a:buAutoNum type="romanU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genda Item</a:t>
            </a:r>
          </a:p>
          <a:p>
            <a:pPr lvl="1"/>
            <a:r>
              <a:rPr lang="en-US"/>
              <a:t>Subtitle</a:t>
            </a:r>
          </a:p>
          <a:p>
            <a:pPr lvl="0"/>
            <a:r>
              <a:rPr lang="en-US"/>
              <a:t>Agenda Item</a:t>
            </a:r>
          </a:p>
          <a:p>
            <a:pPr lvl="0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0841089" y="5992813"/>
            <a:ext cx="1112555" cy="642810"/>
          </a:xfrm>
          <a:prstGeom prst="rect">
            <a:avLst/>
          </a:prstGeom>
        </p:spPr>
      </p:pic>
      <p:sp>
        <p:nvSpPr>
          <p:cNvPr id="14" name="Date Placeholder 13"/>
          <p:cNvSpPr>
            <a:spLocks noGrp="1"/>
          </p:cNvSpPr>
          <p:nvPr>
            <p:ph type="dt" sz="half" idx="14"/>
            <p:custDataLst>
              <p:tags r:id="rId14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5"/>
            <p:custDataLst>
              <p:tags r:id="rId15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19334946"/>
      </p:ext>
    </p:extLst>
  </p:cSld>
  <p:clrMapOvr>
    <a:masterClrMapping/>
  </p:clrMapOvr>
  <p:transition/>
  <p:timing/>
</p:sldLayout>
</file>

<file path=ppt/slideLayouts/slideLayout4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Team Member Page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3" name="Picture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object 3" descr="Blue rectangle">
            <a:extLst>
              <a:ext uri="{FF2B5EF4-FFF2-40B4-BE49-F238E27FC236}">
                <a16:creationId xmlns:a16="http://schemas.microsoft.com/office/drawing/2014/main" id="{9206F938-D64B-410D-BE2D-847D78F81E4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3600" y="0"/>
            <a:ext cx="12188400" cy="6858000"/>
          </a:xfrm>
          <a:custGeom>
            <a:rect l="l" t="t" r="r" b="b"/>
            <a:pathLst>
              <a:path w="12189460" h="6858000">
                <a:moveTo>
                  <a:pt x="0" y="6858000"/>
                </a:moveTo>
                <a:lnTo>
                  <a:pt x="12188952" y="6858000"/>
                </a:lnTo>
                <a:lnTo>
                  <a:pt x="1218895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alpha val="69999"/>
            </a:schemeClr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21" name="Rectangle 20" descr="Blue rectangle">
            <a:extLst>
              <a:ext uri="{FF2B5EF4-FFF2-40B4-BE49-F238E27FC236}">
                <a16:creationId xmlns:a16="http://schemas.microsoft.com/office/drawing/2014/main" id="{B743B096-6BB3-4330-9D5B-22EEBAF87BEE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2770632"/>
            <a:ext cx="12192000" cy="1316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 descr="Blue circle">
            <a:extLst>
              <a:ext uri="{FF2B5EF4-FFF2-40B4-BE49-F238E27FC236}">
                <a16:creationId xmlns:a16="http://schemas.microsoft.com/office/drawing/2014/main" id="{48354ED0-9392-4301-B2D6-A5335876F77D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254178" y="2028699"/>
            <a:ext cx="2718809" cy="271880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60EB58-EF7E-435A-8B07-B5BCF3AF119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F76098-6FA1-470A-BEF4-E4B0AC75E8F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838200" y="313369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eam Member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F57DE0-C032-4FCC-9006-09C2C328A665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fld id="{397CD216-73DE-4B96-8E1B-BB64D86142BB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C776CB-2819-4488-9012-A6EA22079A47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15EEB49-54F4-404C-9B31-AD488BFCB2E0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11"/>
            </p:custDataLst>
          </p:nvPr>
        </p:nvSpPr>
        <p:spPr>
          <a:xfrm>
            <a:off x="406574" y="2181095"/>
            <a:ext cx="2414016" cy="2414016"/>
          </a:xfrm>
          <a:prstGeom prst="ellipse">
            <a:avLst/>
          </a:prstGeom>
          <a:noFill/>
          <a:ln w="387350">
            <a:noFill/>
          </a:ln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B9B9E0BA-35AD-4D69-9A03-35F2509C2C27}"/>
              </a:ext>
            </a:extLst>
          </p:cNvPr>
          <p:cNvSpPr>
            <a:spLocks noGrp="1"/>
          </p:cNvSpPr>
          <p:nvPr>
            <p:ph type="body" sz="quarter" idx="19"/>
            <p:custDataLst>
              <p:tags r:id="rId12"/>
            </p:custDataLst>
          </p:nvPr>
        </p:nvSpPr>
        <p:spPr>
          <a:xfrm>
            <a:off x="234606" y="4666836"/>
            <a:ext cx="2700338" cy="7381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Oval 22" descr="Blue circle">
            <a:extLst>
              <a:ext uri="{FF2B5EF4-FFF2-40B4-BE49-F238E27FC236}">
                <a16:creationId xmlns:a16="http://schemas.microsoft.com/office/drawing/2014/main" id="{48354ED0-9392-4301-B2D6-A5335876F77D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3217247" y="2028699"/>
            <a:ext cx="2718809" cy="271880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 descr="Blue circle">
            <a:extLst>
              <a:ext uri="{FF2B5EF4-FFF2-40B4-BE49-F238E27FC236}">
                <a16:creationId xmlns:a16="http://schemas.microsoft.com/office/drawing/2014/main" id="{48354ED0-9392-4301-B2D6-A5335876F77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6151508" y="2028699"/>
            <a:ext cx="2718809" cy="271880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 descr="Blue circle">
            <a:extLst>
              <a:ext uri="{FF2B5EF4-FFF2-40B4-BE49-F238E27FC236}">
                <a16:creationId xmlns:a16="http://schemas.microsoft.com/office/drawing/2014/main" id="{48354ED0-9392-4301-B2D6-A5335876F77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9114022" y="2028699"/>
            <a:ext cx="2718809" cy="271880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B15EEB49-54F4-404C-9B31-AD488BFCB2E0}"/>
              </a:ext>
            </a:extLst>
          </p:cNvPr>
          <p:cNvSpPr>
            <a:spLocks noGrp="1"/>
          </p:cNvSpPr>
          <p:nvPr>
            <p:ph type="pic" sz="quarter" idx="23"/>
            <p:custDataLst>
              <p:tags r:id="rId16"/>
            </p:custDataLst>
          </p:nvPr>
        </p:nvSpPr>
        <p:spPr>
          <a:xfrm>
            <a:off x="3340836" y="2181096"/>
            <a:ext cx="2414016" cy="2414016"/>
          </a:xfrm>
          <a:prstGeom prst="ellipse">
            <a:avLst/>
          </a:prstGeom>
          <a:noFill/>
          <a:ln w="387350">
            <a:noFill/>
          </a:ln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B9B9E0BA-35AD-4D69-9A03-35F2509C2C27}"/>
              </a:ext>
            </a:extLst>
          </p:cNvPr>
          <p:cNvSpPr>
            <a:spLocks noGrp="1"/>
          </p:cNvSpPr>
          <p:nvPr>
            <p:ph type="body" sz="quarter" idx="24"/>
            <p:custDataLst>
              <p:tags r:id="rId17"/>
            </p:custDataLst>
          </p:nvPr>
        </p:nvSpPr>
        <p:spPr>
          <a:xfrm>
            <a:off x="3197675" y="4666836"/>
            <a:ext cx="2700338" cy="7381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B15EEB49-54F4-404C-9B31-AD488BFCB2E0}"/>
              </a:ext>
            </a:extLst>
          </p:cNvPr>
          <p:cNvSpPr>
            <a:spLocks noGrp="1"/>
          </p:cNvSpPr>
          <p:nvPr>
            <p:ph type="pic" sz="quarter" idx="25"/>
            <p:custDataLst>
              <p:tags r:id="rId18"/>
            </p:custDataLst>
          </p:nvPr>
        </p:nvSpPr>
        <p:spPr>
          <a:xfrm>
            <a:off x="6303905" y="2181096"/>
            <a:ext cx="2414016" cy="2414016"/>
          </a:xfrm>
          <a:prstGeom prst="ellipse">
            <a:avLst/>
          </a:prstGeom>
          <a:noFill/>
          <a:ln w="387350">
            <a:noFill/>
          </a:ln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B9B9E0BA-35AD-4D69-9A03-35F2509C2C27}"/>
              </a:ext>
            </a:extLst>
          </p:cNvPr>
          <p:cNvSpPr>
            <a:spLocks noGrp="1"/>
          </p:cNvSpPr>
          <p:nvPr>
            <p:ph type="body" sz="quarter" idx="26"/>
            <p:custDataLst>
              <p:tags r:id="rId19"/>
            </p:custDataLst>
          </p:nvPr>
        </p:nvSpPr>
        <p:spPr>
          <a:xfrm>
            <a:off x="6160744" y="4666836"/>
            <a:ext cx="2700338" cy="7381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B15EEB49-54F4-404C-9B31-AD488BFCB2E0}"/>
              </a:ext>
            </a:extLst>
          </p:cNvPr>
          <p:cNvSpPr>
            <a:spLocks noGrp="1"/>
          </p:cNvSpPr>
          <p:nvPr>
            <p:ph type="pic" sz="quarter" idx="27"/>
            <p:custDataLst>
              <p:tags r:id="rId20"/>
            </p:custDataLst>
          </p:nvPr>
        </p:nvSpPr>
        <p:spPr>
          <a:xfrm>
            <a:off x="9266974" y="2181096"/>
            <a:ext cx="2414016" cy="2414016"/>
          </a:xfrm>
          <a:prstGeom prst="ellipse">
            <a:avLst/>
          </a:prstGeom>
          <a:noFill/>
          <a:ln w="387350">
            <a:noFill/>
          </a:ln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B9B9E0BA-35AD-4D69-9A03-35F2509C2C27}"/>
              </a:ext>
            </a:extLst>
          </p:cNvPr>
          <p:cNvSpPr>
            <a:spLocks noGrp="1"/>
          </p:cNvSpPr>
          <p:nvPr>
            <p:ph type="body" sz="quarter" idx="28"/>
            <p:custDataLst>
              <p:tags r:id="rId21"/>
            </p:custDataLst>
          </p:nvPr>
        </p:nvSpPr>
        <p:spPr>
          <a:xfrm>
            <a:off x="9123813" y="4666836"/>
            <a:ext cx="2700338" cy="73818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7" name="object 13" descr="Beige rectangle">
            <a:extLst>
              <a:ext uri="{FF2B5EF4-FFF2-40B4-BE49-F238E27FC236}">
                <a16:creationId xmlns:a16="http://schemas.microsoft.com/office/drawing/2014/main" id="{DFB86A96-0959-48CB-911E-06E243290C23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856093" y="1266027"/>
            <a:ext cx="5156517" cy="145189"/>
          </a:xfrm>
          <a:custGeom>
            <a:rect l="l" t="t" r="r" b="b"/>
            <a:pathLst>
              <a:path w="2694304">
                <a:moveTo>
                  <a:pt x="0" y="0"/>
                </a:moveTo>
                <a:lnTo>
                  <a:pt x="2694127" y="0"/>
                </a:lnTo>
              </a:path>
            </a:pathLst>
          </a:custGeom>
          <a:ln w="54863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pic>
        <p:nvPicPr>
          <p:cNvPr id="28" name="Picture 27"/>
          <p:cNvPicPr>
            <a:picLocks noChangeAspect="1"/>
          </p:cNvPicPr>
          <p:nvPr userDrawn="1">
            <p:custDataLst>
              <p:tags r:id="rId2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4487" y="6053886"/>
            <a:ext cx="983233" cy="566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703497"/>
      </p:ext>
    </p:extLst>
  </p:cSld>
  <p:clrMapOvr>
    <a:masterClrMapping/>
  </p:clrMapOvr>
  <p:transition/>
  <p:timing/>
</p:sldLayout>
</file>

<file path=ppt/slideLayouts/slideLayout5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secHead" preserve="1">
  <p:cSld name="Section Header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12" name="Picture 1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88242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4D83DC-20E7-4B71-9794-36FC33B1BA0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85E24BC7-4CDB-41D7-81AF-9CE8473FF4B8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E7D103-1290-4592-B37C-19C9C9DBEAE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object 3" descr="Beige rectangle">
            <a:extLst>
              <a:ext uri="{FF2B5EF4-FFF2-40B4-BE49-F238E27FC236}">
                <a16:creationId xmlns:a16="http://schemas.microsoft.com/office/drawing/2014/main" id="{DCF29767-6635-4A46-AB77-672CC90C6FB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8181340" y="899261"/>
            <a:ext cx="4010660" cy="4815901"/>
          </a:xfrm>
          <a:custGeom>
            <a:rect l="l" t="t" r="r" b="b"/>
            <a:pathLst>
              <a:path w="4010659" h="333375">
                <a:moveTo>
                  <a:pt x="0" y="333006"/>
                </a:moveTo>
                <a:lnTo>
                  <a:pt x="4010367" y="333006"/>
                </a:lnTo>
                <a:lnTo>
                  <a:pt x="4010367" y="0"/>
                </a:lnTo>
                <a:lnTo>
                  <a:pt x="0" y="0"/>
                </a:lnTo>
                <a:lnTo>
                  <a:pt x="0" y="33300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8" name="object 6" descr="Blue rectangle">
            <a:extLst>
              <a:ext uri="{FF2B5EF4-FFF2-40B4-BE49-F238E27FC236}">
                <a16:creationId xmlns:a16="http://schemas.microsoft.com/office/drawing/2014/main" id="{9FABC344-E043-45BE-8588-06C658DBCE70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5502275" y="1244968"/>
            <a:ext cx="6689725" cy="4149992"/>
          </a:xfrm>
          <a:custGeom>
            <a:rect l="l" t="t" r="r" b="b"/>
            <a:pathLst>
              <a:path w="6689725" h="3528060">
                <a:moveTo>
                  <a:pt x="0" y="3527996"/>
                </a:moveTo>
                <a:lnTo>
                  <a:pt x="6689648" y="3527996"/>
                </a:lnTo>
                <a:lnTo>
                  <a:pt x="6689648" y="0"/>
                </a:lnTo>
                <a:lnTo>
                  <a:pt x="0" y="0"/>
                </a:lnTo>
                <a:lnTo>
                  <a:pt x="0" y="352799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10" name="object 9" descr="Beige rectangle">
            <a:extLst>
              <a:ext uri="{FF2B5EF4-FFF2-40B4-BE49-F238E27FC236}">
                <a16:creationId xmlns:a16="http://schemas.microsoft.com/office/drawing/2014/main" id="{02C6628C-972C-4717-AAF3-D882B30F6658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white">
          <a:xfrm>
            <a:off x="6313932" y="2782848"/>
            <a:ext cx="5649468" cy="53738"/>
          </a:xfrm>
          <a:custGeom>
            <a:rect l="l" t="t" r="r" b="b"/>
            <a:pathLst>
              <a:path w="2642870">
                <a:moveTo>
                  <a:pt x="0" y="0"/>
                </a:moveTo>
                <a:lnTo>
                  <a:pt x="2642616" y="0"/>
                </a:lnTo>
              </a:path>
            </a:pathLst>
          </a:custGeom>
          <a:ln w="54863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9FA988-92AD-48D7-890A-AA0540961DE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6227762" y="1506652"/>
            <a:ext cx="5735638" cy="1266532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nser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A999FA-A189-41DB-9CFC-D1356C534373}"/>
              </a:ext>
            </a:extLst>
          </p:cNvPr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6227762" y="2977924"/>
            <a:ext cx="5735638" cy="1667736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025" y="5979589"/>
            <a:ext cx="1084895" cy="6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201245"/>
      </p:ext>
    </p:extLst>
  </p:cSld>
  <p:clrMapOvr>
    <a:masterClrMapping/>
  </p:clrMapOvr>
  <p:transition/>
  <p:timing/>
</p:sldLayout>
</file>

<file path=ppt/slideLayouts/slideLayout6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Social Media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11" name="Picture 10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9043" y="1701781"/>
            <a:ext cx="6112957" cy="515621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955B1B-4A5C-42C7-99A5-B8217736F178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object 3" descr="Beige rectangle">
            <a:extLst>
              <a:ext uri="{FF2B5EF4-FFF2-40B4-BE49-F238E27FC236}">
                <a16:creationId xmlns:a16="http://schemas.microsoft.com/office/drawing/2014/main" id="{DCF29767-6635-4A46-AB77-672CC90C6FBE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348343"/>
            <a:ext cx="5998030" cy="5030088"/>
          </a:xfrm>
          <a:custGeom>
            <a:rect l="l" t="t" r="r" b="b"/>
            <a:pathLst>
              <a:path w="4010659" h="333375">
                <a:moveTo>
                  <a:pt x="0" y="333006"/>
                </a:moveTo>
                <a:lnTo>
                  <a:pt x="4010367" y="333006"/>
                </a:lnTo>
                <a:lnTo>
                  <a:pt x="4010367" y="0"/>
                </a:lnTo>
                <a:lnTo>
                  <a:pt x="0" y="0"/>
                </a:lnTo>
                <a:lnTo>
                  <a:pt x="0" y="33300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8" name="object 6" descr="Blue rectangle">
            <a:extLst>
              <a:ext uri="{FF2B5EF4-FFF2-40B4-BE49-F238E27FC236}">
                <a16:creationId xmlns:a16="http://schemas.microsoft.com/office/drawing/2014/main" id="{9FABC344-E043-45BE-8588-06C658DBCE70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1474293"/>
            <a:ext cx="7511143" cy="3585387"/>
          </a:xfrm>
          <a:custGeom>
            <a:rect l="l" t="t" r="r" b="b"/>
            <a:pathLst>
              <a:path w="6689725" h="3528060">
                <a:moveTo>
                  <a:pt x="0" y="3527996"/>
                </a:moveTo>
                <a:lnTo>
                  <a:pt x="6689648" y="3527996"/>
                </a:lnTo>
                <a:lnTo>
                  <a:pt x="6689648" y="0"/>
                </a:lnTo>
                <a:lnTo>
                  <a:pt x="0" y="0"/>
                </a:lnTo>
                <a:lnTo>
                  <a:pt x="0" y="352799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9" name="TextBox 8"/>
          <p:cNvSpPr txBox="1"/>
          <p:nvPr userDrawn="1">
            <p:custDataLst>
              <p:tags r:id="rId7"/>
            </p:custDataLst>
          </p:nvPr>
        </p:nvSpPr>
        <p:spPr>
          <a:xfrm>
            <a:off x="587828" y="598725"/>
            <a:ext cx="6553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>
                <a:solidFill>
                  <a:srgbClr val="0090A2"/>
                </a:solidFill>
                <a:latin typeface="+mj-lt"/>
              </a:rPr>
              <a:t>Find Us Online</a:t>
            </a:r>
          </a:p>
        </p:txBody>
      </p:sp>
      <p:sp>
        <p:nvSpPr>
          <p:cNvPr id="13" name="TextBox 12"/>
          <p:cNvSpPr txBox="1"/>
          <p:nvPr userDrawn="1">
            <p:custDataLst>
              <p:tags r:id="rId8"/>
            </p:custDataLst>
          </p:nvPr>
        </p:nvSpPr>
        <p:spPr>
          <a:xfrm>
            <a:off x="1316546" y="2049327"/>
            <a:ext cx="64225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>
                <a:solidFill>
                  <a:schemeClr val="accent1"/>
                </a:solidFill>
                <a:latin typeface="+mj-lt"/>
              </a:rPr>
              <a:t>www.ogletree.com</a:t>
            </a:r>
          </a:p>
        </p:txBody>
      </p:sp>
      <p:sp>
        <p:nvSpPr>
          <p:cNvPr id="14" name="TextBox 13"/>
          <p:cNvSpPr txBox="1"/>
          <p:nvPr userDrawn="1">
            <p:custDataLst>
              <p:tags r:id="rId9"/>
            </p:custDataLst>
          </p:nvPr>
        </p:nvSpPr>
        <p:spPr>
          <a:xfrm>
            <a:off x="1316546" y="2918734"/>
            <a:ext cx="64225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>
                <a:solidFill>
                  <a:schemeClr val="accent1"/>
                </a:solidFill>
                <a:latin typeface="+mj-lt"/>
              </a:rPr>
              <a:t>twitter.com/ogletreedeakins</a:t>
            </a:r>
          </a:p>
        </p:txBody>
      </p:sp>
      <p:sp>
        <p:nvSpPr>
          <p:cNvPr id="17" name="TextBox 16"/>
          <p:cNvSpPr txBox="1"/>
          <p:nvPr userDrawn="1">
            <p:custDataLst>
              <p:tags r:id="rId10"/>
            </p:custDataLst>
          </p:nvPr>
        </p:nvSpPr>
        <p:spPr>
          <a:xfrm>
            <a:off x="1316546" y="3871749"/>
            <a:ext cx="64225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>
                <a:solidFill>
                  <a:schemeClr val="accent1"/>
                </a:solidFill>
                <a:latin typeface="+mj-lt"/>
              </a:rPr>
              <a:t>linkedin.com/company/ogletree-deakins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30" y="3889461"/>
            <a:ext cx="559986" cy="49303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805" y="2863835"/>
            <a:ext cx="763728" cy="62116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937" y="1950324"/>
            <a:ext cx="783771" cy="78377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>
            <p:custDataLst>
              <p:tags r:id="rId18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738" y="5734778"/>
            <a:ext cx="1202818" cy="693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463865"/>
      </p:ext>
    </p:extLst>
  </p:cSld>
  <p:clrMapOvr>
    <a:masterClrMapping/>
  </p:clrMapOvr>
  <p:transition/>
  <p:timing/>
</p:sldLayout>
</file>

<file path=ppt/slideLayouts/slideLayout7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Ancillary Products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6" name="Picture 5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98" y="2942768"/>
            <a:ext cx="2743200" cy="68806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98" y="4031356"/>
            <a:ext cx="2743200" cy="70768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9697" y="2862095"/>
            <a:ext cx="2743200" cy="68176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3247" y="4791243"/>
            <a:ext cx="3268500" cy="114397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>
            <p:custDataLst>
              <p:tags r:id="rId17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9697" y="5000554"/>
            <a:ext cx="2523067" cy="95241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>
            <p:custDataLst>
              <p:tags r:id="rId19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98" y="5139562"/>
            <a:ext cx="2743200" cy="66326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>
            <p:custDataLst>
              <p:tags r:id="rId21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098" y="1942388"/>
            <a:ext cx="2743200" cy="59985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>
            <p:custDataLst>
              <p:tags r:id="rId2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7395" y="2933551"/>
            <a:ext cx="2743200" cy="631569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>
            <p:custDataLst>
              <p:tags r:id="rId25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7395" y="3891971"/>
            <a:ext cx="2743200" cy="70407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>
            <p:custDataLst>
              <p:tags r:id="rId27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7395" y="1873185"/>
            <a:ext cx="2743200" cy="73351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>
            <p:custDataLst>
              <p:tags r:id="rId29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9697" y="3737251"/>
            <a:ext cx="2743200" cy="106991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>
            <p:custDataLst>
              <p:tags r:id="rId31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9697" y="1805694"/>
            <a:ext cx="2743200" cy="863009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>
            <p:custDataLst>
              <p:tags r:id="rId32"/>
            </p:custDataLst>
          </p:nvPr>
        </p:nvSpPr>
        <p:spPr>
          <a:xfrm>
            <a:off x="1422400" y="453603"/>
            <a:ext cx="9550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>
                <a:solidFill>
                  <a:srgbClr val="0090A2"/>
                </a:solidFill>
                <a:latin typeface="+mj-lt"/>
              </a:rPr>
              <a:t>Our Ancillary</a:t>
            </a:r>
            <a:r>
              <a:rPr lang="en-US" sz="4800" b="1" baseline="0">
                <a:solidFill>
                  <a:srgbClr val="0090A2"/>
                </a:solidFill>
                <a:latin typeface="+mj-lt"/>
              </a:rPr>
              <a:t> Products</a:t>
            </a:r>
            <a:endParaRPr lang="en-US" sz="4800" b="1">
              <a:solidFill>
                <a:srgbClr val="0090A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53808413"/>
      </p:ext>
    </p:extLst>
  </p:cSld>
  <p:clrMapOvr>
    <a:masterClrMapping/>
  </p:clrMapOvr>
  <p:transition/>
  <p:timing/>
</p:sldLayout>
</file>

<file path=ppt/slideLayouts/slideLayout8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PD&amp;I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11" name="Picture 10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2858" y="1519965"/>
            <a:ext cx="6763721" cy="5338035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955B1B-4A5C-42C7-99A5-B8217736F178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object 3" descr="Beige rectangle">
            <a:extLst>
              <a:ext uri="{FF2B5EF4-FFF2-40B4-BE49-F238E27FC236}">
                <a16:creationId xmlns:a16="http://schemas.microsoft.com/office/drawing/2014/main" id="{DCF29767-6635-4A46-AB77-672CC90C6FBE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-1" y="1045065"/>
            <a:ext cx="5763534" cy="3766421"/>
          </a:xfrm>
          <a:custGeom>
            <a:rect l="l" t="t" r="r" b="b"/>
            <a:pathLst>
              <a:path w="4010659" h="333375">
                <a:moveTo>
                  <a:pt x="0" y="333006"/>
                </a:moveTo>
                <a:lnTo>
                  <a:pt x="4010367" y="333006"/>
                </a:lnTo>
                <a:lnTo>
                  <a:pt x="4010367" y="0"/>
                </a:lnTo>
                <a:lnTo>
                  <a:pt x="0" y="0"/>
                </a:lnTo>
                <a:lnTo>
                  <a:pt x="0" y="33300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8" name="object 6" descr="Blue rectangle">
            <a:extLst>
              <a:ext uri="{FF2B5EF4-FFF2-40B4-BE49-F238E27FC236}">
                <a16:creationId xmlns:a16="http://schemas.microsoft.com/office/drawing/2014/main" id="{9FABC344-E043-45BE-8588-06C658DBCE70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1390771"/>
            <a:ext cx="5442858" cy="3984372"/>
          </a:xfrm>
          <a:custGeom>
            <a:rect l="l" t="t" r="r" b="b"/>
            <a:pathLst>
              <a:path w="6689725" h="3528060">
                <a:moveTo>
                  <a:pt x="0" y="3527996"/>
                </a:moveTo>
                <a:lnTo>
                  <a:pt x="6689648" y="3527996"/>
                </a:lnTo>
                <a:lnTo>
                  <a:pt x="6689648" y="0"/>
                </a:lnTo>
                <a:lnTo>
                  <a:pt x="0" y="0"/>
                </a:lnTo>
                <a:lnTo>
                  <a:pt x="0" y="352799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9" name="TextBox 8"/>
          <p:cNvSpPr txBox="1"/>
          <p:nvPr userDrawn="1">
            <p:custDataLst>
              <p:tags r:id="rId7"/>
            </p:custDataLst>
          </p:nvPr>
        </p:nvSpPr>
        <p:spPr>
          <a:xfrm>
            <a:off x="272144" y="248422"/>
            <a:ext cx="9220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4000" b="1" i="0" kern="1200">
                <a:solidFill>
                  <a:srgbClr val="0090A2"/>
                </a:solidFill>
                <a:effectLst/>
                <a:latin typeface="+mj-lt"/>
                <a:ea typeface="+mn-ea"/>
                <a:cs typeface="+mn-cs"/>
              </a:rPr>
              <a:t>Professional Development &amp; Inclusion</a:t>
            </a:r>
          </a:p>
        </p:txBody>
      </p:sp>
      <p:sp>
        <p:nvSpPr>
          <p:cNvPr id="13" name="TextBox 12"/>
          <p:cNvSpPr txBox="1"/>
          <p:nvPr userDrawn="1">
            <p:custDataLst>
              <p:tags r:id="rId8"/>
            </p:custDataLst>
          </p:nvPr>
        </p:nvSpPr>
        <p:spPr>
          <a:xfrm>
            <a:off x="360785" y="1686186"/>
            <a:ext cx="496157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/>
                <a:ea typeface="+mj-ea"/>
                <a:cs typeface="+mj-cs"/>
              </a:rPr>
              <a:t>Through our diversity and professional development programs, our attorneys cultivate the skills and the mind-set they need to succeed and to provide premier service to our clients.</a:t>
            </a:r>
            <a:endParaRPr lang="en-US" sz="3000" b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94" y="6055616"/>
            <a:ext cx="976587" cy="56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755571"/>
      </p:ext>
    </p:extLst>
  </p:cSld>
  <p:clrMapOvr>
    <a:masterClrMapping/>
  </p:clrMapOvr>
  <p:transition/>
  <p:timing/>
</p:sldLayout>
</file>

<file path=ppt/slideLayouts/slideLayout9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Our Offices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12" name="Picture 1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89"/>
            <a:ext cx="12192000" cy="6860589"/>
          </a:xfrm>
          <a:prstGeom prst="rect">
            <a:avLst/>
          </a:prstGeom>
        </p:spPr>
      </p:pic>
      <p:sp>
        <p:nvSpPr>
          <p:cNvPr id="13" name="object 3" descr="Blue rectangle">
            <a:extLst>
              <a:ext uri="{FF2B5EF4-FFF2-40B4-BE49-F238E27FC236}">
                <a16:creationId xmlns:a16="http://schemas.microsoft.com/office/drawing/2014/main" id="{2D225086-68BE-4168-8F17-9443ADD8967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189600" cy="6858000"/>
          </a:xfrm>
          <a:custGeom>
            <a:rect l="l" t="t" r="r" b="b"/>
            <a:pathLst>
              <a:path w="12189460" h="6858000">
                <a:moveTo>
                  <a:pt x="0" y="6858000"/>
                </a:moveTo>
                <a:lnTo>
                  <a:pt x="12188952" y="6858000"/>
                </a:lnTo>
                <a:lnTo>
                  <a:pt x="1218895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alpha val="80000"/>
            </a:schemeClr>
          </a:solidFill>
        </p:spPr>
        <p:txBody>
          <a:bodyPr wrap="square" lIns="0" tIns="0" rIns="0" bIns="0" rtlCol="0"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/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Rectangle 5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1641442" y="1458980"/>
            <a:ext cx="2130425" cy="4093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 kumimoji="1" sz="2400">
                <a:solidFill>
                  <a:schemeClr val="tx1"/>
                </a:solidFill>
                <a:latin typeface="Arial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/>
              </a:defRPr>
            </a:lvl9pPr>
          </a:lstStyle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Atlanta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Austin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Berlin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Birmingham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Boston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Buffalo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Charleston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Charlotte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Chicago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Cleveland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Columbia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Columbus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Dallas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Denver</a:t>
            </a:r>
          </a:p>
          <a:p>
            <a:pPr>
              <a:lnSpc>
                <a:spcPts val="2200"/>
              </a:lnSpc>
              <a:spcAft>
                <a:spcPts val="50"/>
              </a:spcAft>
              <a:defRPr/>
            </a:pPr>
            <a:r>
              <a:rPr lang="en-US" altLang="en-US" sz="2000" spc="-10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Detroit (Metro)</a:t>
            </a:r>
            <a:endParaRPr lang="en-US" altLang="en-US" sz="2000" spc="-20">
              <a:solidFill>
                <a:schemeClr val="accent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>
            <p:custDataLst>
              <p:tags r:id="rId9"/>
            </p:custDataLst>
          </p:nvPr>
        </p:nvSpPr>
        <p:spPr>
          <a:xfrm>
            <a:off x="4111038" y="1458980"/>
            <a:ext cx="2017713" cy="4093428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Fresno</a:t>
            </a: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Greenville</a:t>
            </a: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Houston</a:t>
            </a: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Indianapolis</a:t>
            </a: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Kansas City</a:t>
            </a:r>
            <a:b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</a:b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Las Vegas</a:t>
            </a: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London</a:t>
            </a: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Los Angeles</a:t>
            </a: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Memphis</a:t>
            </a: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Mexico City</a:t>
            </a: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Miami</a:t>
            </a: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Milwaukee</a:t>
            </a: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Minneapolis</a:t>
            </a: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Montréal</a:t>
            </a: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Rectangle 7"/>
          <p:cNvSpPr/>
          <p:nvPr userDrawn="1">
            <p:custDataLst>
              <p:tags r:id="rId10"/>
            </p:custDataLst>
          </p:nvPr>
        </p:nvSpPr>
        <p:spPr>
          <a:xfrm>
            <a:off x="6467922" y="1458980"/>
            <a:ext cx="2138436" cy="409342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Morristown</a:t>
            </a:r>
          </a:p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Nashville</a:t>
            </a:r>
          </a:p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New Orleans</a:t>
            </a:r>
          </a:p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New York City</a:t>
            </a:r>
          </a:p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Oklahoma City</a:t>
            </a:r>
          </a:p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Orange County</a:t>
            </a:r>
          </a:p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Paris</a:t>
            </a:r>
          </a:p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Philadelphia</a:t>
            </a:r>
          </a:p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Phoenix</a:t>
            </a:r>
          </a:p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Pittsburgh</a:t>
            </a:r>
          </a:p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Portland (ME)</a:t>
            </a:r>
          </a:p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Portland (OR)</a:t>
            </a:r>
          </a:p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Raleigh</a:t>
            </a:r>
          </a:p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50"/>
              </a:spcAft>
              <a:buClrTx/>
              <a:buSzTx/>
              <a:buFontTx/>
              <a:buNone/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Richmond</a:t>
            </a:r>
          </a:p>
          <a:p>
            <a:pPr marL="0" algn="l" defTabSz="914400" rtl="0" eaLnBrk="1" latinLnBrk="0" hangingPunct="1">
              <a:lnSpc>
                <a:spcPts val="24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Sacramento</a:t>
            </a:r>
          </a:p>
          <a:p>
            <a:pPr marL="0" algn="l" defTabSz="914400" rtl="0" eaLnBrk="1" latinLnBrk="0" hangingPunct="1">
              <a:lnSpc>
                <a:spcPts val="2200"/>
              </a:lnSpc>
              <a:spcAft>
                <a:spcPts val="50"/>
              </a:spcAft>
              <a:defRPr/>
            </a:pPr>
            <a:endParaRPr kumimoji="1" lang="en-US" altLang="en-US" sz="2000" kern="1200" spc="-10">
              <a:solidFill>
                <a:schemeClr val="accent1"/>
              </a:solidFill>
              <a:latin typeface="+mj-lt"/>
              <a:ea typeface="+mn-ea"/>
              <a:cs typeface="Arial" panose="020b0604020202020204" pitchFamily="34" charset="0"/>
            </a:endParaRPr>
          </a:p>
          <a:p>
            <a:pPr marL="0" algn="l" defTabSz="914400" rtl="0" eaLnBrk="1" latinLnBrk="0" hangingPunct="1">
              <a:lnSpc>
                <a:spcPct val="1000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Rectangle 8"/>
          <p:cNvSpPr/>
          <p:nvPr userDrawn="1">
            <p:custDataLst>
              <p:tags r:id="rId11"/>
            </p:custDataLst>
          </p:nvPr>
        </p:nvSpPr>
        <p:spPr>
          <a:xfrm>
            <a:off x="8945529" y="1443254"/>
            <a:ext cx="2777349" cy="440120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algn="l" defTabSz="914400" rtl="0" eaLnBrk="1" latinLnBrk="0" hangingPunct="1">
              <a:lnSpc>
                <a:spcPts val="24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Salt Lake City</a:t>
            </a:r>
          </a:p>
          <a:p>
            <a:pPr marL="0" algn="l" defTabSz="914400" rtl="0" eaLnBrk="1" latinLnBrk="0" hangingPunct="1">
              <a:lnSpc>
                <a:spcPts val="24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San Antonio</a:t>
            </a:r>
          </a:p>
          <a:p>
            <a:pPr marL="0" algn="l" defTabSz="914400" rtl="0" eaLnBrk="1" latinLnBrk="0" hangingPunct="1">
              <a:lnSpc>
                <a:spcPts val="24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San Diego</a:t>
            </a:r>
          </a:p>
          <a:p>
            <a:pPr marL="0" algn="l" defTabSz="914400" rtl="0" eaLnBrk="1" latinLnBrk="0" hangingPunct="1">
              <a:lnSpc>
                <a:spcPts val="24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San Francisco</a:t>
            </a:r>
          </a:p>
          <a:p>
            <a:pPr marL="0" algn="l" defTabSz="914400" rtl="0" eaLnBrk="1" latinLnBrk="0" hangingPunct="1">
              <a:lnSpc>
                <a:spcPts val="24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Seattle</a:t>
            </a:r>
          </a:p>
          <a:p>
            <a:pPr marL="0" algn="l" defTabSz="914400" rtl="0" eaLnBrk="1" latinLnBrk="0" hangingPunct="1">
              <a:lnSpc>
                <a:spcPts val="24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St. Louis</a:t>
            </a:r>
          </a:p>
          <a:p>
            <a:pPr marL="0" algn="l" defTabSz="914400" rtl="0" eaLnBrk="1" latinLnBrk="0" hangingPunct="1">
              <a:lnSpc>
                <a:spcPts val="24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St. Thomas</a:t>
            </a:r>
          </a:p>
          <a:p>
            <a:pPr marL="0" algn="l" defTabSz="914400" rtl="0" eaLnBrk="1" latinLnBrk="0" hangingPunct="1">
              <a:lnSpc>
                <a:spcPts val="24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Stamford</a:t>
            </a:r>
          </a:p>
          <a:p>
            <a:pPr marL="0" algn="l" defTabSz="914400" rtl="0" eaLnBrk="1" latinLnBrk="0" hangingPunct="1">
              <a:lnSpc>
                <a:spcPts val="24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Tampa</a:t>
            </a:r>
          </a:p>
          <a:p>
            <a:pPr marL="0" algn="l" defTabSz="914400" rtl="0" eaLnBrk="1" latinLnBrk="0" hangingPunct="1">
              <a:lnSpc>
                <a:spcPts val="24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Toronto</a:t>
            </a:r>
          </a:p>
          <a:p>
            <a:pPr marL="0" algn="l" defTabSz="914400" rtl="0" eaLnBrk="1" latinLnBrk="0" hangingPunct="1">
              <a:lnSpc>
                <a:spcPts val="24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Torrance</a:t>
            </a:r>
          </a:p>
          <a:p>
            <a:pPr marL="0" algn="l" defTabSz="914400" rtl="0" eaLnBrk="1" latinLnBrk="0" hangingPunct="1">
              <a:lnSpc>
                <a:spcPts val="2400"/>
              </a:lnSpc>
              <a:spcAft>
                <a:spcPts val="50"/>
              </a:spcAft>
              <a:defRPr/>
            </a:pPr>
            <a:r>
              <a:rPr kumimoji="1" lang="en-US" altLang="en-US" sz="2000" kern="1200" spc="-1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rPr>
              <a:t>Washington, D.C.</a:t>
            </a:r>
          </a:p>
        </p:txBody>
      </p:sp>
      <p:sp>
        <p:nvSpPr>
          <p:cNvPr id="11" name="TextBox 10"/>
          <p:cNvSpPr txBox="1"/>
          <p:nvPr userDrawn="1">
            <p:custDataLst>
              <p:tags r:id="rId12"/>
            </p:custDataLst>
          </p:nvPr>
        </p:nvSpPr>
        <p:spPr>
          <a:xfrm>
            <a:off x="2484967" y="313267"/>
            <a:ext cx="72220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>
                <a:solidFill>
                  <a:schemeClr val="bg1"/>
                </a:solidFill>
                <a:latin typeface="+mj-lt"/>
              </a:rPr>
              <a:t>Our 56 Offic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773" y="5867124"/>
            <a:ext cx="1167114" cy="67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289275"/>
      </p:ext>
    </p:extLst>
  </p:cSld>
  <p:clrMapOvr>
    <a:masterClrMapping/>
  </p:clrMapOvr>
  <p:transition/>
  <p:timing/>
</p:sldLayout>
</file>

<file path=ppt/slideMasters/_rels/slideMaster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10" Type="http://schemas.openxmlformats.org/officeDocument/2006/relationships/slideLayout" Target="../slideLayouts/slideLayout10.xml" /><Relationship Id="rId11" Type="http://schemas.openxmlformats.org/officeDocument/2006/relationships/slideLayout" Target="../slideLayouts/slideLayout11.xml" /><Relationship Id="rId12" Type="http://schemas.openxmlformats.org/officeDocument/2006/relationships/slideLayout" Target="../slideLayouts/slideLayout12.xml" /><Relationship Id="rId13" Type="http://schemas.openxmlformats.org/officeDocument/2006/relationships/slideLayout" Target="../slideLayouts/slideLayout13.xml" /><Relationship Id="rId14" Type="http://schemas.openxmlformats.org/officeDocument/2006/relationships/slideLayout" Target="../slideLayouts/slideLayout14.xml" /><Relationship Id="rId15" Type="http://schemas.openxmlformats.org/officeDocument/2006/relationships/slideLayout" Target="../slideLayouts/slideLayout15.xml" /><Relationship Id="rId16" Type="http://schemas.openxmlformats.org/officeDocument/2006/relationships/slideLayout" Target="../slideLayouts/slideLayout16.xml" /><Relationship Id="rId17" Type="http://schemas.openxmlformats.org/officeDocument/2006/relationships/slideLayout" Target="../slideLayouts/slideLayout17.xml" /><Relationship Id="rId18" Type="http://schemas.openxmlformats.org/officeDocument/2006/relationships/slideLayout" Target="../slideLayouts/slideLayout18.xml" /><Relationship Id="rId19" Type="http://schemas.openxmlformats.org/officeDocument/2006/relationships/slideLayout" Target="../slideLayouts/slideLayout19.xml" /><Relationship Id="rId2" Type="http://schemas.openxmlformats.org/officeDocument/2006/relationships/slideLayout" Target="../slideLayouts/slideLayout2.xml" /><Relationship Id="rId20" Type="http://schemas.openxmlformats.org/officeDocument/2006/relationships/slideLayout" Target="../slideLayouts/slideLayout20.xml" /><Relationship Id="rId21" Type="http://schemas.openxmlformats.org/officeDocument/2006/relationships/slideLayout" Target="../slideLayouts/slideLayout21.xml" /><Relationship Id="rId22" Type="http://schemas.openxmlformats.org/officeDocument/2006/relationships/slideLayout" Target="../slideLayouts/slideLayout22.xml" /><Relationship Id="rId23" Type="http://schemas.openxmlformats.org/officeDocument/2006/relationships/slideLayout" Target="../slideLayouts/slideLayout23.xml" /><Relationship Id="rId24" Type="http://schemas.openxmlformats.org/officeDocument/2006/relationships/slideLayout" Target="../slideLayouts/slideLayout24.xml" /><Relationship Id="rId25" Type="http://schemas.openxmlformats.org/officeDocument/2006/relationships/slideLayout" Target="../slideLayouts/slideLayout25.xml" /><Relationship Id="rId26" Type="http://schemas.openxmlformats.org/officeDocument/2006/relationships/tags" Target="../tags/tag490.xml" /><Relationship Id="rId27" Type="http://schemas.openxmlformats.org/officeDocument/2006/relationships/image" Target="../media/image3.jpeg" /><Relationship Id="rId28" Type="http://schemas.openxmlformats.org/officeDocument/2006/relationships/tags" Target="../tags/tag491.xml" /><Relationship Id="rId29" Type="http://schemas.openxmlformats.org/officeDocument/2006/relationships/tags" Target="../tags/tag492.xml" /><Relationship Id="rId3" Type="http://schemas.openxmlformats.org/officeDocument/2006/relationships/slideLayout" Target="../slideLayouts/slideLayout3.xml" /><Relationship Id="rId30" Type="http://schemas.openxmlformats.org/officeDocument/2006/relationships/tags" Target="../tags/tag493.xml" /><Relationship Id="rId31" Type="http://schemas.openxmlformats.org/officeDocument/2006/relationships/tags" Target="../tags/tag494.xml" /><Relationship Id="rId32" Type="http://schemas.openxmlformats.org/officeDocument/2006/relationships/tags" Target="../tags/tag495.xml" /><Relationship Id="rId33" Type="http://schemas.openxmlformats.org/officeDocument/2006/relationships/tags" Target="../tags/tag496.xml" /><Relationship Id="rId34" Type="http://schemas.openxmlformats.org/officeDocument/2006/relationships/tags" Target="../tags/tag497.xml" /><Relationship Id="rId35" Type="http://schemas.openxmlformats.org/officeDocument/2006/relationships/theme" Target="../theme/theme1.xml" /><Relationship Id="rId4" Type="http://schemas.openxmlformats.org/officeDocument/2006/relationships/slideLayout" Target="../slideLayouts/slideLayout4.xml" /><Relationship Id="rId5" Type="http://schemas.openxmlformats.org/officeDocument/2006/relationships/slideLayout" Target="../slideLayouts/slideLayout5.xml" /><Relationship Id="rId6" Type="http://schemas.openxmlformats.org/officeDocument/2006/relationships/slideLayout" Target="../slideLayouts/slideLayout6.xml" /><Relationship Id="rId7" Type="http://schemas.openxmlformats.org/officeDocument/2006/relationships/slideLayout" Target="../slideLayouts/slideLayout7.xml" /><Relationship Id="rId8" Type="http://schemas.openxmlformats.org/officeDocument/2006/relationships/slideLayout" Target="../slideLayouts/slideLayout8.xml" /><Relationship Id="rId9" Type="http://schemas.openxmlformats.org/officeDocument/2006/relationships/slideLayout" Target="../slideLayouts/slideLayout9.xml" /></Relationships>
</file>

<file path=ppt/slideMasters/_rels/slideMaster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6.xml" /><Relationship Id="rId2" Type="http://schemas.openxmlformats.org/officeDocument/2006/relationships/slideLayout" Target="../slideLayouts/slideLayout27.xml" /><Relationship Id="rId3" Type="http://schemas.openxmlformats.org/officeDocument/2006/relationships/tags" Target="../tags/tag505.xml" /><Relationship Id="rId4" Type="http://schemas.openxmlformats.org/officeDocument/2006/relationships/image" Target="../media/image61.jpeg" /><Relationship Id="rId5" Type="http://schemas.openxmlformats.org/officeDocument/2006/relationships/tags" Target="../tags/tag506.xml" /><Relationship Id="rId6" Type="http://schemas.openxmlformats.org/officeDocument/2006/relationships/tags" Target="../tags/tag507.xml" /><Relationship Id="rId7" Type="http://schemas.openxmlformats.org/officeDocument/2006/relationships/tags" Target="../tags/tag508.xml" /><Relationship Id="rId8" Type="http://schemas.openxmlformats.org/officeDocument/2006/relationships/tags" Target="../tags/tag509.xml" /><Relationship Id="rId9" Type="http://schemas.openxmlformats.org/officeDocument/2006/relationships/theme" Target="../theme/theme2.xml" /></Relationships>
</file>

<file path=ppt/slideMasters/slideMaster1.xml><?xml version="1.0" encoding="utf-8"?>
<p:sld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>
          <p:custDataLst>
            <p:tags r:id="rId26"/>
          </p:custDataLst>
        </p:nvPr>
      </p:nvGrpSpPr>
      <p:grpSpPr>
        <a:xfrm>
          <a:off x="0" y="0"/>
          <a:ext cx="0" cy="0"/>
        </a:xfrm>
      </p:grpSpPr>
      <p:pic>
        <p:nvPicPr>
          <p:cNvPr id="9" name="Picture 8"/>
          <p:cNvPicPr>
            <a:picLocks noChangeAspect="1"/>
          </p:cNvPicPr>
          <p:nvPr userDrawn="1">
            <p:custDataLst>
              <p:tags r:id="rId28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9CEC732-0DE2-456B-92A1-84321C9BDCDB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816A5B-B156-4DC3-B18E-14F3E59A64F4}"/>
              </a:ext>
            </a:extLst>
          </p:cNvPr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B0252E-67CD-4B33-849F-7B1449CF27D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32"/>
            </p:custDataLst>
          </p:nvPr>
        </p:nvSpPr>
        <p:spPr>
          <a:xfrm>
            <a:off x="838200" y="617490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2591E0-5367-4F2F-9C30-2087D79A846D}" type="datetime1">
              <a:rPr lang="en-US" noProof="0" smtClean="0"/>
              <a:t>1/21/2025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620AD2-E3F8-48CB-8B72-B0945DF5348A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38600" y="617490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5DEFFD-817B-43EC-86F0-34DEA2BA5EEB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4"/>
            </p:custDataLst>
          </p:nvPr>
        </p:nvSpPr>
        <p:spPr>
          <a:xfrm>
            <a:off x="11611084" y="6264116"/>
            <a:ext cx="3571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i="1">
                <a:solidFill>
                  <a:schemeClr val="tx2">
                    <a:alpha val="70000"/>
                  </a:schemeClr>
                </a:solidFill>
              </a:defRPr>
            </a:lvl1pPr>
          </a:lstStyle>
          <a:p>
            <a:fld id="{82EE24B5-652C-4DB5-B7C3-B5BBEC1280B1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64101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1" r:id="rId3"/>
    <p:sldLayoutId id="2147483663" r:id="rId4"/>
    <p:sldLayoutId id="2147483651" r:id="rId5"/>
    <p:sldLayoutId id="2147483676" r:id="rId6"/>
    <p:sldLayoutId id="2147483680" r:id="rId7"/>
    <p:sldLayoutId id="2147483679" r:id="rId8"/>
    <p:sldLayoutId id="2147483672" r:id="rId9"/>
    <p:sldLayoutId id="2147483673" r:id="rId10"/>
    <p:sldLayoutId id="2147483677" r:id="rId11"/>
    <p:sldLayoutId id="2147483678" r:id="rId12"/>
    <p:sldLayoutId id="2147483652" r:id="rId13"/>
    <p:sldLayoutId id="2147483664" r:id="rId14"/>
    <p:sldLayoutId id="2147483665" r:id="rId15"/>
    <p:sldLayoutId id="2147483666" r:id="rId16"/>
    <p:sldLayoutId id="2147483670" r:id="rId17"/>
    <p:sldLayoutId id="2147483667" r:id="rId18"/>
    <p:sldLayoutId id="2147483674" r:id="rId19"/>
    <p:sldLayoutId id="2147483675" r:id="rId20"/>
    <p:sldLayoutId id="2147483668" r:id="rId21"/>
    <p:sldLayoutId id="2147483655" r:id="rId22"/>
    <p:sldLayoutId id="2147483669" r:id="rId23"/>
    <p:sldLayoutId id="2147483684" r:id="rId24"/>
    <p:sldLayoutId id="2147483685" r:id="rId25"/>
  </p:sldLayoutIdLst>
  <p:transition/>
  <p:timing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pic>
        <p:nvPicPr>
          <p:cNvPr id="3" name="Picture 2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943100" cy="6858000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070100" y="224368"/>
            <a:ext cx="9906000" cy="8678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Slide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2070099" y="1244601"/>
            <a:ext cx="9918701" cy="5280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/>
          <p:cNvCxnSpPr/>
          <p:nvPr userDrawn="1">
            <p:custDataLst>
              <p:tags r:id="rId8"/>
            </p:custDataLst>
          </p:nvPr>
        </p:nvCxnSpPr>
        <p:spPr>
          <a:xfrm>
            <a:off x="0" y="6785249"/>
            <a:ext cx="12192000" cy="0"/>
          </a:xfrm>
          <a:prstGeom prst="line">
            <a:avLst/>
          </a:prstGeom>
          <a:ln w="139700">
            <a:solidFill>
              <a:srgbClr val="B36A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7500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</p:sldLayoutIdLst>
  <p:transition/>
  <p:timing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333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Arial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Arial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Arial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Arial"/>
        </a:defRPr>
      </a:lvl5pPr>
      <a:lvl6pPr marL="609585" algn="l" rtl="0" fontAlgn="base">
        <a:lnSpc>
          <a:spcPct val="90000"/>
        </a:lnSpc>
        <a:spcBef>
          <a:spcPct val="0"/>
        </a:spcBef>
        <a:spcAft>
          <a:spcPct val="0"/>
        </a:spcAft>
        <a:defRPr sz="4533">
          <a:solidFill>
            <a:schemeClr val="bg1"/>
          </a:solidFill>
          <a:latin typeface="Arial"/>
        </a:defRPr>
      </a:lvl6pPr>
      <a:lvl7pPr marL="1219170" algn="l" rtl="0" fontAlgn="base">
        <a:lnSpc>
          <a:spcPct val="90000"/>
        </a:lnSpc>
        <a:spcBef>
          <a:spcPct val="0"/>
        </a:spcBef>
        <a:spcAft>
          <a:spcPct val="0"/>
        </a:spcAft>
        <a:defRPr sz="4533">
          <a:solidFill>
            <a:schemeClr val="bg1"/>
          </a:solidFill>
          <a:latin typeface="Arial"/>
        </a:defRPr>
      </a:lvl7pPr>
      <a:lvl8pPr marL="1828754" algn="l" rtl="0" fontAlgn="base">
        <a:lnSpc>
          <a:spcPct val="90000"/>
        </a:lnSpc>
        <a:spcBef>
          <a:spcPct val="0"/>
        </a:spcBef>
        <a:spcAft>
          <a:spcPct val="0"/>
        </a:spcAft>
        <a:defRPr sz="4533">
          <a:solidFill>
            <a:schemeClr val="bg1"/>
          </a:solidFill>
          <a:latin typeface="Arial"/>
        </a:defRPr>
      </a:lvl8pPr>
      <a:lvl9pPr marL="2438339" algn="l" rtl="0" fontAlgn="base">
        <a:lnSpc>
          <a:spcPct val="90000"/>
        </a:lnSpc>
        <a:spcBef>
          <a:spcPct val="0"/>
        </a:spcBef>
        <a:spcAft>
          <a:spcPct val="0"/>
        </a:spcAft>
        <a:defRPr sz="4533">
          <a:solidFill>
            <a:schemeClr val="bg1"/>
          </a:solidFill>
          <a:latin typeface="Arial"/>
        </a:defRPr>
      </a:lvl9pPr>
    </p:titleStyle>
    <p:bodyStyle>
      <a:lvl1pPr marL="457189" indent="-457189" algn="l" rtl="0" eaLnBrk="0" fontAlgn="base" hangingPunct="0">
        <a:lnSpc>
          <a:spcPct val="100000"/>
        </a:lnSpc>
        <a:spcBef>
          <a:spcPts val="800"/>
        </a:spcBef>
        <a:spcAft>
          <a:spcPct val="0"/>
        </a:spcAft>
        <a:buSzPct val="120000"/>
        <a:buFont typeface="Wingdings" panose="05000000000000000000" pitchFamily="2" charset="2"/>
        <a:buChar char="§"/>
        <a:defRPr sz="4267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1066773" indent="-457189" algn="l" rtl="0" eaLnBrk="0" fontAlgn="base" hangingPunct="0">
        <a:lnSpc>
          <a:spcPct val="100000"/>
        </a:lnSpc>
        <a:spcBef>
          <a:spcPts val="800"/>
        </a:spcBef>
        <a:spcAft>
          <a:spcPct val="0"/>
        </a:spcAft>
        <a:buChar char="–"/>
        <a:defRPr sz="3733">
          <a:solidFill>
            <a:schemeClr val="tx1"/>
          </a:solidFill>
          <a:latin typeface="Calibri" panose="020f0502020204030204" pitchFamily="34" charset="0"/>
        </a:defRPr>
      </a:lvl2pPr>
      <a:lvl3pPr marL="1676358" indent="-457189" algn="l" rtl="0" eaLnBrk="0" fontAlgn="base" hangingPunct="0">
        <a:lnSpc>
          <a:spcPct val="100000"/>
        </a:lnSpc>
        <a:spcBef>
          <a:spcPts val="800"/>
        </a:spcBef>
        <a:spcAft>
          <a:spcPct val="0"/>
        </a:spcAft>
        <a:buFont typeface="Wingdings" panose="05000000000000000000" pitchFamily="2" charset="2"/>
        <a:buChar char="§"/>
        <a:defRPr sz="3200">
          <a:solidFill>
            <a:schemeClr val="tx1"/>
          </a:solidFill>
          <a:latin typeface="Calibri" panose="020f0502020204030204" pitchFamily="34" charset="0"/>
        </a:defRPr>
      </a:lvl3pPr>
      <a:lvl4pPr marL="2133547" indent="-304792" algn="l" rtl="0" eaLnBrk="0" fontAlgn="base" hangingPunct="0">
        <a:lnSpc>
          <a:spcPct val="100000"/>
        </a:lnSpc>
        <a:spcBef>
          <a:spcPts val="800"/>
        </a:spcBef>
        <a:spcAft>
          <a:spcPct val="0"/>
        </a:spcAft>
        <a:buChar char="–"/>
        <a:defRPr sz="3200">
          <a:solidFill>
            <a:schemeClr val="tx1"/>
          </a:solidFill>
          <a:latin typeface="Calibri" panose="020f0502020204030204" pitchFamily="34" charset="0"/>
        </a:defRPr>
      </a:lvl4pPr>
      <a:lvl5pPr marL="2743131" indent="-304792" algn="l" rtl="0" eaLnBrk="0" fontAlgn="base" hangingPunct="0">
        <a:lnSpc>
          <a:spcPct val="100000"/>
        </a:lnSpc>
        <a:spcBef>
          <a:spcPts val="800"/>
        </a:spcBef>
        <a:spcAft>
          <a:spcPct val="0"/>
        </a:spcAft>
        <a:buChar char="»"/>
        <a:defRPr sz="3200">
          <a:solidFill>
            <a:schemeClr val="tx1"/>
          </a:solidFill>
          <a:latin typeface="Calibri" panose="020f0502020204030204" pitchFamily="34" charset="0"/>
        </a:defRPr>
      </a:lvl5pPr>
      <a:lvl6pPr marL="3352716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6pPr>
      <a:lvl7pPr marL="3962301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7pPr>
      <a:lvl8pPr marL="4571886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8pPr>
      <a:lvl9pPr marL="5181470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2" Type="http://schemas.openxmlformats.org/officeDocument/2006/relationships/notesSlide" Target="../notesSlides/notesSlide1.xml" /><Relationship Id="rId3" Type="http://schemas.openxmlformats.org/officeDocument/2006/relationships/tags" Target="../tags/tag526.xml" /><Relationship Id="rId4" Type="http://schemas.openxmlformats.org/officeDocument/2006/relationships/tags" Target="../tags/tag527.xml" /><Relationship Id="rId5" Type="http://schemas.openxmlformats.org/officeDocument/2006/relationships/tags" Target="../tags/tag528.xml" /><Relationship Id="rId6" Type="http://schemas.openxmlformats.org/officeDocument/2006/relationships/tags" Target="../tags/tag529.xml" /><Relationship Id="rId7" Type="http://schemas.openxmlformats.org/officeDocument/2006/relationships/image" Target="../media/image62.png" /><Relationship Id="rId8" Type="http://schemas.openxmlformats.org/officeDocument/2006/relationships/tags" Target="../tags/tag530.xml" /></Relationships>
</file>

<file path=ppt/slides/_rels/slide10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10.xml" /><Relationship Id="rId3" Type="http://schemas.openxmlformats.org/officeDocument/2006/relationships/tags" Target="../tags/tag602.xml" /><Relationship Id="rId4" Type="http://schemas.openxmlformats.org/officeDocument/2006/relationships/tags" Target="../tags/tag603.xml" /><Relationship Id="rId5" Type="http://schemas.openxmlformats.org/officeDocument/2006/relationships/tags" Target="../tags/tag604.xml" /></Relationships>
</file>

<file path=ppt/slides/_rels/slide1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11.xml" /><Relationship Id="rId3" Type="http://schemas.openxmlformats.org/officeDocument/2006/relationships/tags" Target="../tags/tag609.xml" /><Relationship Id="rId4" Type="http://schemas.openxmlformats.org/officeDocument/2006/relationships/tags" Target="../tags/tag610.xml" /><Relationship Id="rId5" Type="http://schemas.openxmlformats.org/officeDocument/2006/relationships/tags" Target="../tags/tag611.xml" /></Relationships>
</file>

<file path=ppt/slides/_rels/slide1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12.xml" /><Relationship Id="rId3" Type="http://schemas.openxmlformats.org/officeDocument/2006/relationships/tags" Target="../tags/tag616.xml" /><Relationship Id="rId4" Type="http://schemas.openxmlformats.org/officeDocument/2006/relationships/tags" Target="../tags/tag617.xml" /><Relationship Id="rId5" Type="http://schemas.openxmlformats.org/officeDocument/2006/relationships/tags" Target="../tags/tag618.xml" /></Relationships>
</file>

<file path=ppt/slides/_rels/slide1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13.xml" /><Relationship Id="rId3" Type="http://schemas.openxmlformats.org/officeDocument/2006/relationships/tags" Target="../tags/tag623.xml" /><Relationship Id="rId4" Type="http://schemas.openxmlformats.org/officeDocument/2006/relationships/tags" Target="../tags/tag624.xml" /><Relationship Id="rId5" Type="http://schemas.openxmlformats.org/officeDocument/2006/relationships/tags" Target="../tags/tag625.xml" /></Relationships>
</file>

<file path=ppt/slides/_rels/slide1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14.xml" /><Relationship Id="rId3" Type="http://schemas.openxmlformats.org/officeDocument/2006/relationships/tags" Target="../tags/tag630.xml" /><Relationship Id="rId4" Type="http://schemas.openxmlformats.org/officeDocument/2006/relationships/tags" Target="../tags/tag631.xml" /><Relationship Id="rId5" Type="http://schemas.openxmlformats.org/officeDocument/2006/relationships/tags" Target="../tags/tag632.xml" /><Relationship Id="rId6" Type="http://schemas.openxmlformats.org/officeDocument/2006/relationships/image" Target="../media/image72.gif" /><Relationship Id="rId7" Type="http://schemas.openxmlformats.org/officeDocument/2006/relationships/tags" Target="../tags/tag633.xml" /></Relationships>
</file>

<file path=ppt/slides/_rels/slide1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15.xml" /><Relationship Id="rId3" Type="http://schemas.openxmlformats.org/officeDocument/2006/relationships/tags" Target="../tags/tag638.xml" /><Relationship Id="rId4" Type="http://schemas.openxmlformats.org/officeDocument/2006/relationships/tags" Target="../tags/tag639.xml" /><Relationship Id="rId5" Type="http://schemas.openxmlformats.org/officeDocument/2006/relationships/tags" Target="../tags/tag640.xml" /></Relationships>
</file>

<file path=ppt/slides/_rels/slide1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16.xml" /><Relationship Id="rId3" Type="http://schemas.openxmlformats.org/officeDocument/2006/relationships/tags" Target="../tags/tag645.xml" /><Relationship Id="rId4" Type="http://schemas.openxmlformats.org/officeDocument/2006/relationships/tags" Target="../tags/tag646.xml" /><Relationship Id="rId5" Type="http://schemas.openxmlformats.org/officeDocument/2006/relationships/tags" Target="../tags/tag647.xml" /><Relationship Id="rId6" Type="http://schemas.openxmlformats.org/officeDocument/2006/relationships/tags" Target="../tags/tag648.xml" /></Relationships>
</file>

<file path=ppt/slides/_rels/slide17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17.xml" /><Relationship Id="rId3" Type="http://schemas.openxmlformats.org/officeDocument/2006/relationships/tags" Target="../tags/tag653.xml" /><Relationship Id="rId4" Type="http://schemas.openxmlformats.org/officeDocument/2006/relationships/tags" Target="../tags/tag654.xml" /><Relationship Id="rId5" Type="http://schemas.openxmlformats.org/officeDocument/2006/relationships/tags" Target="../tags/tag655.xml" /><Relationship Id="rId6" Type="http://schemas.openxmlformats.org/officeDocument/2006/relationships/tags" Target="../tags/tag656.xml" /></Relationships>
</file>

<file path=ppt/slides/_rels/slide18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18.xml" /><Relationship Id="rId3" Type="http://schemas.openxmlformats.org/officeDocument/2006/relationships/tags" Target="../tags/tag661.xml" /><Relationship Id="rId4" Type="http://schemas.openxmlformats.org/officeDocument/2006/relationships/tags" Target="../tags/tag662.xml" /><Relationship Id="rId5" Type="http://schemas.openxmlformats.org/officeDocument/2006/relationships/tags" Target="../tags/tag663.xml" /></Relationships>
</file>

<file path=ppt/slides/_rels/slide19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19.xml" /><Relationship Id="rId3" Type="http://schemas.openxmlformats.org/officeDocument/2006/relationships/tags" Target="../tags/tag667.xml" /><Relationship Id="rId4" Type="http://schemas.openxmlformats.org/officeDocument/2006/relationships/tags" Target="../tags/tag668.xml" /><Relationship Id="rId5" Type="http://schemas.openxmlformats.org/officeDocument/2006/relationships/tags" Target="../tags/tag669.xml" /></Relationships>
</file>

<file path=ppt/slides/_rels/slide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2.xml" /><Relationship Id="rId10" Type="http://schemas.openxmlformats.org/officeDocument/2006/relationships/image" Target="../media/image65.png" /><Relationship Id="rId11" Type="http://schemas.openxmlformats.org/officeDocument/2006/relationships/tags" Target="../tags/tag540.xml" /><Relationship Id="rId12" Type="http://schemas.openxmlformats.org/officeDocument/2006/relationships/image" Target="../media/image66.png" /><Relationship Id="rId13" Type="http://schemas.openxmlformats.org/officeDocument/2006/relationships/tags" Target="../tags/tag541.xml" /><Relationship Id="rId14" Type="http://schemas.openxmlformats.org/officeDocument/2006/relationships/tags" Target="../tags/tag542.xml" /><Relationship Id="rId15" Type="http://schemas.openxmlformats.org/officeDocument/2006/relationships/image" Target="../media/image67.jpeg" /><Relationship Id="rId16" Type="http://schemas.openxmlformats.org/officeDocument/2006/relationships/tags" Target="../tags/tag543.xml" /><Relationship Id="rId17" Type="http://schemas.openxmlformats.org/officeDocument/2006/relationships/image" Target="../media/image68.png" /><Relationship Id="rId18" Type="http://schemas.openxmlformats.org/officeDocument/2006/relationships/tags" Target="../tags/tag544.xml" /><Relationship Id="rId19" Type="http://schemas.openxmlformats.org/officeDocument/2006/relationships/image" Target="../media/image69.png" /><Relationship Id="rId2" Type="http://schemas.openxmlformats.org/officeDocument/2006/relationships/notesSlide" Target="../notesSlides/notesSlide2.xml" /><Relationship Id="rId20" Type="http://schemas.openxmlformats.org/officeDocument/2006/relationships/tags" Target="../tags/tag545.xml" /><Relationship Id="rId21" Type="http://schemas.openxmlformats.org/officeDocument/2006/relationships/image" Target="../media/image70.png" /><Relationship Id="rId22" Type="http://schemas.openxmlformats.org/officeDocument/2006/relationships/tags" Target="../tags/tag546.xml" /><Relationship Id="rId3" Type="http://schemas.openxmlformats.org/officeDocument/2006/relationships/tags" Target="../tags/tag535.xml" /><Relationship Id="rId4" Type="http://schemas.openxmlformats.org/officeDocument/2006/relationships/tags" Target="../tags/tag536.xml" /><Relationship Id="rId5" Type="http://schemas.openxmlformats.org/officeDocument/2006/relationships/image" Target="../media/image63.png" /><Relationship Id="rId6" Type="http://schemas.openxmlformats.org/officeDocument/2006/relationships/tags" Target="../tags/tag537.xml" /><Relationship Id="rId7" Type="http://schemas.openxmlformats.org/officeDocument/2006/relationships/tags" Target="../tags/tag538.xml" /><Relationship Id="rId8" Type="http://schemas.openxmlformats.org/officeDocument/2006/relationships/image" Target="../media/image64.png" /><Relationship Id="rId9" Type="http://schemas.openxmlformats.org/officeDocument/2006/relationships/tags" Target="../tags/tag539.xml" /></Relationships>
</file>

<file path=ppt/slides/_rels/slide20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20.xml" /><Relationship Id="rId3" Type="http://schemas.openxmlformats.org/officeDocument/2006/relationships/tags" Target="../tags/tag674.xml" /><Relationship Id="rId4" Type="http://schemas.openxmlformats.org/officeDocument/2006/relationships/tags" Target="../tags/tag675.xml" /><Relationship Id="rId5" Type="http://schemas.openxmlformats.org/officeDocument/2006/relationships/tags" Target="../tags/tag676.xml" /><Relationship Id="rId6" Type="http://schemas.openxmlformats.org/officeDocument/2006/relationships/tags" Target="../tags/tag677.xml" /></Relationships>
</file>

<file path=ppt/slides/_rels/slide2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21.xml" /><Relationship Id="rId3" Type="http://schemas.openxmlformats.org/officeDocument/2006/relationships/tags" Target="../tags/tag682.xml" /><Relationship Id="rId4" Type="http://schemas.openxmlformats.org/officeDocument/2006/relationships/tags" Target="../tags/tag683.xml" /><Relationship Id="rId5" Type="http://schemas.openxmlformats.org/officeDocument/2006/relationships/tags" Target="../tags/tag684.xml" /><Relationship Id="rId6" Type="http://schemas.openxmlformats.org/officeDocument/2006/relationships/tags" Target="../tags/tag685.xml" /></Relationships>
</file>

<file path=ppt/slides/_rels/slide2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22.xml" /><Relationship Id="rId3" Type="http://schemas.openxmlformats.org/officeDocument/2006/relationships/tags" Target="../tags/tag690.xml" /><Relationship Id="rId4" Type="http://schemas.openxmlformats.org/officeDocument/2006/relationships/tags" Target="../tags/tag691.xml" /><Relationship Id="rId5" Type="http://schemas.openxmlformats.org/officeDocument/2006/relationships/tags" Target="../tags/tag692.xml" /><Relationship Id="rId6" Type="http://schemas.openxmlformats.org/officeDocument/2006/relationships/tags" Target="../tags/tag693.xml" /></Relationships>
</file>

<file path=ppt/slides/_rels/slide2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23.xml" /><Relationship Id="rId3" Type="http://schemas.openxmlformats.org/officeDocument/2006/relationships/tags" Target="../tags/tag698.xml" /><Relationship Id="rId4" Type="http://schemas.openxmlformats.org/officeDocument/2006/relationships/tags" Target="../tags/tag699.xml" /><Relationship Id="rId5" Type="http://schemas.openxmlformats.org/officeDocument/2006/relationships/tags" Target="../tags/tag700.xml" /><Relationship Id="rId6" Type="http://schemas.openxmlformats.org/officeDocument/2006/relationships/tags" Target="../tags/tag701.xml" /></Relationships>
</file>

<file path=ppt/slides/_rels/slide2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24.xml" /><Relationship Id="rId3" Type="http://schemas.openxmlformats.org/officeDocument/2006/relationships/tags" Target="../tags/tag706.xml" /><Relationship Id="rId4" Type="http://schemas.openxmlformats.org/officeDocument/2006/relationships/tags" Target="../tags/tag707.xml" /><Relationship Id="rId5" Type="http://schemas.openxmlformats.org/officeDocument/2006/relationships/tags" Target="../tags/tag708.xml" /><Relationship Id="rId6" Type="http://schemas.openxmlformats.org/officeDocument/2006/relationships/tags" Target="../tags/tag709.xml" /></Relationships>
</file>

<file path=ppt/slides/_rels/slide2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25.xml" /><Relationship Id="rId3" Type="http://schemas.openxmlformats.org/officeDocument/2006/relationships/tags" Target="../tags/tag714.xml" /><Relationship Id="rId4" Type="http://schemas.openxmlformats.org/officeDocument/2006/relationships/tags" Target="../tags/tag715.xml" /><Relationship Id="rId5" Type="http://schemas.openxmlformats.org/officeDocument/2006/relationships/tags" Target="../tags/tag716.xml" /><Relationship Id="rId6" Type="http://schemas.openxmlformats.org/officeDocument/2006/relationships/tags" Target="../tags/tag717.xml" /></Relationships>
</file>

<file path=ppt/slides/_rels/slide2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26.xml" /><Relationship Id="rId3" Type="http://schemas.openxmlformats.org/officeDocument/2006/relationships/tags" Target="../tags/tag722.xml" /><Relationship Id="rId4" Type="http://schemas.openxmlformats.org/officeDocument/2006/relationships/tags" Target="../tags/tag723.xml" /><Relationship Id="rId5" Type="http://schemas.openxmlformats.org/officeDocument/2006/relationships/tags" Target="../tags/tag724.xml" /><Relationship Id="rId6" Type="http://schemas.openxmlformats.org/officeDocument/2006/relationships/tags" Target="../tags/tag725.xml" /></Relationships>
</file>

<file path=ppt/slides/_rels/slide27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27.xml" /><Relationship Id="rId3" Type="http://schemas.openxmlformats.org/officeDocument/2006/relationships/tags" Target="../tags/tag730.xml" /><Relationship Id="rId4" Type="http://schemas.openxmlformats.org/officeDocument/2006/relationships/tags" Target="../tags/tag731.xml" /><Relationship Id="rId5" Type="http://schemas.openxmlformats.org/officeDocument/2006/relationships/tags" Target="../tags/tag732.xml" /><Relationship Id="rId6" Type="http://schemas.openxmlformats.org/officeDocument/2006/relationships/tags" Target="../tags/tag733.xml" /></Relationships>
</file>

<file path=ppt/slides/_rels/slide28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28.xml" /><Relationship Id="rId3" Type="http://schemas.openxmlformats.org/officeDocument/2006/relationships/tags" Target="../tags/tag738.xml" /><Relationship Id="rId4" Type="http://schemas.openxmlformats.org/officeDocument/2006/relationships/tags" Target="../tags/tag739.xml" /><Relationship Id="rId5" Type="http://schemas.openxmlformats.org/officeDocument/2006/relationships/tags" Target="../tags/tag740.xml" /></Relationships>
</file>

<file path=ppt/slides/_rels/slide29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29.xml" /><Relationship Id="rId3" Type="http://schemas.openxmlformats.org/officeDocument/2006/relationships/tags" Target="../tags/tag745.xml" /><Relationship Id="rId4" Type="http://schemas.openxmlformats.org/officeDocument/2006/relationships/tags" Target="../tags/tag746.xml" /><Relationship Id="rId5" Type="http://schemas.openxmlformats.org/officeDocument/2006/relationships/tags" Target="../tags/tag747.xml" /><Relationship Id="rId6" Type="http://schemas.openxmlformats.org/officeDocument/2006/relationships/tags" Target="../tags/tag748.xml" /></Relationships>
</file>

<file path=ppt/slides/_rels/slide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3.xml" /><Relationship Id="rId3" Type="http://schemas.openxmlformats.org/officeDocument/2006/relationships/tags" Target="../tags/tag551.xml" /><Relationship Id="rId4" Type="http://schemas.openxmlformats.org/officeDocument/2006/relationships/tags" Target="../tags/tag552.xml" /><Relationship Id="rId5" Type="http://schemas.openxmlformats.org/officeDocument/2006/relationships/tags" Target="../tags/tag553.xml" /></Relationships>
</file>

<file path=ppt/slides/_rels/slide30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30.xml" /><Relationship Id="rId3" Type="http://schemas.openxmlformats.org/officeDocument/2006/relationships/tags" Target="../tags/tag753.xml" /><Relationship Id="rId4" Type="http://schemas.openxmlformats.org/officeDocument/2006/relationships/tags" Target="../tags/tag754.xml" /><Relationship Id="rId5" Type="http://schemas.openxmlformats.org/officeDocument/2006/relationships/tags" Target="../tags/tag755.xml" /></Relationships>
</file>

<file path=ppt/slides/_rels/slide3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31.xml" /><Relationship Id="rId3" Type="http://schemas.openxmlformats.org/officeDocument/2006/relationships/tags" Target="../tags/tag760.xml" /><Relationship Id="rId4" Type="http://schemas.openxmlformats.org/officeDocument/2006/relationships/tags" Target="../tags/tag761.xml" /><Relationship Id="rId5" Type="http://schemas.openxmlformats.org/officeDocument/2006/relationships/tags" Target="../tags/tag762.xml" /></Relationships>
</file>

<file path=ppt/slides/_rels/slide3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32.xml" /><Relationship Id="rId3" Type="http://schemas.openxmlformats.org/officeDocument/2006/relationships/tags" Target="../tags/tag767.xml" /><Relationship Id="rId4" Type="http://schemas.openxmlformats.org/officeDocument/2006/relationships/tags" Target="../tags/tag768.xml" /><Relationship Id="rId5" Type="http://schemas.openxmlformats.org/officeDocument/2006/relationships/tags" Target="../tags/tag769.xml" /></Relationships>
</file>

<file path=ppt/slides/_rels/slide3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33.xml" /><Relationship Id="rId3" Type="http://schemas.openxmlformats.org/officeDocument/2006/relationships/tags" Target="../tags/tag774.xml" /><Relationship Id="rId4" Type="http://schemas.openxmlformats.org/officeDocument/2006/relationships/tags" Target="../tags/tag775.xml" /><Relationship Id="rId5" Type="http://schemas.openxmlformats.org/officeDocument/2006/relationships/tags" Target="../tags/tag776.xml" /></Relationships>
</file>

<file path=ppt/slides/_rels/slide3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34.xml" /><Relationship Id="rId3" Type="http://schemas.openxmlformats.org/officeDocument/2006/relationships/tags" Target="../tags/tag781.xml" /><Relationship Id="rId4" Type="http://schemas.openxmlformats.org/officeDocument/2006/relationships/tags" Target="../tags/tag782.xml" /><Relationship Id="rId5" Type="http://schemas.openxmlformats.org/officeDocument/2006/relationships/tags" Target="../tags/tag783.xml" /></Relationships>
</file>

<file path=ppt/slides/_rels/slide3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35.xml" /><Relationship Id="rId3" Type="http://schemas.openxmlformats.org/officeDocument/2006/relationships/tags" Target="../tags/tag788.xml" /><Relationship Id="rId4" Type="http://schemas.openxmlformats.org/officeDocument/2006/relationships/tags" Target="../tags/tag789.xml" /><Relationship Id="rId5" Type="http://schemas.openxmlformats.org/officeDocument/2006/relationships/tags" Target="../tags/tag790.xml" /><Relationship Id="rId6" Type="http://schemas.openxmlformats.org/officeDocument/2006/relationships/tags" Target="../tags/tag791.xml" /></Relationships>
</file>

<file path=ppt/slides/_rels/slide3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36.xml" /><Relationship Id="rId3" Type="http://schemas.openxmlformats.org/officeDocument/2006/relationships/tags" Target="../tags/tag796.xml" /><Relationship Id="rId4" Type="http://schemas.openxmlformats.org/officeDocument/2006/relationships/tags" Target="../tags/tag797.xml" /><Relationship Id="rId5" Type="http://schemas.openxmlformats.org/officeDocument/2006/relationships/tags" Target="../tags/tag798.xml" /><Relationship Id="rId6" Type="http://schemas.openxmlformats.org/officeDocument/2006/relationships/tags" Target="../tags/tag799.xml" /></Relationships>
</file>

<file path=ppt/slides/_rels/slide37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37.xml" /><Relationship Id="rId3" Type="http://schemas.openxmlformats.org/officeDocument/2006/relationships/tags" Target="../tags/tag804.xml" /><Relationship Id="rId4" Type="http://schemas.openxmlformats.org/officeDocument/2006/relationships/tags" Target="../tags/tag805.xml" /><Relationship Id="rId5" Type="http://schemas.openxmlformats.org/officeDocument/2006/relationships/tags" Target="../tags/tag806.xml" /><Relationship Id="rId6" Type="http://schemas.openxmlformats.org/officeDocument/2006/relationships/tags" Target="../tags/tag807.xml" /></Relationships>
</file>

<file path=ppt/slides/_rels/slide38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38.xml" /><Relationship Id="rId3" Type="http://schemas.openxmlformats.org/officeDocument/2006/relationships/tags" Target="../tags/tag812.xml" /><Relationship Id="rId4" Type="http://schemas.openxmlformats.org/officeDocument/2006/relationships/tags" Target="../tags/tag813.xml" /><Relationship Id="rId5" Type="http://schemas.openxmlformats.org/officeDocument/2006/relationships/tags" Target="../tags/tag814.xml" /><Relationship Id="rId6" Type="http://schemas.openxmlformats.org/officeDocument/2006/relationships/tags" Target="../tags/tag815.xml" /></Relationships>
</file>

<file path=ppt/slides/_rels/slide39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2.xml" /><Relationship Id="rId10" Type="http://schemas.openxmlformats.org/officeDocument/2006/relationships/tags" Target="../tags/tag825.xml" /><Relationship Id="rId2" Type="http://schemas.openxmlformats.org/officeDocument/2006/relationships/notesSlide" Target="../notesSlides/notesSlide39.xml" /><Relationship Id="rId3" Type="http://schemas.openxmlformats.org/officeDocument/2006/relationships/tags" Target="../tags/tag820.xml" /><Relationship Id="rId4" Type="http://schemas.openxmlformats.org/officeDocument/2006/relationships/tags" Target="../tags/tag821.xml" /><Relationship Id="rId5" Type="http://schemas.openxmlformats.org/officeDocument/2006/relationships/tags" Target="../tags/tag822.xml" /><Relationship Id="rId6" Type="http://schemas.openxmlformats.org/officeDocument/2006/relationships/image" Target="../media/image73.png" /><Relationship Id="rId7" Type="http://schemas.openxmlformats.org/officeDocument/2006/relationships/tags" Target="../tags/tag823.xml" /><Relationship Id="rId8" Type="http://schemas.openxmlformats.org/officeDocument/2006/relationships/image" Target="../media/image74.png" /><Relationship Id="rId9" Type="http://schemas.openxmlformats.org/officeDocument/2006/relationships/tags" Target="../tags/tag824.xml" /></Relationships>
</file>

<file path=ppt/slides/_rels/slide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4.xml" /><Relationship Id="rId2" Type="http://schemas.openxmlformats.org/officeDocument/2006/relationships/notesSlide" Target="../notesSlides/notesSlide4.xml" /><Relationship Id="rId3" Type="http://schemas.openxmlformats.org/officeDocument/2006/relationships/tags" Target="../tags/tag558.xml" /><Relationship Id="rId4" Type="http://schemas.openxmlformats.org/officeDocument/2006/relationships/tags" Target="../tags/tag559.xml" /><Relationship Id="rId5" Type="http://schemas.openxmlformats.org/officeDocument/2006/relationships/image" Target="../media/image71.png" /><Relationship Id="rId6" Type="http://schemas.openxmlformats.org/officeDocument/2006/relationships/tags" Target="../tags/tag560.xml" /><Relationship Id="rId7" Type="http://schemas.openxmlformats.org/officeDocument/2006/relationships/tags" Target="../tags/tag561.xml" /></Relationships>
</file>

<file path=ppt/slides/_rels/slide40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10" Type="http://schemas.openxmlformats.org/officeDocument/2006/relationships/tags" Target="../tags/tag835.xml" /><Relationship Id="rId2" Type="http://schemas.openxmlformats.org/officeDocument/2006/relationships/notesSlide" Target="../notesSlides/notesSlide40.xml" /><Relationship Id="rId3" Type="http://schemas.openxmlformats.org/officeDocument/2006/relationships/tags" Target="../tags/tag830.xml" /><Relationship Id="rId4" Type="http://schemas.openxmlformats.org/officeDocument/2006/relationships/tags" Target="../tags/tag831.xml" /><Relationship Id="rId5" Type="http://schemas.openxmlformats.org/officeDocument/2006/relationships/image" Target="../media/image75.png" /><Relationship Id="rId6" Type="http://schemas.openxmlformats.org/officeDocument/2006/relationships/tags" Target="../tags/tag832.xml" /><Relationship Id="rId7" Type="http://schemas.openxmlformats.org/officeDocument/2006/relationships/tags" Target="../tags/tag833.xml" /><Relationship Id="rId8" Type="http://schemas.openxmlformats.org/officeDocument/2006/relationships/image" Target="../media/image76.jpeg" /><Relationship Id="rId9" Type="http://schemas.openxmlformats.org/officeDocument/2006/relationships/tags" Target="../tags/tag834.xml" /></Relationships>
</file>

<file path=ppt/slides/_rels/slide4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2.xml" /><Relationship Id="rId2" Type="http://schemas.openxmlformats.org/officeDocument/2006/relationships/notesSlide" Target="../notesSlides/notesSlide41.xml" /><Relationship Id="rId3" Type="http://schemas.openxmlformats.org/officeDocument/2006/relationships/tags" Target="../tags/tag840.xml" /><Relationship Id="rId4" Type="http://schemas.openxmlformats.org/officeDocument/2006/relationships/image" Target="../media/image77.png" /><Relationship Id="rId5" Type="http://schemas.openxmlformats.org/officeDocument/2006/relationships/tags" Target="../tags/tag841.xml" /><Relationship Id="rId6" Type="http://schemas.openxmlformats.org/officeDocument/2006/relationships/image" Target="../media/image78.png" /><Relationship Id="rId7" Type="http://schemas.openxmlformats.org/officeDocument/2006/relationships/tags" Target="../tags/tag842.xml" /></Relationships>
</file>

<file path=ppt/slides/_rels/slide4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5.xml" /><Relationship Id="rId2" Type="http://schemas.openxmlformats.org/officeDocument/2006/relationships/notesSlide" Target="../notesSlides/notesSlide42.xml" /><Relationship Id="rId3" Type="http://schemas.openxmlformats.org/officeDocument/2006/relationships/tags" Target="../tags/tag847.xml" /><Relationship Id="rId4" Type="http://schemas.openxmlformats.org/officeDocument/2006/relationships/tags" Target="../tags/tag848.xml" /><Relationship Id="rId5" Type="http://schemas.openxmlformats.org/officeDocument/2006/relationships/tags" Target="../tags/tag849.xml" /><Relationship Id="rId6" Type="http://schemas.openxmlformats.org/officeDocument/2006/relationships/tags" Target="../tags/tag850.xml" /></Relationships>
</file>

<file path=ppt/slides/_rels/slide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4.xml" /><Relationship Id="rId2" Type="http://schemas.openxmlformats.org/officeDocument/2006/relationships/notesSlide" Target="../notesSlides/notesSlide5.xml" /><Relationship Id="rId3" Type="http://schemas.openxmlformats.org/officeDocument/2006/relationships/tags" Target="../tags/tag566.xml" /><Relationship Id="rId4" Type="http://schemas.openxmlformats.org/officeDocument/2006/relationships/tags" Target="../tags/tag567.xml" /><Relationship Id="rId5" Type="http://schemas.openxmlformats.org/officeDocument/2006/relationships/tags" Target="../tags/tag568.xml" /></Relationships>
</file>

<file path=ppt/slides/_rels/slide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6.xml" /><Relationship Id="rId3" Type="http://schemas.openxmlformats.org/officeDocument/2006/relationships/tags" Target="../tags/tag573.xml" /><Relationship Id="rId4" Type="http://schemas.openxmlformats.org/officeDocument/2006/relationships/tags" Target="../tags/tag574.xml" /><Relationship Id="rId5" Type="http://schemas.openxmlformats.org/officeDocument/2006/relationships/tags" Target="../tags/tag575.xml" /></Relationships>
</file>

<file path=ppt/slides/_rels/slide7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7.xml" /><Relationship Id="rId3" Type="http://schemas.openxmlformats.org/officeDocument/2006/relationships/tags" Target="../tags/tag580.xml" /><Relationship Id="rId4" Type="http://schemas.openxmlformats.org/officeDocument/2006/relationships/tags" Target="../tags/tag581.xml" /><Relationship Id="rId5" Type="http://schemas.openxmlformats.org/officeDocument/2006/relationships/tags" Target="../tags/tag582.xml" /><Relationship Id="rId6" Type="http://schemas.openxmlformats.org/officeDocument/2006/relationships/tags" Target="../tags/tag583.xml" /></Relationships>
</file>

<file path=ppt/slides/_rels/slide8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8.xml" /><Relationship Id="rId3" Type="http://schemas.openxmlformats.org/officeDocument/2006/relationships/tags" Target="../tags/tag588.xml" /><Relationship Id="rId4" Type="http://schemas.openxmlformats.org/officeDocument/2006/relationships/tags" Target="../tags/tag589.xml" /><Relationship Id="rId5" Type="http://schemas.openxmlformats.org/officeDocument/2006/relationships/tags" Target="../tags/tag590.xml" /></Relationships>
</file>

<file path=ppt/slides/_rels/slide9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notesSlide" Target="../notesSlides/notesSlide9.xml" /><Relationship Id="rId3" Type="http://schemas.openxmlformats.org/officeDocument/2006/relationships/tags" Target="../tags/tag595.xml" /><Relationship Id="rId4" Type="http://schemas.openxmlformats.org/officeDocument/2006/relationships/tags" Target="../tags/tag596.xml" /><Relationship Id="rId5" Type="http://schemas.openxmlformats.org/officeDocument/2006/relationships/tags" Target="../tags/tag597.xml" /></Relationships>
</file>

<file path=ppt/slides/slide1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1047565" y="319596"/>
            <a:ext cx="9960271" cy="2463179"/>
          </a:xfrm>
        </p:spPr>
        <p:txBody>
          <a:bodyPr/>
          <a:lstStyle/>
          <a:p>
            <a:r>
              <a:rPr lang="en-US"/>
              <a:t>To Inspections and Beyond: The Latest From OSHA</a:t>
            </a:r>
            <a:br>
              <a:rPr lang="en-US"/>
            </a:br>
            <a:r>
              <a:rPr lang="en-US" sz="2800"/>
              <a:t>January 6, 2025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Presented by: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3218371" y="4328560"/>
            <a:ext cx="5749131" cy="1785938"/>
          </a:xfrm>
        </p:spPr>
        <p:txBody>
          <a:bodyPr>
            <a:normAutofit/>
          </a:bodyPr>
          <a:lstStyle/>
          <a:p>
            <a:r>
              <a:rPr lang="en-US"/>
              <a:t>Phillip B. Russel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3C5872F-BC5B-6771-B965-79F85EE08FAC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405" y="5487905"/>
            <a:ext cx="1068412" cy="1249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503442"/>
      </p:ext>
    </p:extLst>
  </p:cSld>
  <p:clrMapOvr>
    <a:masterClrMapping/>
  </p:clrMapOvr>
  <p:transition/>
  <p:timing/>
</p:sld>
</file>

<file path=ppt/slides/slide10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560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Practical Tip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 rtlCol="0">
            <a:normAutofit/>
          </a:bodyPr>
          <a:lstStyle/>
          <a:p>
            <a:pPr>
              <a:lnSpc>
                <a:spcPct val="120000"/>
              </a:lnSpc>
              <a:spcBef>
                <a:spcPts val="800"/>
              </a:spcBef>
              <a:defRPr/>
            </a:pPr>
            <a:r>
              <a:rPr lang="en-US"/>
              <a:t>Identify serious hazards not covered by specific standard</a:t>
            </a:r>
          </a:p>
          <a:p>
            <a:pPr lvl="1">
              <a:lnSpc>
                <a:spcPct val="120000"/>
              </a:lnSpc>
              <a:spcBef>
                <a:spcPts val="800"/>
              </a:spcBef>
              <a:defRPr/>
            </a:pPr>
            <a:r>
              <a:rPr lang="en-US" sz="2800"/>
              <a:t>Review incidents and near misses that could result in serious injury/illness</a:t>
            </a:r>
          </a:p>
          <a:p>
            <a:pPr lvl="1">
              <a:lnSpc>
                <a:spcPct val="120000"/>
              </a:lnSpc>
              <a:spcBef>
                <a:spcPts val="800"/>
              </a:spcBef>
              <a:defRPr/>
            </a:pPr>
            <a:r>
              <a:rPr lang="en-US" sz="2800"/>
              <a:t>Stay up-to-date on OSHA initiatives, proposed rules, etc.</a:t>
            </a:r>
          </a:p>
          <a:p>
            <a:pPr lvl="1">
              <a:lnSpc>
                <a:spcPct val="120000"/>
              </a:lnSpc>
              <a:spcBef>
                <a:spcPts val="800"/>
              </a:spcBef>
              <a:defRPr/>
            </a:pPr>
            <a:r>
              <a:rPr lang="en-US" sz="2800"/>
              <a:t>Stay up-to-date on industry practices (may need to look beyond your industry)</a:t>
            </a:r>
          </a:p>
          <a:p>
            <a:pPr lvl="1">
              <a:lnSpc>
                <a:spcPct val="120000"/>
              </a:lnSpc>
              <a:spcBef>
                <a:spcPts val="800"/>
              </a:spcBef>
              <a:defRPr/>
            </a:pPr>
            <a:r>
              <a:rPr lang="en-US" sz="2800"/>
              <a:t>Pay attention to employee complaints</a:t>
            </a:r>
          </a:p>
          <a:p>
            <a:pPr marL="0" indent="0">
              <a:buNone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069636"/>
      </p:ext>
    </p:extLst>
  </p:cSld>
  <p:clrMapOvr>
    <a:masterClrMapping/>
  </p:clrMapOvr>
  <p:transition/>
  <p:timing/>
</p:sld>
</file>

<file path=ppt/slides/slide11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6626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Practical Tip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 rtlCol="0">
            <a:normAutofit/>
          </a:bodyPr>
          <a:lstStyle/>
          <a:p>
            <a:pPr>
              <a:defRPr/>
            </a:pPr>
            <a:r>
              <a:rPr lang="en-US" sz="3200"/>
              <a:t>Once you identify the hazard…</a:t>
            </a:r>
          </a:p>
          <a:p>
            <a:pPr lvl="1">
              <a:defRPr/>
            </a:pPr>
            <a:r>
              <a:rPr lang="en-US" sz="3200"/>
              <a:t>Do not ignore or easily dismiss the hazard as not feasible to abate</a:t>
            </a:r>
          </a:p>
          <a:p>
            <a:pPr lvl="1">
              <a:defRPr/>
            </a:pPr>
            <a:r>
              <a:rPr lang="en-US" sz="3200"/>
              <a:t>Review relevant manufacturer instructions</a:t>
            </a:r>
          </a:p>
          <a:p>
            <a:pPr lvl="1">
              <a:defRPr/>
            </a:pPr>
            <a:r>
              <a:rPr lang="en-US" sz="3200"/>
              <a:t>Review relevant industry standards</a:t>
            </a:r>
          </a:p>
          <a:p>
            <a:pPr lvl="1">
              <a:defRPr/>
            </a:pPr>
            <a:r>
              <a:rPr lang="en-US" sz="3200"/>
              <a:t>Review relevant OSHA standards and other agency standards</a:t>
            </a:r>
          </a:p>
        </p:txBody>
      </p:sp>
    </p:spTree>
    <p:extLst>
      <p:ext uri="{BB962C8B-B14F-4D97-AF65-F5344CB8AC3E}">
        <p14:creationId xmlns:p14="http://schemas.microsoft.com/office/powerpoint/2010/main" val="1589012584"/>
      </p:ext>
    </p:extLst>
  </p:cSld>
  <p:clrMapOvr>
    <a:masterClrMapping/>
  </p:clrMapOvr>
  <p:transition/>
  <p:timing/>
</p:sld>
</file>

<file path=ppt/slides/slide12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26E255-D0F1-FF91-D6AD-C9BF8AF4C62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“Alternative Rulemaking”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FEC9E0-8023-B82A-8C52-604086AF141D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en-US" sz="2800"/>
              <a:t>Agency Guidance &amp; the GDC</a:t>
            </a:r>
          </a:p>
          <a:p>
            <a:pPr lvl="1"/>
            <a:r>
              <a:rPr lang="en-US" sz="2800"/>
              <a:t>Memorandum </a:t>
            </a:r>
          </a:p>
          <a:p>
            <a:pPr lvl="1"/>
            <a:r>
              <a:rPr lang="en-US" sz="2800"/>
              <a:t>Enforcement Manuals </a:t>
            </a:r>
          </a:p>
          <a:p>
            <a:pPr lvl="1"/>
            <a:r>
              <a:rPr lang="en-US" sz="2800"/>
              <a:t>Advisory Opinions</a:t>
            </a:r>
          </a:p>
          <a:p>
            <a:pPr lvl="1"/>
            <a:r>
              <a:rPr lang="en-US" sz="2800"/>
              <a:t>Letters of Interpretation</a:t>
            </a:r>
          </a:p>
        </p:txBody>
      </p:sp>
    </p:spTree>
    <p:extLst>
      <p:ext uri="{BB962C8B-B14F-4D97-AF65-F5344CB8AC3E}">
        <p14:creationId xmlns:p14="http://schemas.microsoft.com/office/powerpoint/2010/main" val="423492575"/>
      </p:ext>
    </p:extLst>
  </p:cSld>
  <p:clrMapOvr>
    <a:masterClrMapping/>
  </p:clrMapOvr>
  <p:transition/>
  <p:timing/>
</p:sld>
</file>

<file path=ppt/slides/slide13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Recording Requir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/>
              <a:t>Most employers with </a:t>
            </a:r>
            <a:r>
              <a:rPr lang="en-US" b="1" i="1"/>
              <a:t>more than 10 employees at any time during the last calendar year </a:t>
            </a:r>
            <a:r>
              <a:rPr lang="en-US"/>
              <a:t>are required to record serious work-related injuries and illnesses</a:t>
            </a:r>
          </a:p>
          <a:p>
            <a:pPr>
              <a:defRPr/>
            </a:pPr>
            <a:endParaRPr lang="en-US"/>
          </a:p>
          <a:p>
            <a:pPr lvl="2">
              <a:defRPr/>
            </a:pPr>
            <a:r>
              <a:rPr lang="en-US"/>
              <a:t>OSHA 300, 300A and 301 forms</a:t>
            </a:r>
          </a:p>
        </p:txBody>
      </p:sp>
    </p:spTree>
    <p:extLst>
      <p:ext uri="{BB962C8B-B14F-4D97-AF65-F5344CB8AC3E}">
        <p14:creationId xmlns:p14="http://schemas.microsoft.com/office/powerpoint/2010/main" val="1120270282"/>
      </p:ext>
    </p:extLst>
  </p:cSld>
  <p:clrMapOvr>
    <a:masterClrMapping/>
  </p:clrMapOvr>
  <p:transition/>
  <p:timing/>
</p:sld>
</file>

<file path=ppt/slides/slide14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Federal OSHA Reporting Requir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en-US" altLang="en-US"/>
              <a:t>Report to OSHA within </a:t>
            </a:r>
            <a:r>
              <a:rPr lang="en-US" altLang="en-US" b="1" u="sng"/>
              <a:t>8 hours</a:t>
            </a:r>
            <a:r>
              <a:rPr lang="en-US" altLang="en-US"/>
              <a:t>:</a:t>
            </a:r>
          </a:p>
          <a:p>
            <a:pPr lvl="1"/>
            <a:r>
              <a:rPr lang="en-US" altLang="en-US"/>
              <a:t>Any work-related fatality</a:t>
            </a:r>
          </a:p>
          <a:p>
            <a:r>
              <a:rPr lang="en-US" altLang="en-US"/>
              <a:t>Report to OSHA within </a:t>
            </a:r>
            <a:r>
              <a:rPr lang="en-US" altLang="en-US" b="1" u="sng"/>
              <a:t>24 hours</a:t>
            </a:r>
            <a:r>
              <a:rPr lang="en-US" altLang="en-US" b="1"/>
              <a:t>:</a:t>
            </a:r>
            <a:endParaRPr lang="en-US" altLang="en-US"/>
          </a:p>
          <a:p>
            <a:pPr lvl="1"/>
            <a:r>
              <a:rPr lang="en-US" altLang="en-US"/>
              <a:t>Work-related in-patient hospitalization for care or treatment</a:t>
            </a:r>
          </a:p>
          <a:p>
            <a:pPr lvl="2"/>
            <a:r>
              <a:rPr lang="en-US" altLang="en-US" sz="1800"/>
              <a:t>Not if just for observation or diagnostic testing</a:t>
            </a:r>
          </a:p>
          <a:p>
            <a:pPr lvl="1"/>
            <a:r>
              <a:rPr lang="en-US" altLang="en-US"/>
              <a:t>Work-related amputation</a:t>
            </a:r>
          </a:p>
          <a:p>
            <a:pPr lvl="1"/>
            <a:r>
              <a:rPr lang="en-US" altLang="en-US"/>
              <a:t>Work-related loss of an eye  </a:t>
            </a:r>
          </a:p>
          <a:p>
            <a:pPr lvl="2"/>
            <a:r>
              <a:rPr lang="en-US" altLang="en-US" sz="1800"/>
              <a:t>But not loss of sight without loss of eye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919007" y="2266335"/>
            <a:ext cx="1962150" cy="222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5827837"/>
      </p:ext>
    </p:extLst>
  </p:cSld>
  <p:clrMapOvr>
    <a:masterClrMapping/>
  </p:clrMapOvr>
  <p:transition/>
  <p:timing/>
</p:sld>
</file>

<file path=ppt/slides/slide15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How to Repor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altLang="en-US"/>
              <a:t>Call your closest Area Office during normal business hours and speak to a person – don’t leave message</a:t>
            </a:r>
          </a:p>
          <a:p>
            <a:r>
              <a:rPr lang="en-US" altLang="en-US"/>
              <a:t>Call OSHA’s toll-free number: 1-800-321-OSHA (6742)</a:t>
            </a:r>
          </a:p>
          <a:p>
            <a:r>
              <a:rPr lang="en-US"/>
              <a:t>Report online</a:t>
            </a:r>
          </a:p>
          <a:p>
            <a:pPr lvl="1"/>
            <a:r>
              <a:rPr lang="en-US"/>
              <a:t>https://www.osha.gov/pls/ser/serform.html </a:t>
            </a:r>
          </a:p>
        </p:txBody>
      </p:sp>
    </p:spTree>
    <p:extLst>
      <p:ext uri="{BB962C8B-B14F-4D97-AF65-F5344CB8AC3E}">
        <p14:creationId xmlns:p14="http://schemas.microsoft.com/office/powerpoint/2010/main" val="2242993160"/>
      </p:ext>
    </p:extLst>
  </p:cSld>
  <p:clrMapOvr>
    <a:masterClrMapping/>
  </p:clrMapOvr>
  <p:transition/>
  <p:timing/>
</p:sld>
</file>

<file path=ppt/slides/slide16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E18B7E-ACD1-5006-848A-4CB79D0871E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Electronic Recordkeep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5406DA-171E-23F2-2722-E1FA009F5CF0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In July 2023, OSHA released a final rule requiring certain large employers to electronically submit OSHA injury forms.</a:t>
            </a:r>
          </a:p>
          <a:p>
            <a:r>
              <a:rPr lang="en-US"/>
              <a:t>The rules became effective in January 2024 and requires establishments with 100 or more employees in certain designated industries to electronically submit OSHA 300 and 301 forms for each year.</a:t>
            </a:r>
          </a:p>
          <a:p>
            <a:r>
              <a:rPr lang="en-US"/>
              <a:t>Expect this to change under new administration and this requirement could be eliminat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597CFE-0BFA-1209-DB92-3EFD1516F594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16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77205378"/>
      </p:ext>
    </p:extLst>
  </p:cSld>
  <p:clrMapOvr>
    <a:masterClrMapping/>
  </p:clrMapOvr>
  <p:transition/>
  <p:timing/>
</p:sld>
</file>

<file path=ppt/slides/slide17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3508D5-7744-2825-43BA-79CB4D1AC17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OSHA Inspe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ED5828-500F-27C2-2BAB-571BD2E8746A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lnSpcReduction="10000"/>
          </a:bodyPr>
          <a:lstStyle/>
          <a:p>
            <a:r>
              <a:rPr lang="en-US"/>
              <a:t>OSHA inspections conducted by inspectors, called compliance safety and health officers </a:t>
            </a:r>
          </a:p>
          <a:p>
            <a:r>
              <a:rPr lang="en-US"/>
              <a:t>Normally, OSHA conducts inspections without advance notice</a:t>
            </a:r>
          </a:p>
          <a:p>
            <a:r>
              <a:rPr lang="en-US" sz="2400"/>
              <a:t>Compliance officer has right to enter worksite without unreasonable delay</a:t>
            </a:r>
            <a:endParaRPr lang="en-US"/>
          </a:p>
          <a:p>
            <a:r>
              <a:rPr lang="en-US"/>
              <a:t>Employers have the right to require compliance officers to obtain an inspection warrant before entering the worksite (we don’t recommend)</a:t>
            </a:r>
          </a:p>
          <a:p>
            <a:pPr lvl="1"/>
            <a:r>
              <a:rPr lang="en-US"/>
              <a:t>Opening Conference</a:t>
            </a:r>
          </a:p>
          <a:p>
            <a:pPr lvl="1"/>
            <a:r>
              <a:rPr lang="en-US"/>
              <a:t>Walkaround</a:t>
            </a:r>
          </a:p>
          <a:p>
            <a:pPr lvl="1"/>
            <a:r>
              <a:rPr lang="en-US"/>
              <a:t>Interviews</a:t>
            </a:r>
          </a:p>
          <a:p>
            <a:pPr lvl="1"/>
            <a:r>
              <a:rPr lang="en-US"/>
              <a:t>Document Requests</a:t>
            </a:r>
          </a:p>
          <a:p>
            <a:pPr lvl="1"/>
            <a:r>
              <a:rPr lang="en-US"/>
              <a:t>Closing Conference</a:t>
            </a:r>
          </a:p>
          <a:p>
            <a:pPr lvl="1"/>
            <a:r>
              <a:rPr lang="en-US"/>
              <a:t>Time: One Day to Six Months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CE15B1-C73C-D21A-2FE0-20C6FEFCBB5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17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53567483"/>
      </p:ext>
    </p:extLst>
  </p:cSld>
  <p:clrMapOvr>
    <a:masterClrMapping/>
  </p:clrMapOvr>
  <p:transition/>
  <p:timing/>
</p:sld>
</file>

<file path=ppt/slides/slide18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14338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/>
          </a:bodyPr>
          <a:lstStyle/>
          <a:p>
            <a:r>
              <a:rPr lang="en-US" altLang="en-US"/>
              <a:t>OSHA Inspections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en-US" altLang="en-US"/>
              <a:t>Imminent Danger</a:t>
            </a:r>
          </a:p>
          <a:p>
            <a:r>
              <a:rPr lang="en-US" altLang="en-US"/>
              <a:t>Fatality/Catastrophe</a:t>
            </a:r>
          </a:p>
          <a:p>
            <a:r>
              <a:rPr lang="en-US" altLang="en-US"/>
              <a:t>Complaints/Referrals</a:t>
            </a:r>
          </a:p>
          <a:p>
            <a:r>
              <a:rPr lang="en-US" altLang="en-US"/>
              <a:t>Programmed </a:t>
            </a:r>
          </a:p>
          <a:p>
            <a:r>
              <a:rPr lang="en-US" altLang="en-US"/>
              <a:t>Special Emphasis/Targeting Initiatives</a:t>
            </a:r>
          </a:p>
          <a:p>
            <a:r>
              <a:rPr lang="en-US" altLang="en-US"/>
              <a:t>Follow-up</a:t>
            </a:r>
          </a:p>
        </p:txBody>
      </p:sp>
    </p:spTree>
    <p:extLst>
      <p:ext uri="{BB962C8B-B14F-4D97-AF65-F5344CB8AC3E}">
        <p14:creationId xmlns:p14="http://schemas.microsoft.com/office/powerpoint/2010/main" val="1699498230"/>
      </p:ext>
    </p:extLst>
  </p:cSld>
  <p:clrMapOvr>
    <a:masterClrMapping/>
  </p:clrMapOvr>
  <p:transition/>
  <p:timing/>
</p:sld>
</file>

<file path=ppt/slides/slide19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197635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altLang="en-US"/>
              <a:t>The Walk-Around</a:t>
            </a:r>
          </a:p>
        </p:txBody>
      </p:sp>
      <p:sp>
        <p:nvSpPr>
          <p:cNvPr id="197636" name="Rectangle 3"/>
          <p:cNvSpPr>
            <a:spLocks noGrp="1" noChangeArrowheads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en-US" altLang="en-US"/>
              <a:t>OSHA’s first fact gathering</a:t>
            </a:r>
          </a:p>
          <a:p>
            <a:pPr lvl="1"/>
            <a:r>
              <a:rPr lang="en-US" altLang="en-US">
                <a:cs typeface="Arial" panose="020b0604020202020204" pitchFamily="34" charset="0"/>
              </a:rPr>
              <a:t>“Shadow” the compliance officer</a:t>
            </a:r>
          </a:p>
          <a:p>
            <a:pPr lvl="1"/>
            <a:r>
              <a:rPr lang="en-US" altLang="en-US">
                <a:cs typeface="Arial" panose="020b0604020202020204" pitchFamily="34" charset="0"/>
              </a:rPr>
              <a:t>Be polite and do not argue</a:t>
            </a:r>
          </a:p>
          <a:p>
            <a:pPr lvl="1"/>
            <a:r>
              <a:rPr lang="en-US" altLang="en-US">
                <a:cs typeface="Arial" panose="020b0604020202020204" pitchFamily="34" charset="0"/>
              </a:rPr>
              <a:t>Do not volunteer</a:t>
            </a:r>
          </a:p>
          <a:p>
            <a:pPr lvl="1"/>
            <a:r>
              <a:rPr lang="en-US" altLang="en-US">
                <a:cs typeface="Arial" panose="020b0604020202020204" pitchFamily="34" charset="0"/>
              </a:rPr>
              <a:t>Be aware of conversations with employees</a:t>
            </a:r>
          </a:p>
          <a:p>
            <a:pPr lvl="1"/>
            <a:r>
              <a:rPr lang="en-US" altLang="en-US">
                <a:cs typeface="Arial" panose="020b0604020202020204" pitchFamily="34" charset="0"/>
              </a:rPr>
              <a:t>No obligation to “stage”, start up or shut down operation</a:t>
            </a:r>
          </a:p>
          <a:p>
            <a:pPr lvl="1"/>
            <a:r>
              <a:rPr lang="en-US" altLang="en-US">
                <a:cs typeface="Arial" panose="020b0604020202020204" pitchFamily="34" charset="0"/>
              </a:rPr>
              <a:t>Consider how to handle apparent violations</a:t>
            </a:r>
          </a:p>
          <a:p>
            <a:pPr lvl="1"/>
            <a:r>
              <a:rPr lang="en-US" altLang="en-US">
                <a:cs typeface="Arial" panose="020b0604020202020204" pitchFamily="34" charset="0"/>
              </a:rPr>
              <a:t>“Plain sight” doctrine</a:t>
            </a:r>
          </a:p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99321663"/>
      </p:ext>
    </p:extLst>
  </p:cSld>
  <p:clrMapOvr>
    <a:masterClrMapping/>
  </p:clrMapOvr>
  <p:transition/>
  <p:timing/>
</p:sld>
</file>

<file path=ppt/slides/slide2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1486CE-7BAF-4AB6-988D-43C428FA177C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696313" y="144171"/>
            <a:ext cx="10042419" cy="972751"/>
          </a:xfrm>
        </p:spPr>
        <p:txBody>
          <a:bodyPr>
            <a:normAutofit/>
          </a:bodyPr>
          <a:lstStyle/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Phillip B. Russell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4294967295"/>
            <p:custDataLst>
              <p:tags r:id="rId6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696314" y="1116922"/>
            <a:ext cx="1871663" cy="24987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99601B-7DB6-4C8E-8477-0FB0DBFF6E2C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7"/>
            </p:custDataLst>
          </p:nvPr>
        </p:nvSpPr>
        <p:spPr>
          <a:xfrm>
            <a:off x="11834813" y="6264275"/>
            <a:ext cx="357187" cy="365125"/>
          </a:xfrm>
        </p:spPr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FE64FAF0-67D6-8641-82FF-792E6360F5A5}" type="slidenum">
              <a:rPr lang="en-US">
                <a:solidFill>
                  <a:srgbClr val="000000">
                    <a:tint val="75000"/>
                  </a:srgbClr>
                </a:solidFill>
                <a:latin typeface="Arial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6037802" y="563882"/>
            <a:ext cx="1482973" cy="197882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8304023" y="294688"/>
            <a:ext cx="1546160" cy="20631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3866333" y="1810650"/>
            <a:ext cx="1614600" cy="1517167"/>
          </a:xfrm>
          <a:prstGeom prst="rect">
            <a:avLst/>
          </a:prstGeom>
        </p:spPr>
      </p:pic>
      <p:sp>
        <p:nvSpPr>
          <p:cNvPr id="10" name="TextBox 9"/>
          <p:cNvSpPr txBox="1"/>
          <p:nvPr>
            <p:custDataLst>
              <p:tags r:id="rId14"/>
            </p:custDataLst>
          </p:nvPr>
        </p:nvSpPr>
        <p:spPr>
          <a:xfrm>
            <a:off x="561437" y="3968499"/>
            <a:ext cx="983899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891" indent="-342891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24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ndled 200 OSHA fatality cases; and hundreds of other types</a:t>
            </a:r>
          </a:p>
          <a:p>
            <a:pPr marL="342891" indent="-342891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24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ought leader, speaker, author, and trainer OSHA legal issues</a:t>
            </a:r>
          </a:p>
          <a:p>
            <a:pPr marL="342891" indent="-342891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24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ditor,  ABA’s </a:t>
            </a:r>
            <a:r>
              <a:rPr lang="en-US" sz="2400" i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ccupational Safety and Health Law </a:t>
            </a:r>
            <a:r>
              <a:rPr lang="en-US" sz="240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eati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College of Labor and Employment Lawy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BTI Client Service All-Sta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Chambers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8235" y="2093986"/>
            <a:ext cx="1096063" cy="148116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8235" y="158691"/>
            <a:ext cx="1320868" cy="114940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691" y="4361037"/>
            <a:ext cx="1200212" cy="95889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6550" y="2655107"/>
            <a:ext cx="1219349" cy="1070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321439"/>
      </p:ext>
    </p:extLst>
  </p:cSld>
  <p:clrMapOvr>
    <a:masterClrMapping/>
  </p:clrMapOvr>
  <p:transition/>
  <p:timing/>
</p:sld>
</file>

<file path=ppt/slides/slide20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8037B-B908-1CC2-F6AB-4445B195341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New in 2024 -- OSHA’s Walkaround Ru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14136B-7449-8E6C-E849-ED376E4FC8FC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lnSpcReduction="10000"/>
          </a:bodyPr>
          <a:lstStyle/>
          <a:p>
            <a:r>
              <a:rPr lang="en-US" sz="2800">
                <a:cs typeface="Calibri" panose="020f0502020204030204" pitchFamily="34" charset="0"/>
              </a:rPr>
              <a:t>The representative(s) authorized by employees may be an employee of the employer or a third party. When the representative(s) authorized by employees is not an employee of the employer, they may accompany the Compliance Safety and Health Officer during the inspection if, </a:t>
            </a:r>
            <a:r>
              <a:rPr lang="en-US" sz="2800" u="sng">
                <a:cs typeface="Calibri" panose="020f0502020204030204" pitchFamily="34" charset="0"/>
              </a:rPr>
              <a:t>in the judgment of the Compliance Safety and Health Officer</a:t>
            </a:r>
            <a:r>
              <a:rPr lang="en-US" sz="2800">
                <a:cs typeface="Calibri" panose="020f0502020204030204" pitchFamily="34" charset="0"/>
              </a:rPr>
              <a:t>, </a:t>
            </a:r>
            <a:r>
              <a:rPr lang="en-US" sz="2800" b="1">
                <a:solidFill>
                  <a:srgbClr val="FF0000"/>
                </a:solidFill>
                <a:cs typeface="Calibri" panose="020f0502020204030204" pitchFamily="34" charset="0"/>
              </a:rPr>
              <a:t>good cause</a:t>
            </a:r>
            <a:r>
              <a:rPr lang="en-US" sz="280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en-US" sz="2800">
                <a:cs typeface="Calibri" panose="020f0502020204030204" pitchFamily="34" charset="0"/>
              </a:rPr>
              <a:t>has been shown why accompaniment by a third party is </a:t>
            </a:r>
            <a:r>
              <a:rPr lang="en-US" sz="2800" b="1">
                <a:solidFill>
                  <a:srgbClr val="FF0000"/>
                </a:solidFill>
                <a:cs typeface="Calibri" panose="020f0502020204030204" pitchFamily="34" charset="0"/>
              </a:rPr>
              <a:t>reasonably necessary </a:t>
            </a:r>
            <a:r>
              <a:rPr lang="en-US" sz="2800">
                <a:cs typeface="Calibri" panose="020f0502020204030204" pitchFamily="34" charset="0"/>
              </a:rPr>
              <a:t>to the conduct of an effective and thorough physical inspection of the workplace (including but not limited to because of their </a:t>
            </a:r>
            <a:r>
              <a:rPr lang="en-US" sz="2800">
                <a:solidFill>
                  <a:schemeClr val="accent4">
                    <a:lumMod val="10000"/>
                  </a:schemeClr>
                </a:solidFill>
                <a:cs typeface="Calibri" panose="020f0502020204030204" pitchFamily="34" charset="0"/>
              </a:rPr>
              <a:t>relevant</a:t>
            </a:r>
            <a:r>
              <a:rPr lang="en-US" sz="2800" b="1">
                <a:solidFill>
                  <a:srgbClr val="FF0000"/>
                </a:solidFill>
                <a:cs typeface="Calibri" panose="020f0502020204030204" pitchFamily="34" charset="0"/>
              </a:rPr>
              <a:t> knowledge, skills, or experience</a:t>
            </a:r>
            <a:r>
              <a:rPr lang="en-US" sz="2800" b="1">
                <a:cs typeface="Calibri" panose="020f0502020204030204" pitchFamily="34" charset="0"/>
              </a:rPr>
              <a:t> </a:t>
            </a:r>
            <a:r>
              <a:rPr lang="en-US" sz="2800">
                <a:cs typeface="Calibri" panose="020f0502020204030204" pitchFamily="34" charset="0"/>
              </a:rPr>
              <a:t>with </a:t>
            </a:r>
            <a:r>
              <a:rPr lang="en-US" sz="2800" u="sng">
                <a:cs typeface="Calibri" panose="020f0502020204030204" pitchFamily="34" charset="0"/>
              </a:rPr>
              <a:t>hazards or conditions </a:t>
            </a:r>
            <a:r>
              <a:rPr lang="en-US" sz="2800">
                <a:cs typeface="Calibri" panose="020f0502020204030204" pitchFamily="34" charset="0"/>
              </a:rPr>
              <a:t>in the workplace or similar workplaces, or </a:t>
            </a:r>
            <a:r>
              <a:rPr lang="en-US" sz="2800" u="sng">
                <a:cs typeface="Calibri" panose="020f0502020204030204" pitchFamily="34" charset="0"/>
              </a:rPr>
              <a:t>language or communication skills</a:t>
            </a:r>
            <a:r>
              <a:rPr lang="en-US" sz="2800">
                <a:cs typeface="Calibri" panose="020f0502020204030204" pitchFamily="34" charset="0"/>
              </a:rPr>
              <a:t>)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2C99E1-EF58-F7D5-8076-30A7F5018EE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20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63142885"/>
      </p:ext>
    </p:extLst>
  </p:cSld>
  <p:clrMapOvr>
    <a:masterClrMapping/>
  </p:clrMapOvr>
  <p:transition/>
  <p:timing/>
</p:sld>
</file>

<file path=ppt/slides/slide21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1A9335-B449-24C5-6DB9-E4E2398A08F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/>
          </a:bodyPr>
          <a:lstStyle/>
          <a:p>
            <a:pPr marL="346075" marR="0" lvl="0" indent="-346075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defRPr/>
            </a:pPr>
            <a:r>
              <a:rPr lang="en-US"/>
              <a:t>Key Provi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572FAB-E1F2-A360-797F-227A14198F44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lnSpcReduction="10000"/>
          </a:bodyPr>
          <a:lstStyle/>
          <a:p>
            <a:pPr marL="346075" indent="-346075">
              <a:lnSpc>
                <a:spcPct val="100000"/>
              </a:lnSpc>
            </a:pPr>
            <a:r>
              <a:rPr lang="en-US" sz="3000">
                <a:cs typeface="Calibri" panose="020f0502020204030204" pitchFamily="34" charset="0"/>
              </a:rPr>
              <a:t>Authorized Employee Representative </a:t>
            </a:r>
            <a:r>
              <a:rPr lang="en-US" sz="3000" b="1">
                <a:cs typeface="Calibri" panose="020f0502020204030204" pitchFamily="34" charset="0"/>
              </a:rPr>
              <a:t>(“AER”) </a:t>
            </a:r>
            <a:r>
              <a:rPr lang="en-US" sz="3000">
                <a:cs typeface="Calibri" panose="020f0502020204030204" pitchFamily="34" charset="0"/>
              </a:rPr>
              <a:t>may be: </a:t>
            </a:r>
          </a:p>
          <a:p>
            <a:pPr marL="879461" lvl="1" indent="-346075"/>
            <a:r>
              <a:rPr lang="en-US" sz="2800">
                <a:cs typeface="Calibri" panose="020f0502020204030204" pitchFamily="34" charset="0"/>
              </a:rPr>
              <a:t>An employee of the employer </a:t>
            </a:r>
            <a:r>
              <a:rPr lang="en-US" sz="2800" b="1">
                <a:cs typeface="Calibri" panose="020f0502020204030204" pitchFamily="34" charset="0"/>
              </a:rPr>
              <a:t>OR; </a:t>
            </a:r>
          </a:p>
          <a:p>
            <a:pPr marL="879461" lvl="1" indent="-346075"/>
            <a:r>
              <a:rPr lang="en-US" sz="2800">
                <a:cs typeface="Calibri" panose="020f0502020204030204" pitchFamily="34" charset="0"/>
              </a:rPr>
              <a:t>A </a:t>
            </a:r>
            <a:r>
              <a:rPr lang="en-US" sz="2800" u="sng">
                <a:cs typeface="Calibri" panose="020f0502020204030204" pitchFamily="34" charset="0"/>
              </a:rPr>
              <a:t>3</a:t>
            </a:r>
            <a:r>
              <a:rPr lang="en-US" sz="2800" u="sng" baseline="30000">
                <a:cs typeface="Calibri" panose="020f0502020204030204" pitchFamily="34" charset="0"/>
              </a:rPr>
              <a:t>rd</a:t>
            </a:r>
            <a:r>
              <a:rPr lang="en-US" sz="2800" u="sng">
                <a:cs typeface="Calibri" panose="020f0502020204030204" pitchFamily="34" charset="0"/>
              </a:rPr>
              <a:t> Party</a:t>
            </a:r>
            <a:r>
              <a:rPr lang="en-US" sz="2800">
                <a:cs typeface="Calibri" panose="020f0502020204030204" pitchFamily="34" charset="0"/>
              </a:rPr>
              <a:t>.</a:t>
            </a:r>
            <a:endParaRPr lang="en-US" sz="2800" u="sng">
              <a:cs typeface="Calibri" panose="020f0502020204030204" pitchFamily="34" charset="0"/>
            </a:endParaRPr>
          </a:p>
          <a:p>
            <a:pPr marL="346075" indent="-346075">
              <a:lnSpc>
                <a:spcPct val="100000"/>
              </a:lnSpc>
            </a:pPr>
            <a:r>
              <a:rPr lang="en-US" sz="3000">
                <a:cs typeface="Calibri" panose="020f0502020204030204" pitchFamily="34" charset="0"/>
              </a:rPr>
              <a:t>3</a:t>
            </a:r>
            <a:r>
              <a:rPr lang="en-US" sz="3000" baseline="30000">
                <a:cs typeface="Calibri" panose="020f0502020204030204" pitchFamily="34" charset="0"/>
              </a:rPr>
              <a:t>rd</a:t>
            </a:r>
            <a:r>
              <a:rPr lang="en-US" sz="3000">
                <a:cs typeface="Calibri" panose="020f0502020204030204" pitchFamily="34" charset="0"/>
              </a:rPr>
              <a:t> Party AER no longer limited by formal credentials (i.e.: industrial hygienist or safety engineer).</a:t>
            </a:r>
          </a:p>
          <a:p>
            <a:pPr marL="879461" lvl="1" indent="-346075"/>
            <a:r>
              <a:rPr lang="en-US" sz="2800">
                <a:cs typeface="Calibri" panose="020f0502020204030204" pitchFamily="34" charset="0"/>
              </a:rPr>
              <a:t>AER may be authorized based upon </a:t>
            </a:r>
            <a:r>
              <a:rPr lang="en-US" sz="2800" u="sng">
                <a:cs typeface="Calibri" panose="020f0502020204030204" pitchFamily="34" charset="0"/>
              </a:rPr>
              <a:t>knowledge/skills/experience</a:t>
            </a:r>
            <a:r>
              <a:rPr lang="en-US" sz="2800">
                <a:cs typeface="Calibri" panose="020f0502020204030204" pitchFamily="34" charset="0"/>
              </a:rPr>
              <a:t> in:</a:t>
            </a:r>
          </a:p>
          <a:p>
            <a:pPr marL="1336650" lvl="2" indent="-346075"/>
            <a:r>
              <a:rPr lang="en-US" sz="2400">
                <a:cs typeface="Calibri" panose="020f0502020204030204" pitchFamily="34" charset="0"/>
              </a:rPr>
              <a:t>Processes/hazards/conditions present at the workplace (or similar workplaces);</a:t>
            </a:r>
          </a:p>
          <a:p>
            <a:pPr marL="1336650" lvl="2" indent="-346075"/>
            <a:r>
              <a:rPr lang="en-US" sz="2400">
                <a:cs typeface="Calibri" panose="020f0502020204030204" pitchFamily="34" charset="0"/>
              </a:rPr>
              <a:t>Language and communication skills;</a:t>
            </a:r>
          </a:p>
          <a:p>
            <a:pPr marL="1793838" lvl="3" indent="-346075"/>
            <a:r>
              <a:rPr lang="en-US" sz="2200">
                <a:cs typeface="Calibri" panose="020f0502020204030204" pitchFamily="34" charset="0"/>
              </a:rPr>
              <a:t>To facilitate better communication between CSHO and employees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32CFF3-4171-E174-2969-A77244454E4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21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88714913"/>
      </p:ext>
    </p:extLst>
  </p:cSld>
  <p:clrMapOvr>
    <a:masterClrMapping/>
  </p:clrMapOvr>
  <p:transition/>
  <p:timing/>
</p:sld>
</file>

<file path=ppt/slides/slide22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F65259-8BCB-D8D5-A208-B80819C1ED1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Considerations When Designating AER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81E9C0-0FEF-F6C0-9644-46B2DD867A6E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z="3000">
                <a:cs typeface="Calibri" panose="020f0502020204030204" pitchFamily="34" charset="0"/>
              </a:rPr>
              <a:t>CSHO cannot designate AER, must be done by employees.</a:t>
            </a:r>
          </a:p>
          <a:p>
            <a:r>
              <a:rPr lang="en-US" sz="3000">
                <a:cs typeface="Calibri" panose="020f0502020204030204" pitchFamily="34" charset="0"/>
              </a:rPr>
              <a:t>No vote required to designate AER.</a:t>
            </a:r>
          </a:p>
          <a:p>
            <a:r>
              <a:rPr lang="en-US" sz="3000">
                <a:cs typeface="Calibri" panose="020f0502020204030204" pitchFamily="34" charset="0"/>
              </a:rPr>
              <a:t>No set number of employees required to designate AER.</a:t>
            </a:r>
          </a:p>
          <a:p>
            <a:pPr lvl="1"/>
            <a:r>
              <a:rPr lang="en-US" sz="2800">
                <a:cs typeface="Calibri" panose="020f0502020204030204" pitchFamily="34" charset="0"/>
              </a:rPr>
              <a:t>No need for unanimous agreement, or even majority agreement.</a:t>
            </a:r>
          </a:p>
          <a:p>
            <a:pPr lvl="1"/>
            <a:r>
              <a:rPr lang="en-US" sz="2800">
                <a:cs typeface="Calibri" panose="020f0502020204030204" pitchFamily="34" charset="0"/>
              </a:rPr>
              <a:t>Minimum </a:t>
            </a:r>
            <a:r>
              <a:rPr lang="en-US" sz="2800"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en-US" sz="2800">
                <a:cs typeface="Calibri" panose="020f0502020204030204" pitchFamily="34" charset="0"/>
              </a:rPr>
              <a:t>in worksites with more than &gt;1 employee, then &gt;1 employee needed to authorize AER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89434-1CEA-EDB0-93BB-81BEE75CDD08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22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61752818"/>
      </p:ext>
    </p:extLst>
  </p:cSld>
  <p:clrMapOvr>
    <a:masterClrMapping/>
  </p:clrMapOvr>
  <p:transition/>
  <p:timing/>
</p:sld>
</file>

<file path=ppt/slides/slide23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43E9E9-7230-18D0-3708-6A9CDC81C16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CSHO’s Author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BA39DF-9554-0DE9-4FCF-C8BC8FF14BF0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fontScale="92500"/>
          </a:bodyPr>
          <a:lstStyle/>
          <a:p>
            <a:r>
              <a:rPr lang="en-US" sz="3000">
                <a:latin typeface="Calibri" panose="020f0502020204030204" pitchFamily="34" charset="0"/>
                <a:cs typeface="Calibri" panose="020f0502020204030204" pitchFamily="34" charset="0"/>
              </a:rPr>
              <a:t>CSHO has final say/ultimate authority in designation of 3</a:t>
            </a:r>
            <a:r>
              <a:rPr lang="en-US" sz="3000" baseline="30000"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lang="en-US" sz="3000">
                <a:latin typeface="Calibri" panose="020f0502020204030204" pitchFamily="34" charset="0"/>
                <a:cs typeface="Calibri" panose="020f0502020204030204" pitchFamily="34" charset="0"/>
              </a:rPr>
              <a:t> party AER</a:t>
            </a:r>
          </a:p>
          <a:p>
            <a:pPr lvl="1"/>
            <a:r>
              <a:rPr lang="en-US" sz="2466">
                <a:latin typeface="Calibri" panose="020f0502020204030204" pitchFamily="34" charset="0"/>
                <a:cs typeface="Calibri" panose="020f0502020204030204" pitchFamily="34" charset="0"/>
              </a:rPr>
              <a:t>1903.8(c): “…in the </a:t>
            </a:r>
            <a:r>
              <a:rPr lang="en-US" sz="2466" u="sng">
                <a:latin typeface="Calibri" panose="020f0502020204030204" pitchFamily="34" charset="0"/>
                <a:cs typeface="Calibri" panose="020f0502020204030204" pitchFamily="34" charset="0"/>
              </a:rPr>
              <a:t>judgment</a:t>
            </a:r>
            <a:r>
              <a:rPr lang="en-US" sz="2466">
                <a:latin typeface="Calibri" panose="020f0502020204030204" pitchFamily="34" charset="0"/>
                <a:cs typeface="Calibri" panose="020f0502020204030204" pitchFamily="34" charset="0"/>
              </a:rPr>
              <a:t> of the </a:t>
            </a:r>
            <a:r>
              <a:rPr lang="en-US" sz="2466" u="sng">
                <a:latin typeface="Calibri" panose="020f0502020204030204" pitchFamily="34" charset="0"/>
                <a:cs typeface="Calibri" panose="020f0502020204030204" pitchFamily="34" charset="0"/>
              </a:rPr>
              <a:t>Compliance Safety and Health Officer</a:t>
            </a:r>
            <a:r>
              <a:rPr lang="en-US" sz="2466">
                <a:latin typeface="Calibri" panose="020f0502020204030204" pitchFamily="34" charset="0"/>
                <a:cs typeface="Calibri" panose="020f0502020204030204" pitchFamily="34" charset="0"/>
              </a:rPr>
              <a:t>…”</a:t>
            </a:r>
          </a:p>
          <a:p>
            <a:r>
              <a:rPr lang="en-US" sz="3000">
                <a:latin typeface="Calibri" panose="020f0502020204030204" pitchFamily="34" charset="0"/>
                <a:cs typeface="Calibri" panose="020f0502020204030204" pitchFamily="34" charset="0"/>
              </a:rPr>
              <a:t>CSHO has discretion to determine whether good cause has been shown as to why 3</a:t>
            </a:r>
            <a:r>
              <a:rPr lang="en-US" sz="3000" baseline="30000"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lang="en-US" sz="3000">
                <a:latin typeface="Calibri" panose="020f0502020204030204" pitchFamily="34" charset="0"/>
                <a:cs typeface="Calibri" panose="020f0502020204030204" pitchFamily="34" charset="0"/>
              </a:rPr>
              <a:t> party AER is reasonably necessary to inspection.</a:t>
            </a:r>
          </a:p>
          <a:p>
            <a:r>
              <a:rPr lang="en-US" sz="3000">
                <a:latin typeface="Calibri" panose="020f0502020204030204" pitchFamily="34" charset="0"/>
                <a:cs typeface="Calibri" panose="020f0502020204030204" pitchFamily="34" charset="0"/>
              </a:rPr>
              <a:t>If employer objects to AER designation </a:t>
            </a:r>
            <a:r>
              <a:rPr lang="en-US" sz="30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lang="en-US" sz="3000">
                <a:latin typeface="Calibri" panose="020f0502020204030204" pitchFamily="34" charset="0"/>
                <a:cs typeface="Calibri" panose="020f0502020204030204" pitchFamily="34" charset="0"/>
              </a:rPr>
              <a:t> CSHO has authority to resolve all disputes.</a:t>
            </a:r>
          </a:p>
          <a:p>
            <a:r>
              <a:rPr lang="en-US" sz="3000">
                <a:latin typeface="Calibri" panose="020f0502020204030204" pitchFamily="34" charset="0"/>
                <a:cs typeface="Calibri" panose="020f0502020204030204" pitchFamily="34" charset="0"/>
              </a:rPr>
              <a:t>CSHO can also limit/prevent AERs participation if AER’s conduct interferes with a fair and orderly inspection.</a:t>
            </a:r>
          </a:p>
          <a:p>
            <a:r>
              <a:rPr lang="en-US" sz="3000">
                <a:latin typeface="Calibri" panose="020f0502020204030204" pitchFamily="34" charset="0"/>
                <a:cs typeface="Calibri" panose="020f0502020204030204" pitchFamily="34" charset="0"/>
              </a:rPr>
              <a:t>Just as with employer representative, CSHO can allow reasonable time for 3</a:t>
            </a:r>
            <a:r>
              <a:rPr lang="en-US" sz="3000" baseline="30000"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lang="en-US" sz="3000">
                <a:latin typeface="Calibri" panose="020f0502020204030204" pitchFamily="34" charset="0"/>
                <a:cs typeface="Calibri" panose="020f0502020204030204" pitchFamily="34" charset="0"/>
              </a:rPr>
              <a:t> party AER to travel to worksite (usually 1 hour)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7C7FA7-3E8B-4DA5-5363-6D4007ABB4F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23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6168723"/>
      </p:ext>
    </p:extLst>
  </p:cSld>
  <p:clrMapOvr>
    <a:masterClrMapping/>
  </p:clrMapOvr>
  <p:transition/>
  <p:timing/>
</p:sld>
</file>

<file path=ppt/slides/slide24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394B03-79EB-9686-BC41-088D2B8B046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AER’s Role During Inspe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F53FDF-28B0-C18E-3F73-5BD8D121290E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2600">
                <a:cs typeface="Calibri" panose="020f0502020204030204" pitchFamily="34" charset="0"/>
              </a:rPr>
              <a:t>AER present to accompany CSHO and aid physical inspection of workplace in multiple ways:</a:t>
            </a:r>
          </a:p>
          <a:p>
            <a:pPr lvl="1"/>
            <a:r>
              <a:rPr lang="en-US" sz="2400">
                <a:cs typeface="Calibri" panose="020f0502020204030204" pitchFamily="34" charset="0"/>
              </a:rPr>
              <a:t>Explaining equipment/processes/operations/policies/procedures;</a:t>
            </a:r>
          </a:p>
          <a:p>
            <a:pPr lvl="1"/>
            <a:r>
              <a:rPr lang="en-US" sz="2400">
                <a:cs typeface="Calibri" panose="020f0502020204030204" pitchFamily="34" charset="0"/>
              </a:rPr>
              <a:t>Interpretation (during informal interviews);</a:t>
            </a:r>
          </a:p>
          <a:p>
            <a:pPr lvl="1"/>
            <a:r>
              <a:rPr lang="en-US" sz="2400">
                <a:cs typeface="Calibri" panose="020f0502020204030204" pitchFamily="34" charset="0"/>
              </a:rPr>
              <a:t>Facilitate communication between CSHO and employees.</a:t>
            </a:r>
          </a:p>
          <a:p>
            <a:r>
              <a:rPr lang="en-US" sz="2600">
                <a:cs typeface="Calibri" panose="020f0502020204030204" pitchFamily="34" charset="0"/>
              </a:rPr>
              <a:t>AER can also participate in opening and closing conferences.</a:t>
            </a:r>
          </a:p>
          <a:p>
            <a:r>
              <a:rPr lang="en-US" sz="2600">
                <a:cs typeface="Calibri" panose="020f0502020204030204" pitchFamily="34" charset="0"/>
              </a:rPr>
              <a:t>May act as interpreter during informal interviews.</a:t>
            </a:r>
          </a:p>
          <a:p>
            <a:r>
              <a:rPr lang="en-US" sz="2600">
                <a:cs typeface="Calibri" panose="020f0502020204030204" pitchFamily="34" charset="0"/>
              </a:rPr>
              <a:t>Not present for private interviews unless employee requests.</a:t>
            </a:r>
          </a:p>
          <a:p>
            <a:r>
              <a:rPr lang="en-US" sz="2600">
                <a:cs typeface="Calibri" panose="020f0502020204030204" pitchFamily="34" charset="0"/>
              </a:rPr>
              <a:t>May ask clarifying questions to ensure understanding of a topic/issue.</a:t>
            </a:r>
          </a:p>
          <a:p>
            <a:r>
              <a:rPr lang="en-US" sz="2600">
                <a:cs typeface="Calibri" panose="020f0502020204030204" pitchFamily="34" charset="0"/>
              </a:rPr>
              <a:t>Because CSHO already takes pictures and measurements, AER typically will not, unless given express permission by employer or entity controlling worksite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9B50F5-B5FA-61DA-5303-A0AF9E8567A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24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192204"/>
      </p:ext>
    </p:extLst>
  </p:cSld>
  <p:clrMapOvr>
    <a:masterClrMapping/>
  </p:clrMapOvr>
  <p:transition/>
  <p:timing/>
</p:sld>
</file>

<file path=ppt/slides/slide25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C3CF35-0158-7D67-AC0E-78275555FC5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AER’s Limitations During Inspe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19B02D-AA9E-869E-841B-0AC780BB6D5A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fontScale="92500"/>
          </a:bodyPr>
          <a:lstStyle/>
          <a:p>
            <a:pPr marL="269889" indent="-346075"/>
            <a:r>
              <a:rPr lang="en-US" sz="2200">
                <a:cs typeface="Calibri" panose="020f0502020204030204" pitchFamily="34" charset="0"/>
              </a:rPr>
              <a:t>AER may not disrupt or interfere with a fair and orderly inspection. </a:t>
            </a:r>
          </a:p>
          <a:p>
            <a:pPr marL="269889" indent="-346075"/>
            <a:r>
              <a:rPr lang="en-US" sz="2200">
                <a:cs typeface="Calibri" panose="020f0502020204030204" pitchFamily="34" charset="0"/>
              </a:rPr>
              <a:t>Examples of prohibited behavior include:</a:t>
            </a:r>
          </a:p>
          <a:p>
            <a:pPr lvl="1"/>
            <a:r>
              <a:rPr lang="en-US" sz="2200">
                <a:cs typeface="Calibri" panose="020f0502020204030204" pitchFamily="34" charset="0"/>
              </a:rPr>
              <a:t>Preventing CSHO from taking essential photographs, video recordings, or testing;</a:t>
            </a:r>
          </a:p>
          <a:p>
            <a:pPr lvl="1"/>
            <a:r>
              <a:rPr lang="en-US" sz="2200">
                <a:cs typeface="Calibri" panose="020f0502020204030204" pitchFamily="34" charset="0"/>
              </a:rPr>
              <a:t>Preventing CSHO from interviewing employees in private;</a:t>
            </a:r>
          </a:p>
          <a:p>
            <a:pPr lvl="1"/>
            <a:r>
              <a:rPr lang="en-US" sz="2200">
                <a:cs typeface="Calibri" panose="020f0502020204030204" pitchFamily="34" charset="0"/>
              </a:rPr>
              <a:t>Interfering with employee or employer representative involvement in the inspection;</a:t>
            </a:r>
          </a:p>
          <a:p>
            <a:pPr lvl="1"/>
            <a:r>
              <a:rPr lang="en-US" sz="2200">
                <a:cs typeface="Calibri" panose="020f0502020204030204" pitchFamily="34" charset="0"/>
              </a:rPr>
              <a:t>Failing to stay with CSHO during walkaround (i.e.: wandering, unauthorized areas);</a:t>
            </a:r>
          </a:p>
          <a:p>
            <a:pPr lvl="1"/>
            <a:r>
              <a:rPr lang="en-US" sz="2200">
                <a:cs typeface="Calibri" panose="020f0502020204030204" pitchFamily="34" charset="0"/>
              </a:rPr>
              <a:t>Taking unauthorized photographs or videos;</a:t>
            </a:r>
          </a:p>
          <a:p>
            <a:pPr lvl="1"/>
            <a:r>
              <a:rPr lang="en-US" sz="2200">
                <a:cs typeface="Calibri" panose="020f0502020204030204" pitchFamily="34" charset="0"/>
              </a:rPr>
              <a:t>Solicitation, such as handing out </a:t>
            </a:r>
            <a:r>
              <a:rPr lang="en-US" sz="2200" u="sng">
                <a:cs typeface="Calibri" panose="020f0502020204030204" pitchFamily="34" charset="0"/>
              </a:rPr>
              <a:t>union authorization cards</a:t>
            </a:r>
            <a:r>
              <a:rPr lang="en-US" sz="2200">
                <a:cs typeface="Calibri" panose="020f0502020204030204" pitchFamily="34" charset="0"/>
              </a:rPr>
              <a:t>;</a:t>
            </a:r>
          </a:p>
          <a:p>
            <a:pPr lvl="2"/>
            <a:r>
              <a:rPr lang="en-US" sz="2200">
                <a:cs typeface="Calibri" panose="020f0502020204030204" pitchFamily="34" charset="0"/>
              </a:rPr>
              <a:t>No limitation on AER wearing clothing promoting a union, however.</a:t>
            </a:r>
          </a:p>
          <a:p>
            <a:pPr lvl="1"/>
            <a:r>
              <a:rPr lang="en-US" sz="2200">
                <a:cs typeface="Calibri" panose="020f0502020204030204" pitchFamily="34" charset="0"/>
              </a:rPr>
              <a:t>Distributing or handing out any material without the CSHO's review and consent;</a:t>
            </a:r>
          </a:p>
          <a:p>
            <a:pPr lvl="1"/>
            <a:r>
              <a:rPr lang="en-US" sz="2200">
                <a:cs typeface="Calibri" panose="020f0502020204030204" pitchFamily="34" charset="0"/>
              </a:rPr>
              <a:t>Discussing matters unrelated to inspection with employees during inspection;</a:t>
            </a:r>
          </a:p>
          <a:p>
            <a:pPr lvl="1"/>
            <a:r>
              <a:rPr lang="en-US" sz="2200">
                <a:cs typeface="Calibri" panose="020f0502020204030204" pitchFamily="34" charset="0"/>
              </a:rPr>
              <a:t>Failing to comply with the ground rules of the inspection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B35727-6FFB-93DC-DCD2-9C30176C64A2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2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80434767"/>
      </p:ext>
    </p:extLst>
  </p:cSld>
  <p:clrMapOvr>
    <a:masterClrMapping/>
  </p:clrMapOvr>
  <p:transition/>
  <p:timing/>
</p:sld>
</file>

<file path=ppt/slides/slide26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0BEA9-89CD-F178-307F-EA873673EAE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Court 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0F264E-50C0-0437-602C-EBF8152C3023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en-US" sz="2800" b="0" i="0">
                <a:effectLst/>
              </a:rPr>
              <a:t>A coalition of business associations has filed a lawsuit against OSHA, captioned </a:t>
            </a:r>
            <a:r>
              <a:rPr lang="en-US" sz="2800" b="0" i="1">
                <a:effectLst/>
              </a:rPr>
              <a:t>Chamber of Commerce of the United States of America, et al. v. OSHA, et al.,</a:t>
            </a:r>
            <a:r>
              <a:rPr lang="en-US" sz="2800" b="0" i="0">
                <a:effectLst/>
              </a:rPr>
              <a:t> arguing the Walkaround Rule exceeds the agency’s statutory authority. </a:t>
            </a:r>
          </a:p>
          <a:p>
            <a:r>
              <a:rPr lang="en-US" sz="2800"/>
              <a:t>Motions for summary judgment pending</a:t>
            </a:r>
          </a:p>
          <a:p>
            <a:r>
              <a:rPr lang="en-US" sz="2800"/>
              <a:t>A ruling for plaintiffs will drastically narrow or even strike down the rule</a:t>
            </a:r>
          </a:p>
          <a:p>
            <a:r>
              <a:rPr lang="en-US" sz="2800"/>
              <a:t>As of now, the rule is in effe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7F2F7F-4319-555B-93D1-ABB61449CBE7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26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84894913"/>
      </p:ext>
    </p:extLst>
  </p:cSld>
  <p:clrMapOvr>
    <a:masterClrMapping/>
  </p:clrMapOvr>
  <p:transition/>
  <p:timing/>
</p:sld>
</file>

<file path=ppt/slides/slide27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3F2DFD-59A5-5DB2-BE9C-A35F5D87CAC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2025 Enforcement Prioritie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89A550-055C-022C-2284-BDCC16554E1B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This may have all changed on November 5, 2024:</a:t>
            </a:r>
          </a:p>
          <a:p>
            <a:endParaRPr lang="en-US"/>
          </a:p>
          <a:p>
            <a:pPr lvl="1"/>
            <a:r>
              <a:rPr lang="en-US"/>
              <a:t>Heat Illness</a:t>
            </a:r>
          </a:p>
          <a:p>
            <a:pPr lvl="1"/>
            <a:r>
              <a:rPr lang="en-US"/>
              <a:t>Workplace Violence</a:t>
            </a:r>
          </a:p>
          <a:p>
            <a:pPr lvl="1"/>
            <a:r>
              <a:rPr lang="en-US"/>
              <a:t>Warehousing</a:t>
            </a:r>
          </a:p>
          <a:p>
            <a:pPr lvl="1"/>
            <a:r>
              <a:rPr lang="en-US"/>
              <a:t>Fall Protection</a:t>
            </a:r>
          </a:p>
          <a:p>
            <a:pPr lvl="1"/>
            <a:r>
              <a:rPr lang="en-US"/>
              <a:t>Process Safety Management</a:t>
            </a:r>
          </a:p>
          <a:p>
            <a:pPr lvl="1"/>
            <a:r>
              <a:rPr lang="en-US"/>
              <a:t>Emergency Response</a:t>
            </a:r>
          </a:p>
          <a:p>
            <a:pPr lvl="1"/>
            <a:r>
              <a:rPr lang="en-US"/>
              <a:t>Construction P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1AA8B9-64A1-06AF-6455-6C3EA2340EF7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27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2008176"/>
      </p:ext>
    </p:extLst>
  </p:cSld>
  <p:clrMapOvr>
    <a:masterClrMapping/>
  </p:clrMapOvr>
  <p:transition/>
  <p:timing/>
</p:sld>
</file>

<file path=ppt/slides/slide28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Heat Illness -- Scope and Appl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/>
              <a:t>Applies to </a:t>
            </a:r>
            <a:r>
              <a:rPr lang="en-US" u="sng"/>
              <a:t>all industries</a:t>
            </a:r>
            <a:r>
              <a:rPr lang="en-US"/>
              <a:t> regulated by OSHA</a:t>
            </a:r>
            <a:endParaRPr lang="en-US" u="sng"/>
          </a:p>
          <a:p>
            <a:pPr lvl="1"/>
            <a:r>
              <a:rPr lang="en-US"/>
              <a:t>General, construction, shipyard, marine terminals, long shoring, agriculture</a:t>
            </a:r>
          </a:p>
          <a:p>
            <a:r>
              <a:rPr lang="en-US"/>
              <a:t>Applies to all </a:t>
            </a:r>
            <a:r>
              <a:rPr lang="en-US" u="sng"/>
              <a:t>employers</a:t>
            </a:r>
            <a:r>
              <a:rPr lang="en-US"/>
              <a:t>, except:</a:t>
            </a:r>
          </a:p>
          <a:p>
            <a:pPr lvl="1"/>
            <a:r>
              <a:rPr lang="en-US"/>
              <a:t>Organizations whose primary function is the performance of firefighting and certain emergency response activities</a:t>
            </a:r>
          </a:p>
          <a:p>
            <a:r>
              <a:rPr lang="en-US"/>
              <a:t>Does not apply to certain </a:t>
            </a:r>
            <a:r>
              <a:rPr lang="en-US" u="sng"/>
              <a:t>work activities</a:t>
            </a:r>
            <a:r>
              <a:rPr lang="en-US"/>
              <a:t>:</a:t>
            </a:r>
          </a:p>
          <a:p>
            <a:pPr lvl="1"/>
            <a:r>
              <a:rPr lang="en-US"/>
              <a:t>No reasonable expectation of exposure at or above the </a:t>
            </a:r>
            <a:r>
              <a:rPr lang="en-US" b="1" i="1">
                <a:solidFill>
                  <a:schemeClr val="accent2"/>
                </a:solidFill>
              </a:rPr>
              <a:t>initial heat </a:t>
            </a:r>
            <a:r>
              <a:rPr lang="en-US" b="1">
                <a:solidFill>
                  <a:schemeClr val="accent2"/>
                </a:solidFill>
              </a:rPr>
              <a:t>trigger</a:t>
            </a:r>
          </a:p>
          <a:p>
            <a:pPr lvl="1"/>
            <a:r>
              <a:rPr lang="en-US"/>
              <a:t>Short duration employee exposures at or above the initial heat trigger of 15 minutes or less in any 60-minute period</a:t>
            </a:r>
          </a:p>
          <a:p>
            <a:pPr lvl="1"/>
            <a:r>
              <a:rPr lang="en-US"/>
              <a:t>Indoor work areas or vehicles where air-conditioning consistently keeps the ambient temperature below 80°F</a:t>
            </a:r>
          </a:p>
          <a:p>
            <a:pPr lvl="1"/>
            <a:r>
              <a:rPr lang="en-US"/>
              <a:t>Telework (employee chooses work location)</a:t>
            </a:r>
          </a:p>
          <a:p>
            <a:pPr lvl="1"/>
            <a:r>
              <a:rPr lang="en-US"/>
              <a:t>Sedentary work activities at indoor work areas</a:t>
            </a:r>
          </a:p>
        </p:txBody>
      </p:sp>
    </p:spTree>
    <p:extLst>
      <p:ext uri="{BB962C8B-B14F-4D97-AF65-F5344CB8AC3E}">
        <p14:creationId xmlns:p14="http://schemas.microsoft.com/office/powerpoint/2010/main" val="2020055315"/>
      </p:ext>
    </p:extLst>
  </p:cSld>
  <p:clrMapOvr>
    <a:masterClrMapping/>
  </p:clrMapOvr>
  <p:transition/>
  <p:timing/>
</p:sld>
</file>

<file path=ppt/slides/slide29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BFE835-C569-935B-0ADC-6AC8D0144ED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Initial Heat Trigg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BFA702-C0B9-C132-20D2-B1180670BE9A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fontScale="92500"/>
          </a:bodyPr>
          <a:lstStyle/>
          <a:p>
            <a:r>
              <a:rPr lang="en-US" b="1">
                <a:solidFill>
                  <a:schemeClr val="tx1"/>
                </a:solidFill>
                <a:cs typeface="Calibri" panose="020f0502020204030204" pitchFamily="34" charset="0"/>
              </a:rPr>
              <a:t>New Proposed Heat Illness Rule </a:t>
            </a:r>
            <a:r>
              <a:rPr lang="en-US">
                <a:solidFill>
                  <a:schemeClr val="tx1"/>
                </a:solidFill>
                <a:cs typeface="Calibri" panose="020f0502020204030204" pitchFamily="34" charset="0"/>
              </a:rPr>
              <a:t>– Trigger is Heat Index of </a:t>
            </a:r>
            <a:r>
              <a:rPr lang="en-US" b="1">
                <a:solidFill>
                  <a:schemeClr val="tx1"/>
                </a:solidFill>
                <a:cs typeface="Calibri" panose="020f0502020204030204" pitchFamily="34" charset="0"/>
              </a:rPr>
              <a:t>80°F</a:t>
            </a:r>
            <a:r>
              <a:rPr lang="en-US">
                <a:solidFill>
                  <a:schemeClr val="tx1"/>
                </a:solidFill>
                <a:cs typeface="Calibri" panose="020f0502020204030204" pitchFamily="34" charset="0"/>
              </a:rPr>
              <a:t>! Consider taking action now. Ogletree has template programs that can help.</a:t>
            </a:r>
          </a:p>
          <a:p>
            <a:r>
              <a:rPr lang="en-US" b="1"/>
              <a:t>Drinking water</a:t>
            </a:r>
          </a:p>
          <a:p>
            <a:pPr lvl="1"/>
            <a:r>
              <a:rPr lang="en-US"/>
              <a:t>Readily accessible to employees</a:t>
            </a:r>
          </a:p>
          <a:p>
            <a:pPr lvl="1"/>
            <a:r>
              <a:rPr lang="en-US"/>
              <a:t>Suitably cool; and</a:t>
            </a:r>
          </a:p>
          <a:p>
            <a:pPr lvl="1"/>
            <a:r>
              <a:rPr lang="en-US"/>
              <a:t>Sufficient quantity to provide access to 1 quart of drinking water per employee per hour</a:t>
            </a:r>
          </a:p>
          <a:p>
            <a:r>
              <a:rPr lang="en-US" b="1"/>
              <a:t>Break areas </a:t>
            </a:r>
            <a:r>
              <a:rPr lang="en-US"/>
              <a:t>at outdoor work sites</a:t>
            </a:r>
          </a:p>
          <a:p>
            <a:pPr lvl="1"/>
            <a:r>
              <a:rPr lang="en-US" u="sng"/>
              <a:t>Readily accessible </a:t>
            </a:r>
            <a:r>
              <a:rPr lang="en-US"/>
              <a:t>and can accommodate the number of employees on break</a:t>
            </a:r>
          </a:p>
          <a:p>
            <a:pPr lvl="1"/>
            <a:r>
              <a:rPr lang="en-US" u="sng"/>
              <a:t>Shade</a:t>
            </a:r>
            <a:r>
              <a:rPr lang="en-US"/>
              <a:t> (natural or artificial; but not from equipment) – that blocks direct sunlight and is open to outside air; </a:t>
            </a:r>
            <a:r>
              <a:rPr lang="en-US" u="sng"/>
              <a:t>OR</a:t>
            </a:r>
          </a:p>
          <a:p>
            <a:pPr lvl="1"/>
            <a:r>
              <a:rPr lang="en-US" u="sng"/>
              <a:t>Air-conditioning </a:t>
            </a:r>
            <a:r>
              <a:rPr lang="en-US"/>
              <a:t>in an enclosed space, such as a trailer, vehicle, or structure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16F839-AC3B-4542-3277-7666D86DE55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29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53334192"/>
      </p:ext>
    </p:extLst>
  </p:cSld>
  <p:clrMapOvr>
    <a:masterClrMapping/>
  </p:clrMapOvr>
  <p:transition/>
  <p:timing/>
</p:sld>
</file>

<file path=ppt/slides/slide3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en-US" sz="2800"/>
              <a:t>OSHA Basics</a:t>
            </a:r>
          </a:p>
          <a:p>
            <a:r>
              <a:rPr lang="en-US" sz="2800"/>
              <a:t>Recordkeeping Requirements</a:t>
            </a:r>
          </a:p>
          <a:p>
            <a:r>
              <a:rPr lang="en-US" sz="2800"/>
              <a:t>Dealing with an OSHA Inspection</a:t>
            </a:r>
          </a:p>
          <a:p>
            <a:r>
              <a:rPr lang="en-US" sz="2800"/>
              <a:t>OSHA’s Enforcement Priorities</a:t>
            </a:r>
          </a:p>
          <a:p>
            <a:r>
              <a:rPr lang="en-US" sz="2800"/>
              <a:t>2025 and Beyond</a:t>
            </a:r>
          </a:p>
        </p:txBody>
      </p:sp>
    </p:spTree>
    <p:extLst>
      <p:ext uri="{BB962C8B-B14F-4D97-AF65-F5344CB8AC3E}">
        <p14:creationId xmlns:p14="http://schemas.microsoft.com/office/powerpoint/2010/main" val="3591888824"/>
      </p:ext>
    </p:extLst>
  </p:cSld>
  <p:clrMapOvr>
    <a:masterClrMapping/>
  </p:clrMapOvr>
  <p:transition/>
  <p:timing/>
</p:sld>
</file>

<file path=ppt/slides/slide30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Initial Heat Trigger Requirements (cont’d)</a:t>
            </a:r>
            <a:endParaRPr lang="en-US" sz="4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1"/>
              <a:t>Break areas </a:t>
            </a:r>
            <a:r>
              <a:rPr lang="en-US"/>
              <a:t>at indoor work sites</a:t>
            </a:r>
          </a:p>
          <a:p>
            <a:pPr lvl="1"/>
            <a:r>
              <a:rPr lang="en-US"/>
              <a:t>Readily accessible</a:t>
            </a:r>
          </a:p>
          <a:p>
            <a:pPr lvl="1"/>
            <a:r>
              <a:rPr lang="en-US"/>
              <a:t>Air-conditioned or has increased air movement (and maybe de-humidification)</a:t>
            </a:r>
          </a:p>
          <a:p>
            <a:r>
              <a:rPr lang="en-US"/>
              <a:t>Indoor work area controls</a:t>
            </a:r>
          </a:p>
          <a:p>
            <a:pPr lvl="1"/>
            <a:r>
              <a:rPr lang="en-US"/>
              <a:t>Increased air movement, such as fans or comparable natural ventilation and, if appropriate, de-humidification;</a:t>
            </a:r>
          </a:p>
          <a:p>
            <a:pPr lvl="1"/>
            <a:r>
              <a:rPr lang="en-US"/>
              <a:t>Air-conditioned work area; or</a:t>
            </a:r>
          </a:p>
          <a:p>
            <a:pPr lvl="1"/>
            <a:r>
              <a:rPr lang="en-US"/>
              <a:t>If radiant heat sources, other measures that effectively reduce employee exposure to radian heat in the work area (e.g., shielding / barriers, isolating heat sources)</a:t>
            </a:r>
          </a:p>
          <a:p>
            <a:r>
              <a:rPr lang="en-US"/>
              <a:t>Evaluation of fan use</a:t>
            </a:r>
          </a:p>
          <a:p>
            <a:pPr lvl="1"/>
            <a:r>
              <a:rPr lang="en-US"/>
              <a:t>At ambient temperatures above 102ºF, if the employer is providing fans for indoor work areas, the employer must also evaluate whether use is harmful (humidity)</a:t>
            </a:r>
          </a:p>
        </p:txBody>
      </p:sp>
    </p:spTree>
    <p:extLst>
      <p:ext uri="{BB962C8B-B14F-4D97-AF65-F5344CB8AC3E}">
        <p14:creationId xmlns:p14="http://schemas.microsoft.com/office/powerpoint/2010/main" val="2905520460"/>
      </p:ext>
    </p:extLst>
  </p:cSld>
  <p:clrMapOvr>
    <a:masterClrMapping/>
  </p:clrMapOvr>
  <p:transition/>
  <p:timing/>
</p:sld>
</file>

<file path=ppt/slides/slide31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igh Heat Trigger Requirements (HI 90ºF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These are </a:t>
            </a:r>
            <a:r>
              <a:rPr lang="en-US" i="1">
                <a:solidFill>
                  <a:srgbClr val="FF0000"/>
                </a:solidFill>
              </a:rPr>
              <a:t>in addition to </a:t>
            </a:r>
            <a:r>
              <a:rPr lang="en-US"/>
              <a:t>the requirements for the initial heat trigger</a:t>
            </a:r>
          </a:p>
          <a:p>
            <a:r>
              <a:rPr lang="en-US"/>
              <a:t>Mandatory rest breaks</a:t>
            </a:r>
          </a:p>
          <a:p>
            <a:pPr lvl="1"/>
            <a:r>
              <a:rPr lang="en-US"/>
              <a:t>Employer must provide a minimum 15-minute paid rest break at least every two hours in the break area</a:t>
            </a:r>
          </a:p>
          <a:p>
            <a:pPr lvl="1"/>
            <a:r>
              <a:rPr lang="en-US"/>
              <a:t>A meal break may count as a rest break, even if it is not otherwise required by law to be paid</a:t>
            </a:r>
          </a:p>
          <a:p>
            <a:pPr lvl="1"/>
            <a:r>
              <a:rPr lang="en-US"/>
              <a:t>Donning and doffing periods do not count</a:t>
            </a:r>
          </a:p>
          <a:p>
            <a:pPr lvl="1"/>
            <a:r>
              <a:rPr lang="en-US"/>
              <a:t>Time for walking to and from the break areas does not count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4247"/>
      </p:ext>
    </p:extLst>
  </p:cSld>
  <p:clrMapOvr>
    <a:masterClrMapping/>
  </p:clrMapOvr>
  <p:transition/>
  <p:timing/>
</p:sld>
</file>

<file path=ppt/slides/slide32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igh Heat Trigger Requirements (cont’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b="1"/>
              <a:t>Mandatory observation methods</a:t>
            </a:r>
          </a:p>
          <a:p>
            <a:pPr lvl="1"/>
            <a:r>
              <a:rPr lang="en-US"/>
              <a:t>Mandatory buddy system in which co-workers observe each other; or</a:t>
            </a:r>
          </a:p>
          <a:p>
            <a:pPr lvl="1"/>
            <a:r>
              <a:rPr lang="en-US"/>
              <a:t>Observation by a supervisor or heat safety coordinator, with no more than 20 employees observed by each person</a:t>
            </a:r>
          </a:p>
          <a:p>
            <a:pPr lvl="1"/>
            <a:r>
              <a:rPr lang="en-US"/>
              <a:t>For employees alone at a work site, the employer must maintain effective two-way communications and make contact at least every two hours</a:t>
            </a:r>
          </a:p>
          <a:p>
            <a:r>
              <a:rPr lang="en-US" b="1"/>
              <a:t>Mandatory hazard alerts</a:t>
            </a:r>
          </a:p>
          <a:p>
            <a:pPr lvl="1"/>
            <a:r>
              <a:rPr lang="en-US"/>
              <a:t>Importance of drinking plenty of water</a:t>
            </a:r>
          </a:p>
          <a:p>
            <a:pPr lvl="1"/>
            <a:r>
              <a:rPr lang="en-US"/>
              <a:t>Employees’ right, at the employee’s election, to take rest breaks if needed and the mandatory rest breaks in this section</a:t>
            </a:r>
          </a:p>
          <a:p>
            <a:pPr lvl="1"/>
            <a:r>
              <a:rPr lang="en-US"/>
              <a:t>How to seek help and the procedures for an emergency</a:t>
            </a:r>
          </a:p>
          <a:p>
            <a:pPr lvl="1"/>
            <a:r>
              <a:rPr lang="en-US"/>
              <a:t>For mobile work sites, the location of break areas and drinking water</a:t>
            </a:r>
          </a:p>
          <a:p>
            <a:r>
              <a:rPr lang="en-US" b="1"/>
              <a:t>Excessively high heat indoor work areas</a:t>
            </a:r>
          </a:p>
          <a:p>
            <a:pPr lvl="1"/>
            <a:r>
              <a:rPr lang="en-US"/>
              <a:t>Warning signs required if ambient temperatures regularly exceed 120ºF</a:t>
            </a:r>
          </a:p>
        </p:txBody>
      </p:sp>
    </p:spTree>
    <p:extLst>
      <p:ext uri="{BB962C8B-B14F-4D97-AF65-F5344CB8AC3E}">
        <p14:creationId xmlns:p14="http://schemas.microsoft.com/office/powerpoint/2010/main" val="1232905139"/>
      </p:ext>
    </p:extLst>
  </p:cSld>
  <p:clrMapOvr>
    <a:masterClrMapping/>
  </p:clrMapOvr>
  <p:transition/>
  <p:timing/>
</p:sld>
</file>

<file path=ppt/slides/slide33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eat Injury and Illness Prevention Plan (HIIPP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/>
              <a:t>Site-specific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/>
              <a:t>Include a comprehensive list of the types of covered work activitie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/>
              <a:t>Identify the heat metric used (HI or WBGT)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/>
              <a:t>Evaluation of vapor-impermeable clothing and alternative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/>
              <a:t>Written, if employer has more than 10 employee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/>
              <a:t>Designate one or more </a:t>
            </a:r>
            <a:r>
              <a:rPr lang="en-US" b="1"/>
              <a:t>heat safety coordinator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/>
              <a:t>Implement and monitor the HIIPP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/>
              <a:t>Authority to ensure complianc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/>
              <a:t>Seek input and involvement of non-managerial employees and their representatives, if any, in the development and implementation of the HIIPP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082723"/>
      </p:ext>
    </p:extLst>
  </p:cSld>
  <p:clrMapOvr>
    <a:masterClrMapping/>
  </p:clrMapOvr>
  <p:transition/>
  <p:timing/>
</p:sld>
</file>

<file path=ppt/slides/slide34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HIIPP (cont’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/>
              <a:t>Review and evaluate the HIIPP’s effectiveness after a heat-related incident, and at least annually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/>
              <a:t>Readily available at the work site to all employee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/>
              <a:t>Available in a language each employee, supervisor, and heat safety coordinator understands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165426"/>
      </p:ext>
    </p:extLst>
  </p:cSld>
  <p:clrMapOvr>
    <a:masterClrMapping/>
  </p:clrMapOvr>
  <p:transition/>
  <p:timing/>
</p:sld>
</file>

<file path=ppt/slides/slide35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9CD83-A0FD-E5F9-CF3B-8098655DB1D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Workplace Violence in Healthca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F90B7D-0E3F-DCBE-723C-D03A23AC1BEE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Focused on patient violence toward healthcare workers</a:t>
            </a:r>
          </a:p>
          <a:p>
            <a:pPr lvl="1"/>
            <a:r>
              <a:rPr lang="en-US"/>
              <a:t>Behavioral Health</a:t>
            </a:r>
          </a:p>
          <a:p>
            <a:pPr lvl="1"/>
            <a:r>
              <a:rPr lang="en-US"/>
              <a:t>Long-term Care</a:t>
            </a:r>
          </a:p>
          <a:p>
            <a:endParaRPr lang="en-US"/>
          </a:p>
          <a:p>
            <a:r>
              <a:rPr lang="en-US"/>
              <a:t>Develop written workplace violence prevention program</a:t>
            </a:r>
          </a:p>
          <a:p>
            <a:r>
              <a:rPr lang="en-US"/>
              <a:t>Perform hazard assessments</a:t>
            </a:r>
          </a:p>
          <a:p>
            <a:r>
              <a:rPr lang="en-US"/>
              <a:t>Implement engineering and administrative controls</a:t>
            </a:r>
          </a:p>
          <a:p>
            <a:r>
              <a:rPr lang="en-US"/>
              <a:t>Train and educate staff</a:t>
            </a:r>
          </a:p>
          <a:p>
            <a:r>
              <a:rPr lang="en-US"/>
              <a:t>Maintain a workplace violence log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7FB5F4-B6CF-15A1-1AE6-6F2718E1877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35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02170264"/>
      </p:ext>
    </p:extLst>
  </p:cSld>
  <p:clrMapOvr>
    <a:masterClrMapping/>
  </p:clrMapOvr>
  <p:transition/>
  <p:timing/>
</p:sld>
</file>

<file path=ppt/slides/slide36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EAFD3-C49F-BCED-9AD7-47C05AA511D5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Process Safety Managamen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B486A-A261-5E60-573E-71952AEF2378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en-US"/>
              <a:t>Process safety management of highly hazardous chemicals</a:t>
            </a:r>
          </a:p>
          <a:p>
            <a:r>
              <a:rPr lang="en-US"/>
              <a:t>Recent directive and guidance issued by OSHA</a:t>
            </a:r>
          </a:p>
          <a:p>
            <a:r>
              <a:rPr lang="en-US" b="0" i="0">
                <a:solidFill>
                  <a:schemeClr val="tx1"/>
                </a:solidFill>
                <a:effectLst/>
              </a:rPr>
              <a:t>This 103-page guidance, which is primarily a collection of hyperlinks to standard interpretations dating back to 1992, reiterates OSHA’s commitment to a national emphasis program (NEP) for inspecting facilities with HHC.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A7D0C9-11C1-E881-0F9F-189A714BFD07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36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92400198"/>
      </p:ext>
    </p:extLst>
  </p:cSld>
  <p:clrMapOvr>
    <a:masterClrMapping/>
  </p:clrMapOvr>
  <p:transition/>
  <p:timing/>
</p:sld>
</file>

<file path=ppt/slides/slide37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AC1F8-B665-D4E1-D384-91992A21E58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Emergency Response Rulemak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DFAB10-8FBD-DAFD-CBCE-6B5588B1536A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0" i="0">
                <a:solidFill>
                  <a:srgbClr val="212121"/>
                </a:solidFill>
                <a:effectLst/>
                <a:latin typeface="Source Sans Pro" panose="020b0503030403020204" pitchFamily="34" charset="0"/>
              </a:rPr>
              <a:t>On February 5, 2024, OSHA published the Notice of Proposed Rulemaking (NPRM) on Emergency Response</a:t>
            </a:r>
          </a:p>
          <a:p>
            <a:r>
              <a:rPr lang="en-US">
                <a:solidFill>
                  <a:srgbClr val="212121"/>
                </a:solidFill>
                <a:latin typeface="Source Sans Pro" panose="020b0503030403020204" pitchFamily="34" charset="0"/>
              </a:rPr>
              <a:t>Would replace the existing Fire Brigade Standard</a:t>
            </a:r>
          </a:p>
          <a:p>
            <a:r>
              <a:rPr lang="en-US">
                <a:solidFill>
                  <a:srgbClr val="212121"/>
                </a:solidFill>
                <a:latin typeface="Source Sans Pro" panose="020b0503030403020204" pitchFamily="34" charset="0"/>
              </a:rPr>
              <a:t>Would address a wider range of hazards and expand beyond firefighting services to include private employers who provide other emergency services (pre-hospital EMA)</a:t>
            </a:r>
          </a:p>
          <a:p>
            <a:r>
              <a:rPr lang="en-US">
                <a:solidFill>
                  <a:srgbClr val="212121"/>
                </a:solidFill>
                <a:latin typeface="Source Sans Pro" panose="020b0503030403020204" pitchFamily="34" charset="0"/>
              </a:rPr>
              <a:t>Would incorporate 22 NFPA (National Fire Protection Association) standards by reference</a:t>
            </a:r>
          </a:p>
          <a:p>
            <a:r>
              <a:rPr lang="en-US">
                <a:solidFill>
                  <a:srgbClr val="212121"/>
                </a:solidFill>
                <a:latin typeface="Source Sans Pro" panose="020b0503030403020204" pitchFamily="34" charset="0"/>
              </a:rPr>
              <a:t>Would enhance  job performance and training requirements for fire service personnel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1836AF-FA4D-876F-6F46-F3C6EA1209C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37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54228253"/>
      </p:ext>
    </p:extLst>
  </p:cSld>
  <p:clrMapOvr>
    <a:masterClrMapping/>
  </p:clrMapOvr>
  <p:transition/>
  <p:timing/>
</p:sld>
</file>

<file path=ppt/slides/slide38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8FD7F-3482-078D-0FEE-980486B485A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What to Expect in a Trump Administ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26E3DA-61B9-4847-128A-73CD74E1AF44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Unlikely to see an increase in OSHA’s budget and may even see it cut</a:t>
            </a:r>
          </a:p>
          <a:p>
            <a:r>
              <a:rPr lang="en-US"/>
              <a:t>Will result in fewer compliance officers and less enforcement action (inspections)</a:t>
            </a:r>
          </a:p>
          <a:p>
            <a:r>
              <a:rPr lang="en-US"/>
              <a:t>Focus on compliance assistance instead of inspections and penalties </a:t>
            </a:r>
          </a:p>
          <a:p>
            <a:r>
              <a:rPr lang="en-US"/>
              <a:t>Fewer press releases and public shaming of employers</a:t>
            </a:r>
          </a:p>
          <a:p>
            <a:r>
              <a:rPr lang="en-US"/>
              <a:t>Reduce  the number of emphasis programs</a:t>
            </a:r>
          </a:p>
          <a:p>
            <a:r>
              <a:rPr lang="en-US"/>
              <a:t>Goodbye to the Walkaround Rule and Heat Stress and Workplace Violence Standards</a:t>
            </a:r>
          </a:p>
          <a:p>
            <a:r>
              <a:rPr lang="en-US"/>
              <a:t>Supreme Court’s Loper Bright decision will embolden deregulation effor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40A707-74ED-061C-6D4D-BE3BB8F9D8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38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78024491"/>
      </p:ext>
    </p:extLst>
  </p:cSld>
  <p:clrMapOvr>
    <a:masterClrMapping/>
  </p:clrMapOvr>
  <p:transition/>
  <p:timing/>
</p:sld>
</file>

<file path=ppt/slides/slide39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3" name="Content Placeholder 2"/>
          <p:cNvSpPr>
            <a:spLocks noGrp="1"/>
          </p:cNvSpPr>
          <p:nvPr>
            <p:ph idx="4294967295"/>
            <p:custDataLst>
              <p:tags r:id="rId4"/>
            </p:custDataLst>
          </p:nvPr>
        </p:nvSpPr>
        <p:spPr>
          <a:xfrm>
            <a:off x="733025" y="2108319"/>
            <a:ext cx="9196388" cy="4694237"/>
          </a:xfrm>
        </p:spPr>
        <p:txBody>
          <a:bodyPr>
            <a:noAutofit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sz="2000">
                <a:solidFill>
                  <a:srgbClr val="212020"/>
                </a:solidFill>
              </a:rPr>
              <a:t>Ep. 1: Podcast Launch and 4 Starter Tips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2000">
                <a:solidFill>
                  <a:srgbClr val="212020"/>
                </a:solidFill>
              </a:rPr>
              <a:t>Ep. 2: Who Is OSHA?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2000">
                <a:solidFill>
                  <a:srgbClr val="212020"/>
                </a:solidFill>
              </a:rPr>
              <a:t>Ep. 3: Why Is OSHA Here?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2000">
                <a:solidFill>
                  <a:srgbClr val="212020"/>
                </a:solidFill>
              </a:rPr>
              <a:t>Ep. 4: Corporate Safety Culture w/ VP of EHS, Mark Ligon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2000">
                <a:solidFill>
                  <a:srgbClr val="212020"/>
                </a:solidFill>
              </a:rPr>
              <a:t>Ep. 5: A First Look at OSHA’s New ETS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2000">
                <a:solidFill>
                  <a:srgbClr val="212020"/>
                </a:solidFill>
              </a:rPr>
              <a:t>Ep. 6: Florida’s New Law Restricting Employer Vaccine Mandates w/ Dee Anna Hays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2000">
                <a:solidFill>
                  <a:srgbClr val="212020"/>
                </a:solidFill>
              </a:rPr>
              <a:t>Ep. 7: The SCOTUS Decision on OSHA’s ETS w/ Eric Hobbs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2000">
                <a:solidFill>
                  <a:srgbClr val="212020"/>
                </a:solidFill>
              </a:rPr>
              <a:t>Ep. 8: Who is the DOL Solicitor? w/ Jaslyn Johnson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2000">
                <a:solidFill>
                  <a:srgbClr val="212020"/>
                </a:solidFill>
              </a:rPr>
              <a:t>Ep 9: OSHA’s NEP on Heat Hazards w/ Karen Tyna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  <p:custDataLst>
              <p:tags r:id="rId5"/>
            </p:custDataLst>
          </p:nvPr>
        </p:nvSpPr>
        <p:spPr>
          <a:xfrm>
            <a:off x="733025" y="195841"/>
            <a:ext cx="10515600" cy="763588"/>
          </a:xfrm>
        </p:spPr>
        <p:txBody>
          <a:bodyPr>
            <a:normAutofit/>
          </a:bodyPr>
          <a:lstStyle/>
          <a:p>
            <a:r>
              <a:rPr lang="en-US" sz="3200"/>
              <a:t>DIRTY STEEL-TOE BOOTS PODCAST</a:t>
            </a:r>
          </a:p>
        </p:txBody>
      </p:sp>
      <p:pic>
        <p:nvPicPr>
          <p:cNvPr id="2052" name="Picture 4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28901" y="3145106"/>
            <a:ext cx="2381251" cy="2381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9135592" y="1509907"/>
            <a:ext cx="2824816" cy="1378375"/>
          </a:xfrm>
          <a:prstGeom prst="rect">
            <a:avLst/>
          </a:prstGeom>
        </p:spPr>
      </p:pic>
      <p:sp>
        <p:nvSpPr>
          <p:cNvPr id="4" name="TextBox 3"/>
          <p:cNvSpPr txBox="1"/>
          <p:nvPr>
            <p:custDataLst>
              <p:tags r:id="rId10"/>
            </p:custDataLst>
          </p:nvPr>
        </p:nvSpPr>
        <p:spPr>
          <a:xfrm>
            <a:off x="733025" y="836916"/>
            <a:ext cx="96865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>
                <a:solidFill>
                  <a:schemeClr val="accent2"/>
                </a:solidFill>
              </a:rPr>
              <a:t>A podcast for safety professionals and in-house counsel responsible for workplace safety and health legal issues, including OSHA inspections, citations, litigation, and regulatory actions.</a:t>
            </a:r>
          </a:p>
        </p:txBody>
      </p:sp>
    </p:spTree>
    <p:extLst>
      <p:ext uri="{BB962C8B-B14F-4D97-AF65-F5344CB8AC3E}">
        <p14:creationId xmlns:p14="http://schemas.microsoft.com/office/powerpoint/2010/main" val="2976321653"/>
      </p:ext>
    </p:extLst>
  </p:cSld>
  <p:clrMapOvr>
    <a:masterClrMapping/>
  </p:clrMapOvr>
  <p:transition/>
  <p:timing/>
</p:sld>
</file>

<file path=ppt/slides/slide4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3554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/>
          </a:bodyPr>
          <a:lstStyle/>
          <a:p>
            <a:pPr algn="ctr"/>
            <a:r>
              <a:rPr lang="en-US" altLang="en-US" sz="4800"/>
              <a:t>Federal OSHA and State Plans</a:t>
            </a:r>
          </a:p>
        </p:txBody>
      </p:sp>
      <p:pic>
        <p:nvPicPr>
          <p:cNvPr id="23555" name="Picture 2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38400" y="1374915"/>
            <a:ext cx="7518400" cy="4614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>
            <p:custDataLst>
              <p:tags r:id="rId7"/>
            </p:custDataLst>
          </p:nvPr>
        </p:nvSpPr>
        <p:spPr>
          <a:xfrm>
            <a:off x="250723" y="6356555"/>
            <a:ext cx="37018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https://www.osha.gov/stateplans/</a:t>
            </a:r>
          </a:p>
        </p:txBody>
      </p:sp>
    </p:spTree>
    <p:extLst>
      <p:ext uri="{BB962C8B-B14F-4D97-AF65-F5344CB8AC3E}">
        <p14:creationId xmlns:p14="http://schemas.microsoft.com/office/powerpoint/2010/main" val="2256714546"/>
      </p:ext>
    </p:extLst>
  </p:cSld>
  <p:clrMapOvr>
    <a:masterClrMapping/>
  </p:clrMapOvr>
  <mc:AlternateContent>
    <mc:Choice xmlns:p14="http://schemas.microsoft.com/office/powerpoint/2010/main" Requires="p14">
      <p:transition advClick="0" p14:dur="0"/>
    </mc:Choice>
    <mc:Fallback>
      <p:transition advClick="0"/>
    </mc:Fallback>
  </mc:AlternateContent>
  <p:timing/>
</p:sld>
</file>

<file path=ppt/slides/slide40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33450" y="173672"/>
            <a:ext cx="9187760" cy="764820"/>
          </a:xfrm>
        </p:spPr>
        <p:txBody>
          <a:bodyPr>
            <a:normAutofit/>
          </a:bodyPr>
          <a:lstStyle/>
          <a:p>
            <a:r>
              <a:rPr lang="en-US" sz="4000" b="0"/>
              <a:t>LINKEDIN POSTINGS ON OSHA TOPICS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  <p:custDataLst>
              <p:tags r:id="rId6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6755646" y="1556492"/>
            <a:ext cx="5257576" cy="2408664"/>
          </a:xfrm>
          <a:prstGeom prst="rect">
            <a:avLst/>
          </a:prstGeom>
        </p:spPr>
      </p:pic>
      <p:sp>
        <p:nvSpPr>
          <p:cNvPr id="6" name="TextBox 5"/>
          <p:cNvSpPr txBox="1"/>
          <p:nvPr>
            <p:custDataLst>
              <p:tags r:id="rId7"/>
            </p:custDataLst>
          </p:nvPr>
        </p:nvSpPr>
        <p:spPr>
          <a:xfrm>
            <a:off x="808717" y="1742306"/>
            <a:ext cx="462763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891" indent="-342891">
              <a:buFont typeface="Arial" panose="020b0604020202020204" pitchFamily="34" charset="0"/>
              <a:buChar char="•"/>
            </a:pPr>
            <a:r>
              <a:rPr lang="en-US" sz="2600"/>
              <a:t>Inspections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en-US" sz="2600"/>
              <a:t>Citations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en-US" sz="2600"/>
              <a:t>Informal settlement conferences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en-US" sz="2600"/>
              <a:t>Contesting citations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en-US" sz="2600"/>
              <a:t>Litigating citations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en-US" sz="2600"/>
              <a:t>OSHRC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en-US" sz="2600"/>
              <a:t>OSHA regulatory updates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en-US" sz="2600"/>
              <a:t>Enforcement trends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en-US" sz="2600"/>
              <a:t>Policy and people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endParaRPr lang="en-US" sz="2000"/>
          </a:p>
        </p:txBody>
      </p:sp>
      <p:pic>
        <p:nvPicPr>
          <p:cNvPr id="8" name="Picture 2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6071" y="5068150"/>
            <a:ext cx="1160912" cy="8662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extBox 135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27060" y="6068223"/>
            <a:ext cx="501992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spAutoFit/>
          </a:bodyPr>
          <a:lstStyle>
            <a:lvl1pPr>
              <a:spcBef>
                <a:spcPct val="20000"/>
              </a:spcBef>
              <a:buClr>
                <a:srgbClr val="000000"/>
              </a:buClr>
              <a:buSzPct val="70000"/>
              <a:buFont typeface="Wingdings" panose="05000000000000000000" pitchFamily="2" charset="2"/>
              <a:buChar char="n"/>
              <a:defRPr kumimoji="1" sz="2000">
                <a:solidFill>
                  <a:srgbClr val="00000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0000"/>
              </a:buClr>
              <a:buSzPct val="70000"/>
              <a:buFont typeface="Wingdings" panose="05000000000000000000" pitchFamily="2" charset="2"/>
              <a:buChar char="l"/>
              <a:defRPr kumimoji="1" sz="2600">
                <a:solidFill>
                  <a:srgbClr val="00000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0000"/>
              </a:buClr>
              <a:buSzPct val="70000"/>
              <a:buFont typeface="Wingdings" panose="05000000000000000000" pitchFamily="2" charset="2"/>
              <a:buChar char="n"/>
              <a:defRPr kumimoji="1" sz="2000">
                <a:solidFill>
                  <a:srgbClr val="00000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0000"/>
              </a:buClr>
              <a:buSzPct val="70000"/>
              <a:buFont typeface="Wingdings" panose="05000000000000000000" pitchFamily="2" charset="2"/>
              <a:buChar char="n"/>
              <a:defRPr kumimoji="1">
                <a:solidFill>
                  <a:srgbClr val="000000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0000"/>
              </a:buClr>
              <a:buSzPct val="70000"/>
              <a:buFont typeface="Wingdings" panose="05000000000000000000" pitchFamily="2" charset="2"/>
              <a:buChar char="n"/>
              <a:defRPr kumimoji="1" sz="1600">
                <a:solidFill>
                  <a:srgbClr val="000000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Wingdings" panose="05000000000000000000" pitchFamily="2" charset="2"/>
              <a:buChar char="n"/>
              <a:defRPr kumimoji="1" sz="1600">
                <a:solidFill>
                  <a:srgbClr val="000000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Wingdings" panose="05000000000000000000" pitchFamily="2" charset="2"/>
              <a:buChar char="n"/>
              <a:defRPr kumimoji="1" sz="1600">
                <a:solidFill>
                  <a:srgbClr val="000000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Wingdings" panose="05000000000000000000" pitchFamily="2" charset="2"/>
              <a:buChar char="n"/>
              <a:defRPr kumimoji="1" sz="1600">
                <a:solidFill>
                  <a:srgbClr val="000000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70000"/>
              <a:buFont typeface="Wingdings" panose="05000000000000000000" pitchFamily="2" charset="2"/>
              <a:buChar char="n"/>
              <a:defRPr kumimoji="1" sz="1600">
                <a:solidFill>
                  <a:srgbClr val="000000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2800">
                <a:solidFill>
                  <a:srgbClr val="002060"/>
                </a:solidFill>
                <a:latin typeface="Arial" panose="020b0604020202020204" pitchFamily="34" charset="0"/>
              </a:rPr>
              <a:t>linkedin.com/in/phillipbrussell</a:t>
            </a:r>
            <a:r>
              <a:rPr lang="en-US" altLang="en-US" sz="280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7692377"/>
      </p:ext>
    </p:extLst>
  </p:cSld>
  <p:clrMapOvr>
    <a:masterClrMapping/>
  </p:clrMapOvr>
  <p:transition/>
  <p:timing/>
</p:sld>
</file>

<file path=ppt/slides/slide41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53CB61B-961D-42AB-15A3-FF3397FC246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483583" y="411161"/>
            <a:ext cx="4324349" cy="5600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4E6211A-2FB1-1FB8-41A3-6EB5A03F931C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908050" y="411163"/>
            <a:ext cx="4333873" cy="5600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828819"/>
      </p:ext>
    </p:extLst>
  </p:cSld>
  <p:clrMapOvr>
    <a:masterClrMapping/>
  </p:clrMapOvr>
  <p:transition/>
  <p:timing/>
</p:sld>
</file>

<file path=ppt/slides/slide42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Thank you!</a:t>
            </a:r>
          </a:p>
        </p:txBody>
      </p:sp>
      <p:sp>
        <p:nvSpPr>
          <p:cNvPr id="3" name="Rectangle 2"/>
          <p:cNvSpPr/>
          <p:nvPr>
            <p:custDataLst>
              <p:tags r:id="rId5"/>
            </p:custDataLst>
          </p:nvPr>
        </p:nvSpPr>
        <p:spPr>
          <a:xfrm>
            <a:off x="575852" y="2059033"/>
            <a:ext cx="368182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>
                <a:solidFill>
                  <a:schemeClr val="bg1"/>
                </a:solidFill>
              </a:rPr>
              <a:t>Phillip B. Russell</a:t>
            </a:r>
          </a:p>
        </p:txBody>
      </p:sp>
      <p:sp>
        <p:nvSpPr>
          <p:cNvPr id="4" name="Content Placeholder 2"/>
          <p:cNvSpPr txBox="1"/>
          <p:nvPr>
            <p:custDataLst>
              <p:tags r:id="rId6"/>
            </p:custDataLst>
          </p:nvPr>
        </p:nvSpPr>
        <p:spPr>
          <a:xfrm>
            <a:off x="575852" y="2865877"/>
            <a:ext cx="4612373" cy="360334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>
                <a:solidFill>
                  <a:schemeClr val="bg1"/>
                </a:solidFill>
              </a:rPr>
              <a:t>Ogletree Deakins Nash Smoak &amp; Stewart PC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>
                <a:solidFill>
                  <a:schemeClr val="bg1"/>
                </a:solidFill>
              </a:rPr>
              <a:t>100 North Tampa Street, Suite 3600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>
                <a:solidFill>
                  <a:schemeClr val="bg1"/>
                </a:solidFill>
              </a:rPr>
              <a:t>Tampa, FL 33602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>
                <a:solidFill>
                  <a:schemeClr val="bg1"/>
                </a:solidFill>
              </a:rPr>
              <a:t>phillip.russell@ogletree.com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>
                <a:solidFill>
                  <a:schemeClr val="bg1"/>
                </a:solidFill>
              </a:rPr>
              <a:t>(813) 966-6598 (cell)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26989"/>
      </p:ext>
    </p:extLst>
  </p:cSld>
  <p:clrMapOvr>
    <a:masterClrMapping/>
  </p:clrMapOvr>
  <p:transition/>
  <p:timing/>
</p:sld>
</file>

<file path=ppt/slides/slide5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C89DA7-795A-60BE-48A1-4252B5408C5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Who is Cover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9010DF-2221-1A34-7053-5845C2705982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en-US" sz="2800" b="0" i="0">
                <a:solidFill>
                  <a:srgbClr val="222222"/>
                </a:solidFill>
                <a:effectLst/>
              </a:rPr>
              <a:t>The Occupational Safety and Health Act of 1970 (OSH Act) is administered by the Occupational Safety and Health Administration (OSHA). </a:t>
            </a:r>
          </a:p>
          <a:p>
            <a:r>
              <a:rPr lang="en-US" sz="2800" b="0" i="0">
                <a:solidFill>
                  <a:srgbClr val="222222"/>
                </a:solidFill>
                <a:effectLst/>
              </a:rPr>
              <a:t>The OSH Act covers most private sector employers and their employees in the 50 states, the District of Columbia, Puerto Rico, and other U.S. territories. </a:t>
            </a:r>
          </a:p>
          <a:p>
            <a:r>
              <a:rPr lang="en-US" sz="2800" b="0" i="0">
                <a:solidFill>
                  <a:srgbClr val="222222"/>
                </a:solidFill>
                <a:effectLst/>
              </a:rPr>
              <a:t>Coverage is provided either directly by the Federal OSHA or by an OSHA-approved state job safety and health plan.</a:t>
            </a:r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1902283694"/>
      </p:ext>
    </p:extLst>
  </p:cSld>
  <p:clrMapOvr>
    <a:masterClrMapping/>
  </p:clrMapOvr>
  <p:transition advClick="0"/>
  <p:timing/>
</p:sld>
</file>

<file path=ppt/slides/slide6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CBA347-0849-3D79-6885-C570249BE9C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OSHA Re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42A695-98F0-103D-43F0-878921B78790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en-US" sz="2800"/>
              <a:t>What they are and where they come from</a:t>
            </a:r>
          </a:p>
          <a:p>
            <a:r>
              <a:rPr lang="en-US" sz="2800"/>
              <a:t>Function</a:t>
            </a:r>
          </a:p>
          <a:p>
            <a:r>
              <a:rPr lang="en-US" sz="2800"/>
              <a:t>Investigation &amp;  Enforcement</a:t>
            </a:r>
          </a:p>
          <a:p>
            <a:r>
              <a:rPr lang="en-US" sz="2800"/>
              <a:t>Recognizing key regulations</a:t>
            </a:r>
          </a:p>
          <a:p>
            <a:r>
              <a:rPr lang="en-US" sz="2800"/>
              <a:t>Remembering the catch-all</a:t>
            </a:r>
          </a:p>
        </p:txBody>
      </p:sp>
    </p:spTree>
    <p:extLst>
      <p:ext uri="{BB962C8B-B14F-4D97-AF65-F5344CB8AC3E}">
        <p14:creationId xmlns:p14="http://schemas.microsoft.com/office/powerpoint/2010/main" val="2727049069"/>
      </p:ext>
    </p:extLst>
  </p:cSld>
  <p:clrMapOvr>
    <a:masterClrMapping/>
  </p:clrMapOvr>
  <p:transition/>
  <p:timing/>
</p:sld>
</file>

<file path=ppt/slides/slide7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796112-FEB7-DAB0-241A-0946C0148B1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Basic Provisions/Requir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F070BD-D2CE-B732-A7D5-2F6B3FF2F3E9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b="0" i="0">
                <a:solidFill>
                  <a:srgbClr val="222222"/>
                </a:solidFill>
                <a:effectLst/>
              </a:rPr>
              <a:t>The Act assigns OSHA two regulatory functions: setting standards and conducting inspections to ensure that employers are providing safe and healthful workplaces. </a:t>
            </a:r>
          </a:p>
          <a:p>
            <a:r>
              <a:rPr lang="en-US" b="0" i="0">
                <a:solidFill>
                  <a:srgbClr val="222222"/>
                </a:solidFill>
                <a:effectLst/>
              </a:rPr>
              <a:t>Standards are grouped into four major categories: general industry (29 CFR 1910); construction (29 CFR 1926); maritime (shipyards, marine terminals, longshoring) (29 CFR 1915-19); and agriculture (29 CFR 1928)</a:t>
            </a:r>
            <a:r>
              <a:rPr lang="en-US" b="0" i="0">
                <a:solidFill>
                  <a:srgbClr val="222222"/>
                </a:solidFill>
                <a:effectLst/>
                <a:latin typeface="Helvetica Neue"/>
              </a:rPr>
              <a:t>.</a:t>
            </a:r>
          </a:p>
          <a:p>
            <a:r>
              <a:rPr lang="en-US" b="0" i="0">
                <a:solidFill>
                  <a:srgbClr val="222222"/>
                </a:solidFill>
                <a:effectLst/>
              </a:rPr>
              <a:t>The Act grants employees several important rights. Among them are the right to file a complaint with OSHA about safety and health conditions in their workplaces</a:t>
            </a:r>
          </a:p>
          <a:p>
            <a:r>
              <a:rPr lang="en-US" b="0" i="0">
                <a:solidFill>
                  <a:srgbClr val="222222"/>
                </a:solidFill>
                <a:effectLst/>
              </a:rPr>
              <a:t>Private sector employees who exercise their rights under OSHA can be protected against employer reprisal, as described in Section 11(c) of the OSH Act.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7309E3-57A1-D6C8-AC5F-69DA56D52A4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82EE24B5-652C-4DB5-B7C3-B5BBEC1280B1}" type="slidenum">
              <a:rPr lang="en-US" noProof="0" smtClean="0"/>
              <a:t>7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04205634"/>
      </p:ext>
    </p:extLst>
  </p:cSld>
  <p:clrMapOvr>
    <a:masterClrMapping/>
  </p:clrMapOvr>
  <p:transition/>
  <p:timing/>
</p:sld>
</file>

<file path=ppt/slides/slide8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7946DF-AA9B-EEEC-D152-99C5CF29FE6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Key Standard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E72D30-4775-C480-5D91-DFF36E7002AF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/>
              <a:t>Paper” Rules</a:t>
            </a:r>
          </a:p>
          <a:p>
            <a:pPr lvl="1"/>
            <a:r>
              <a:rPr lang="en-US"/>
              <a:t>Recording/Reporting, Policies, Training, Discipline</a:t>
            </a:r>
          </a:p>
          <a:p>
            <a:r>
              <a:rPr lang="en-US"/>
              <a:t>Behavior Rules</a:t>
            </a:r>
          </a:p>
          <a:p>
            <a:pPr lvl="1"/>
            <a:r>
              <a:rPr lang="en-US"/>
              <a:t>Employee practices and behavior</a:t>
            </a:r>
          </a:p>
          <a:p>
            <a:r>
              <a:rPr lang="en-US"/>
              <a:t>Facility Rules</a:t>
            </a:r>
          </a:p>
          <a:p>
            <a:pPr lvl="1"/>
            <a:r>
              <a:rPr lang="en-US"/>
              <a:t>Machine Guards, Walking Surfaces</a:t>
            </a:r>
          </a:p>
          <a:p>
            <a:r>
              <a:rPr lang="en-US"/>
              <a:t>Equipment Rules</a:t>
            </a:r>
          </a:p>
          <a:p>
            <a:pPr lvl="1"/>
            <a:r>
              <a:rPr lang="en-US"/>
              <a:t>PPE, Fall Protection, Respiratory Protection</a:t>
            </a:r>
          </a:p>
          <a:p>
            <a:r>
              <a:rPr lang="en-US"/>
              <a:t>Machine/Vehicle Rules</a:t>
            </a:r>
          </a:p>
          <a:p>
            <a:pPr lvl="1"/>
            <a:r>
              <a:rPr lang="en-US"/>
              <a:t>LO/TO, Confined Spaces, Forklifts/PITs</a:t>
            </a:r>
          </a:p>
          <a:p>
            <a:r>
              <a:rPr lang="en-US"/>
              <a:t>Exposure Rules</a:t>
            </a:r>
          </a:p>
          <a:p>
            <a:pPr lvl="1"/>
            <a:r>
              <a:rPr lang="en-US"/>
              <a:t>MSDS, Contact/Inhalation, Temperature, Sound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412762"/>
      </p:ext>
    </p:extLst>
  </p:cSld>
  <p:clrMapOvr>
    <a:masterClrMapping/>
  </p:clrMapOvr>
  <p:transition/>
  <p:timing/>
</p:sld>
</file>

<file path=ppt/slides/slide9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92B1D-56B7-91B1-25FB-3C119FC62AA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General Duty Clau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0F189D-B801-B3E6-7AC3-5321A8D0876A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en-US" sz="2800"/>
              <a:t>Existence of a condition that is a recognized hazard.</a:t>
            </a:r>
          </a:p>
          <a:p>
            <a:pPr lvl="1"/>
            <a:r>
              <a:rPr lang="en-US" sz="2800"/>
              <a:t>Employer’s own knowledge</a:t>
            </a:r>
          </a:p>
          <a:p>
            <a:r>
              <a:rPr lang="en-US" sz="2800"/>
              <a:t>Condition is one that is causing or is likely to cause serious harm or death. </a:t>
            </a:r>
          </a:p>
          <a:p>
            <a:pPr lvl="1"/>
            <a:r>
              <a:rPr lang="en-US" sz="2800"/>
              <a:t>Must be serious</a:t>
            </a:r>
          </a:p>
          <a:p>
            <a:pPr lvl="1"/>
            <a:r>
              <a:rPr lang="en-US" sz="2800"/>
              <a:t>Industry or common knowledge</a:t>
            </a:r>
          </a:p>
          <a:p>
            <a:r>
              <a:rPr lang="en-US" sz="2800"/>
              <a:t>Feasible means of abatement exist.</a:t>
            </a:r>
          </a:p>
        </p:txBody>
      </p:sp>
    </p:spTree>
    <p:extLst>
      <p:ext uri="{BB962C8B-B14F-4D97-AF65-F5344CB8AC3E}">
        <p14:creationId xmlns:p14="http://schemas.microsoft.com/office/powerpoint/2010/main" val="4212358485"/>
      </p:ext>
    </p:extLst>
  </p:cSld>
  <p:clrMapOvr>
    <a:masterClrMapping/>
  </p:clrMapOvr>
  <p:transition/>
  <p:timing/>
</p:sld>
</file>

<file path=ppt/tags/tag1.xml><?xml version="1.0" encoding="utf-8"?>
<p:tagLst xmlns:p="http://schemas.openxmlformats.org/presentationml/2006/main">
  <p:tag name="AS_UNIQUEID" val="2918"/>
</p:tagLst>
</file>

<file path=ppt/tags/tag10.xml><?xml version="1.0" encoding="utf-8"?>
<p:tagLst xmlns:p="http://schemas.openxmlformats.org/presentationml/2006/main">
  <p:tag name="AS_UNIQUEID" val="2927"/>
</p:tagLst>
</file>

<file path=ppt/tags/tag100.xml><?xml version="1.0" encoding="utf-8"?>
<p:tagLst xmlns:p="http://schemas.openxmlformats.org/presentationml/2006/main">
  <p:tag name="AS_UNIQUEID" val="3017"/>
</p:tagLst>
</file>

<file path=ppt/tags/tag101.xml><?xml version="1.0" encoding="utf-8"?>
<p:tagLst xmlns:p="http://schemas.openxmlformats.org/presentationml/2006/main">
  <p:tag name="AS_UNIQUEID" val="3018"/>
</p:tagLst>
</file>

<file path=ppt/tags/tag102.xml><?xml version="1.0" encoding="utf-8"?>
<p:tagLst xmlns:p="http://schemas.openxmlformats.org/presentationml/2006/main">
  <p:tag name="AS_UNIQUEID" val="3019"/>
</p:tagLst>
</file>

<file path=ppt/tags/tag103.xml><?xml version="1.0" encoding="utf-8"?>
<p:tagLst xmlns:p="http://schemas.openxmlformats.org/presentationml/2006/main">
  <p:tag name="AS_UNIQUEID" val="3020"/>
</p:tagLst>
</file>

<file path=ppt/tags/tag104.xml><?xml version="1.0" encoding="utf-8"?>
<p:tagLst xmlns:p="http://schemas.openxmlformats.org/presentationml/2006/main">
  <p:tag name="AS_UNIQUEID" val="3021"/>
</p:tagLst>
</file>

<file path=ppt/tags/tag105.xml><?xml version="1.0" encoding="utf-8"?>
<p:tagLst xmlns:p="http://schemas.openxmlformats.org/presentationml/2006/main">
  <p:tag name="AS_UNIQUEID" val="3022"/>
</p:tagLst>
</file>

<file path=ppt/tags/tag106.xml><?xml version="1.0" encoding="utf-8"?>
<p:tagLst xmlns:p="http://schemas.openxmlformats.org/presentationml/2006/main">
  <p:tag name="AS_UNIQUEID" val="3023"/>
</p:tagLst>
</file>

<file path=ppt/tags/tag107.xml><?xml version="1.0" encoding="utf-8"?>
<p:tagLst xmlns:p="http://schemas.openxmlformats.org/presentationml/2006/main">
  <p:tag name="AS_UNIQUEID" val="3024"/>
</p:tagLst>
</file>

<file path=ppt/tags/tag108.xml><?xml version="1.0" encoding="utf-8"?>
<p:tagLst xmlns:p="http://schemas.openxmlformats.org/presentationml/2006/main">
  <p:tag name="AS_UNIQUEID" val="3025"/>
</p:tagLst>
</file>

<file path=ppt/tags/tag109.xml><?xml version="1.0" encoding="utf-8"?>
<p:tagLst xmlns:p="http://schemas.openxmlformats.org/presentationml/2006/main">
  <p:tag name="AS_UNIQUEID" val="3026"/>
</p:tagLst>
</file>

<file path=ppt/tags/tag11.xml><?xml version="1.0" encoding="utf-8"?>
<p:tagLst xmlns:p="http://schemas.openxmlformats.org/presentationml/2006/main">
  <p:tag name="AS_UNIQUEID" val="2928"/>
</p:tagLst>
</file>

<file path=ppt/tags/tag110.xml><?xml version="1.0" encoding="utf-8"?>
<p:tagLst xmlns:p="http://schemas.openxmlformats.org/presentationml/2006/main">
  <p:tag name="AS_UNIQUEID" val="3027"/>
</p:tagLst>
</file>

<file path=ppt/tags/tag111.xml><?xml version="1.0" encoding="utf-8"?>
<p:tagLst xmlns:p="http://schemas.openxmlformats.org/presentationml/2006/main">
  <p:tag name="AS_UNIQUEID" val="3028"/>
</p:tagLst>
</file>

<file path=ppt/tags/tag112.xml><?xml version="1.0" encoding="utf-8"?>
<p:tagLst xmlns:p="http://schemas.openxmlformats.org/presentationml/2006/main">
  <p:tag name="AS_UNIQUEID" val="3029"/>
</p:tagLst>
</file>

<file path=ppt/tags/tag113.xml><?xml version="1.0" encoding="utf-8"?>
<p:tagLst xmlns:p="http://schemas.openxmlformats.org/presentationml/2006/main">
  <p:tag name="AS_UNIQUEID" val="3030"/>
</p:tagLst>
</file>

<file path=ppt/tags/tag114.xml><?xml version="1.0" encoding="utf-8"?>
<p:tagLst xmlns:p="http://schemas.openxmlformats.org/presentationml/2006/main">
  <p:tag name="AS_UNIQUEID" val="3031"/>
</p:tagLst>
</file>

<file path=ppt/tags/tag115.xml><?xml version="1.0" encoding="utf-8"?>
<p:tagLst xmlns:p="http://schemas.openxmlformats.org/presentationml/2006/main">
  <p:tag name="AS_UNIQUEID" val="3032"/>
</p:tagLst>
</file>

<file path=ppt/tags/tag116.xml><?xml version="1.0" encoding="utf-8"?>
<p:tagLst xmlns:p="http://schemas.openxmlformats.org/presentationml/2006/main">
  <p:tag name="AS_UNIQUEID" val="3033"/>
</p:tagLst>
</file>

<file path=ppt/tags/tag117.xml><?xml version="1.0" encoding="utf-8"?>
<p:tagLst xmlns:p="http://schemas.openxmlformats.org/presentationml/2006/main">
  <p:tag name="AS_UNIQUEID" val="3034"/>
</p:tagLst>
</file>

<file path=ppt/tags/tag118.xml><?xml version="1.0" encoding="utf-8"?>
<p:tagLst xmlns:p="http://schemas.openxmlformats.org/presentationml/2006/main">
  <p:tag name="AS_UNIQUEID" val="3035"/>
</p:tagLst>
</file>

<file path=ppt/tags/tag119.xml><?xml version="1.0" encoding="utf-8"?>
<p:tagLst xmlns:p="http://schemas.openxmlformats.org/presentationml/2006/main">
  <p:tag name="AS_UNIQUEID" val="3036"/>
</p:tagLst>
</file>

<file path=ppt/tags/tag12.xml><?xml version="1.0" encoding="utf-8"?>
<p:tagLst xmlns:p="http://schemas.openxmlformats.org/presentationml/2006/main">
  <p:tag name="AS_UNIQUEID" val="2929"/>
</p:tagLst>
</file>

<file path=ppt/tags/tag120.xml><?xml version="1.0" encoding="utf-8"?>
<p:tagLst xmlns:p="http://schemas.openxmlformats.org/presentationml/2006/main">
  <p:tag name="AS_UNIQUEID" val="3037"/>
</p:tagLst>
</file>

<file path=ppt/tags/tag121.xml><?xml version="1.0" encoding="utf-8"?>
<p:tagLst xmlns:p="http://schemas.openxmlformats.org/presentationml/2006/main">
  <p:tag name="AS_UNIQUEID" val="3038"/>
</p:tagLst>
</file>

<file path=ppt/tags/tag122.xml><?xml version="1.0" encoding="utf-8"?>
<p:tagLst xmlns:p="http://schemas.openxmlformats.org/presentationml/2006/main">
  <p:tag name="AS_UNIQUEID" val="3039"/>
</p:tagLst>
</file>

<file path=ppt/tags/tag123.xml><?xml version="1.0" encoding="utf-8"?>
<p:tagLst xmlns:p="http://schemas.openxmlformats.org/presentationml/2006/main">
  <p:tag name="AS_UNIQUEID" val="3040"/>
</p:tagLst>
</file>

<file path=ppt/tags/tag124.xml><?xml version="1.0" encoding="utf-8"?>
<p:tagLst xmlns:p="http://schemas.openxmlformats.org/presentationml/2006/main">
  <p:tag name="AS_UNIQUEID" val="3041"/>
</p:tagLst>
</file>

<file path=ppt/tags/tag125.xml><?xml version="1.0" encoding="utf-8"?>
<p:tagLst xmlns:p="http://schemas.openxmlformats.org/presentationml/2006/main">
  <p:tag name="AS_UNIQUEID" val="3042"/>
</p:tagLst>
</file>

<file path=ppt/tags/tag126.xml><?xml version="1.0" encoding="utf-8"?>
<p:tagLst xmlns:p="http://schemas.openxmlformats.org/presentationml/2006/main">
  <p:tag name="AS_UNIQUEID" val="3043"/>
</p:tagLst>
</file>

<file path=ppt/tags/tag127.xml><?xml version="1.0" encoding="utf-8"?>
<p:tagLst xmlns:p="http://schemas.openxmlformats.org/presentationml/2006/main">
  <p:tag name="AS_UNIQUEID" val="3044"/>
</p:tagLst>
</file>

<file path=ppt/tags/tag128.xml><?xml version="1.0" encoding="utf-8"?>
<p:tagLst xmlns:p="http://schemas.openxmlformats.org/presentationml/2006/main">
  <p:tag name="AS_UNIQUEID" val="3045"/>
</p:tagLst>
</file>

<file path=ppt/tags/tag129.xml><?xml version="1.0" encoding="utf-8"?>
<p:tagLst xmlns:p="http://schemas.openxmlformats.org/presentationml/2006/main">
  <p:tag name="AS_UNIQUEID" val="3046"/>
</p:tagLst>
</file>

<file path=ppt/tags/tag13.xml><?xml version="1.0" encoding="utf-8"?>
<p:tagLst xmlns:p="http://schemas.openxmlformats.org/presentationml/2006/main">
  <p:tag name="AS_UNIQUEID" val="2930"/>
</p:tagLst>
</file>

<file path=ppt/tags/tag130.xml><?xml version="1.0" encoding="utf-8"?>
<p:tagLst xmlns:p="http://schemas.openxmlformats.org/presentationml/2006/main">
  <p:tag name="AS_UNIQUEID" val="3047"/>
</p:tagLst>
</file>

<file path=ppt/tags/tag131.xml><?xml version="1.0" encoding="utf-8"?>
<p:tagLst xmlns:p="http://schemas.openxmlformats.org/presentationml/2006/main">
  <p:tag name="AS_UNIQUEID" val="3048"/>
</p:tagLst>
</file>

<file path=ppt/tags/tag132.xml><?xml version="1.0" encoding="utf-8"?>
<p:tagLst xmlns:p="http://schemas.openxmlformats.org/presentationml/2006/main">
  <p:tag name="AS_UNIQUEID" val="3049"/>
</p:tagLst>
</file>

<file path=ppt/tags/tag133.xml><?xml version="1.0" encoding="utf-8"?>
<p:tagLst xmlns:p="http://schemas.openxmlformats.org/presentationml/2006/main">
  <p:tag name="AS_UNIQUEID" val="3050"/>
</p:tagLst>
</file>

<file path=ppt/tags/tag134.xml><?xml version="1.0" encoding="utf-8"?>
<p:tagLst xmlns:p="http://schemas.openxmlformats.org/presentationml/2006/main">
  <p:tag name="AS_UNIQUEID" val="3051"/>
</p:tagLst>
</file>

<file path=ppt/tags/tag135.xml><?xml version="1.0" encoding="utf-8"?>
<p:tagLst xmlns:p="http://schemas.openxmlformats.org/presentationml/2006/main">
  <p:tag name="AS_UNIQUEID" val="3052"/>
</p:tagLst>
</file>

<file path=ppt/tags/tag136.xml><?xml version="1.0" encoding="utf-8"?>
<p:tagLst xmlns:p="http://schemas.openxmlformats.org/presentationml/2006/main">
  <p:tag name="AS_UNIQUEID" val="3053"/>
</p:tagLst>
</file>

<file path=ppt/tags/tag137.xml><?xml version="1.0" encoding="utf-8"?>
<p:tagLst xmlns:p="http://schemas.openxmlformats.org/presentationml/2006/main">
  <p:tag name="AS_UNIQUEID" val="3054"/>
</p:tagLst>
</file>

<file path=ppt/tags/tag138.xml><?xml version="1.0" encoding="utf-8"?>
<p:tagLst xmlns:p="http://schemas.openxmlformats.org/presentationml/2006/main">
  <p:tag name="AS_UNIQUEID" val="3055"/>
</p:tagLst>
</file>

<file path=ppt/tags/tag139.xml><?xml version="1.0" encoding="utf-8"?>
<p:tagLst xmlns:p="http://schemas.openxmlformats.org/presentationml/2006/main">
  <p:tag name="AS_UNIQUEID" val="3056"/>
</p:tagLst>
</file>

<file path=ppt/tags/tag14.xml><?xml version="1.0" encoding="utf-8"?>
<p:tagLst xmlns:p="http://schemas.openxmlformats.org/presentationml/2006/main">
  <p:tag name="AS_UNIQUEID" val="2931"/>
</p:tagLst>
</file>

<file path=ppt/tags/tag140.xml><?xml version="1.0" encoding="utf-8"?>
<p:tagLst xmlns:p="http://schemas.openxmlformats.org/presentationml/2006/main">
  <p:tag name="AS_UNIQUEID" val="3057"/>
</p:tagLst>
</file>

<file path=ppt/tags/tag141.xml><?xml version="1.0" encoding="utf-8"?>
<p:tagLst xmlns:p="http://schemas.openxmlformats.org/presentationml/2006/main">
  <p:tag name="AS_UNIQUEID" val="3058"/>
</p:tagLst>
</file>

<file path=ppt/tags/tag142.xml><?xml version="1.0" encoding="utf-8"?>
<p:tagLst xmlns:p="http://schemas.openxmlformats.org/presentationml/2006/main">
  <p:tag name="AS_UNIQUEID" val="3059"/>
</p:tagLst>
</file>

<file path=ppt/tags/tag143.xml><?xml version="1.0" encoding="utf-8"?>
<p:tagLst xmlns:p="http://schemas.openxmlformats.org/presentationml/2006/main">
  <p:tag name="AS_UNIQUEID" val="3060"/>
</p:tagLst>
</file>

<file path=ppt/tags/tag144.xml><?xml version="1.0" encoding="utf-8"?>
<p:tagLst xmlns:p="http://schemas.openxmlformats.org/presentationml/2006/main">
  <p:tag name="AS_UNIQUEID" val="3061"/>
</p:tagLst>
</file>

<file path=ppt/tags/tag145.xml><?xml version="1.0" encoding="utf-8"?>
<p:tagLst xmlns:p="http://schemas.openxmlformats.org/presentationml/2006/main">
  <p:tag name="AS_UNIQUEID" val="3062"/>
</p:tagLst>
</file>

<file path=ppt/tags/tag146.xml><?xml version="1.0" encoding="utf-8"?>
<p:tagLst xmlns:p="http://schemas.openxmlformats.org/presentationml/2006/main">
  <p:tag name="AS_UNIQUEID" val="3063"/>
</p:tagLst>
</file>

<file path=ppt/tags/tag147.xml><?xml version="1.0" encoding="utf-8"?>
<p:tagLst xmlns:p="http://schemas.openxmlformats.org/presentationml/2006/main">
  <p:tag name="AS_UNIQUEID" val="3064"/>
</p:tagLst>
</file>

<file path=ppt/tags/tag148.xml><?xml version="1.0" encoding="utf-8"?>
<p:tagLst xmlns:p="http://schemas.openxmlformats.org/presentationml/2006/main">
  <p:tag name="AS_UNIQUEID" val="3065"/>
</p:tagLst>
</file>

<file path=ppt/tags/tag149.xml><?xml version="1.0" encoding="utf-8"?>
<p:tagLst xmlns:p="http://schemas.openxmlformats.org/presentationml/2006/main">
  <p:tag name="AS_UNIQUEID" val="3066"/>
</p:tagLst>
</file>

<file path=ppt/tags/tag15.xml><?xml version="1.0" encoding="utf-8"?>
<p:tagLst xmlns:p="http://schemas.openxmlformats.org/presentationml/2006/main">
  <p:tag name="AS_UNIQUEID" val="2932"/>
</p:tagLst>
</file>

<file path=ppt/tags/tag150.xml><?xml version="1.0" encoding="utf-8"?>
<p:tagLst xmlns:p="http://schemas.openxmlformats.org/presentationml/2006/main">
  <p:tag name="AS_UNIQUEID" val="3067"/>
</p:tagLst>
</file>

<file path=ppt/tags/tag151.xml><?xml version="1.0" encoding="utf-8"?>
<p:tagLst xmlns:p="http://schemas.openxmlformats.org/presentationml/2006/main">
  <p:tag name="AS_UNIQUEID" val="3068"/>
</p:tagLst>
</file>

<file path=ppt/tags/tag152.xml><?xml version="1.0" encoding="utf-8"?>
<p:tagLst xmlns:p="http://schemas.openxmlformats.org/presentationml/2006/main">
  <p:tag name="AS_UNIQUEID" val="3069"/>
</p:tagLst>
</file>

<file path=ppt/tags/tag153.xml><?xml version="1.0" encoding="utf-8"?>
<p:tagLst xmlns:p="http://schemas.openxmlformats.org/presentationml/2006/main">
  <p:tag name="AS_UNIQUEID" val="3070"/>
</p:tagLst>
</file>

<file path=ppt/tags/tag154.xml><?xml version="1.0" encoding="utf-8"?>
<p:tagLst xmlns:p="http://schemas.openxmlformats.org/presentationml/2006/main">
  <p:tag name="AS_UNIQUEID" val="3071"/>
</p:tagLst>
</file>

<file path=ppt/tags/tag155.xml><?xml version="1.0" encoding="utf-8"?>
<p:tagLst xmlns:p="http://schemas.openxmlformats.org/presentationml/2006/main">
  <p:tag name="AS_UNIQUEID" val="3072"/>
</p:tagLst>
</file>

<file path=ppt/tags/tag156.xml><?xml version="1.0" encoding="utf-8"?>
<p:tagLst xmlns:p="http://schemas.openxmlformats.org/presentationml/2006/main">
  <p:tag name="AS_UNIQUEID" val="3073"/>
</p:tagLst>
</file>

<file path=ppt/tags/tag157.xml><?xml version="1.0" encoding="utf-8"?>
<p:tagLst xmlns:p="http://schemas.openxmlformats.org/presentationml/2006/main">
  <p:tag name="AS_UNIQUEID" val="3074"/>
</p:tagLst>
</file>

<file path=ppt/tags/tag158.xml><?xml version="1.0" encoding="utf-8"?>
<p:tagLst xmlns:p="http://schemas.openxmlformats.org/presentationml/2006/main">
  <p:tag name="AS_UNIQUEID" val="3075"/>
</p:tagLst>
</file>

<file path=ppt/tags/tag159.xml><?xml version="1.0" encoding="utf-8"?>
<p:tagLst xmlns:p="http://schemas.openxmlformats.org/presentationml/2006/main">
  <p:tag name="AS_UNIQUEID" val="3076"/>
</p:tagLst>
</file>

<file path=ppt/tags/tag16.xml><?xml version="1.0" encoding="utf-8"?>
<p:tagLst xmlns:p="http://schemas.openxmlformats.org/presentationml/2006/main">
  <p:tag name="AS_UNIQUEID" val="2933"/>
</p:tagLst>
</file>

<file path=ppt/tags/tag160.xml><?xml version="1.0" encoding="utf-8"?>
<p:tagLst xmlns:p="http://schemas.openxmlformats.org/presentationml/2006/main">
  <p:tag name="AS_UNIQUEID" val="3077"/>
</p:tagLst>
</file>

<file path=ppt/tags/tag161.xml><?xml version="1.0" encoding="utf-8"?>
<p:tagLst xmlns:p="http://schemas.openxmlformats.org/presentationml/2006/main">
  <p:tag name="AS_UNIQUEID" val="3078"/>
</p:tagLst>
</file>

<file path=ppt/tags/tag162.xml><?xml version="1.0" encoding="utf-8"?>
<p:tagLst xmlns:p="http://schemas.openxmlformats.org/presentationml/2006/main">
  <p:tag name="AS_UNIQUEID" val="3079"/>
</p:tagLst>
</file>

<file path=ppt/tags/tag163.xml><?xml version="1.0" encoding="utf-8"?>
<p:tagLst xmlns:p="http://schemas.openxmlformats.org/presentationml/2006/main">
  <p:tag name="AS_UNIQUEID" val="3080"/>
</p:tagLst>
</file>

<file path=ppt/tags/tag164.xml><?xml version="1.0" encoding="utf-8"?>
<p:tagLst xmlns:p="http://schemas.openxmlformats.org/presentationml/2006/main">
  <p:tag name="AS_UNIQUEID" val="3081"/>
</p:tagLst>
</file>

<file path=ppt/tags/tag165.xml><?xml version="1.0" encoding="utf-8"?>
<p:tagLst xmlns:p="http://schemas.openxmlformats.org/presentationml/2006/main">
  <p:tag name="AS_UNIQUEID" val="3082"/>
</p:tagLst>
</file>

<file path=ppt/tags/tag166.xml><?xml version="1.0" encoding="utf-8"?>
<p:tagLst xmlns:p="http://schemas.openxmlformats.org/presentationml/2006/main">
  <p:tag name="AS_UNIQUEID" val="3083"/>
</p:tagLst>
</file>

<file path=ppt/tags/tag167.xml><?xml version="1.0" encoding="utf-8"?>
<p:tagLst xmlns:p="http://schemas.openxmlformats.org/presentationml/2006/main">
  <p:tag name="AS_UNIQUEID" val="3084"/>
</p:tagLst>
</file>

<file path=ppt/tags/tag168.xml><?xml version="1.0" encoding="utf-8"?>
<p:tagLst xmlns:p="http://schemas.openxmlformats.org/presentationml/2006/main">
  <p:tag name="AS_UNIQUEID" val="3085"/>
</p:tagLst>
</file>

<file path=ppt/tags/tag169.xml><?xml version="1.0" encoding="utf-8"?>
<p:tagLst xmlns:p="http://schemas.openxmlformats.org/presentationml/2006/main">
  <p:tag name="AS_UNIQUEID" val="3086"/>
</p:tagLst>
</file>

<file path=ppt/tags/tag17.xml><?xml version="1.0" encoding="utf-8"?>
<p:tagLst xmlns:p="http://schemas.openxmlformats.org/presentationml/2006/main">
  <p:tag name="AS_UNIQUEID" val="2934"/>
</p:tagLst>
</file>

<file path=ppt/tags/tag170.xml><?xml version="1.0" encoding="utf-8"?>
<p:tagLst xmlns:p="http://schemas.openxmlformats.org/presentationml/2006/main">
  <p:tag name="AS_UNIQUEID" val="3087"/>
</p:tagLst>
</file>

<file path=ppt/tags/tag171.xml><?xml version="1.0" encoding="utf-8"?>
<p:tagLst xmlns:p="http://schemas.openxmlformats.org/presentationml/2006/main">
  <p:tag name="AS_UNIQUEID" val="3088"/>
</p:tagLst>
</file>

<file path=ppt/tags/tag172.xml><?xml version="1.0" encoding="utf-8"?>
<p:tagLst xmlns:p="http://schemas.openxmlformats.org/presentationml/2006/main">
  <p:tag name="AS_UNIQUEID" val="3089"/>
</p:tagLst>
</file>

<file path=ppt/tags/tag173.xml><?xml version="1.0" encoding="utf-8"?>
<p:tagLst xmlns:p="http://schemas.openxmlformats.org/presentationml/2006/main">
  <p:tag name="AS_UNIQUEID" val="3090"/>
</p:tagLst>
</file>

<file path=ppt/tags/tag174.xml><?xml version="1.0" encoding="utf-8"?>
<p:tagLst xmlns:p="http://schemas.openxmlformats.org/presentationml/2006/main">
  <p:tag name="AS_UNIQUEID" val="3091"/>
</p:tagLst>
</file>

<file path=ppt/tags/tag175.xml><?xml version="1.0" encoding="utf-8"?>
<p:tagLst xmlns:p="http://schemas.openxmlformats.org/presentationml/2006/main">
  <p:tag name="AS_UNIQUEID" val="3092"/>
</p:tagLst>
</file>

<file path=ppt/tags/tag176.xml><?xml version="1.0" encoding="utf-8"?>
<p:tagLst xmlns:p="http://schemas.openxmlformats.org/presentationml/2006/main">
  <p:tag name="AS_UNIQUEID" val="3093"/>
</p:tagLst>
</file>

<file path=ppt/tags/tag177.xml><?xml version="1.0" encoding="utf-8"?>
<p:tagLst xmlns:p="http://schemas.openxmlformats.org/presentationml/2006/main">
  <p:tag name="AS_UNIQUEID" val="3094"/>
</p:tagLst>
</file>

<file path=ppt/tags/tag178.xml><?xml version="1.0" encoding="utf-8"?>
<p:tagLst xmlns:p="http://schemas.openxmlformats.org/presentationml/2006/main">
  <p:tag name="AS_UNIQUEID" val="3095"/>
</p:tagLst>
</file>

<file path=ppt/tags/tag179.xml><?xml version="1.0" encoding="utf-8"?>
<p:tagLst xmlns:p="http://schemas.openxmlformats.org/presentationml/2006/main">
  <p:tag name="AS_UNIQUEID" val="3096"/>
</p:tagLst>
</file>

<file path=ppt/tags/tag18.xml><?xml version="1.0" encoding="utf-8"?>
<p:tagLst xmlns:p="http://schemas.openxmlformats.org/presentationml/2006/main">
  <p:tag name="AS_UNIQUEID" val="2935"/>
</p:tagLst>
</file>

<file path=ppt/tags/tag180.xml><?xml version="1.0" encoding="utf-8"?>
<p:tagLst xmlns:p="http://schemas.openxmlformats.org/presentationml/2006/main">
  <p:tag name="AS_UNIQUEID" val="3097"/>
</p:tagLst>
</file>

<file path=ppt/tags/tag181.xml><?xml version="1.0" encoding="utf-8"?>
<p:tagLst xmlns:p="http://schemas.openxmlformats.org/presentationml/2006/main">
  <p:tag name="AS_UNIQUEID" val="3098"/>
</p:tagLst>
</file>

<file path=ppt/tags/tag182.xml><?xml version="1.0" encoding="utf-8"?>
<p:tagLst xmlns:p="http://schemas.openxmlformats.org/presentationml/2006/main">
  <p:tag name="AS_UNIQUEID" val="3099"/>
</p:tagLst>
</file>

<file path=ppt/tags/tag183.xml><?xml version="1.0" encoding="utf-8"?>
<p:tagLst xmlns:p="http://schemas.openxmlformats.org/presentationml/2006/main">
  <p:tag name="AS_UNIQUEID" val="3100"/>
</p:tagLst>
</file>

<file path=ppt/tags/tag184.xml><?xml version="1.0" encoding="utf-8"?>
<p:tagLst xmlns:p="http://schemas.openxmlformats.org/presentationml/2006/main">
  <p:tag name="AS_UNIQUEID" val="3101"/>
</p:tagLst>
</file>

<file path=ppt/tags/tag185.xml><?xml version="1.0" encoding="utf-8"?>
<p:tagLst xmlns:p="http://schemas.openxmlformats.org/presentationml/2006/main">
  <p:tag name="AS_UNIQUEID" val="3102"/>
</p:tagLst>
</file>

<file path=ppt/tags/tag186.xml><?xml version="1.0" encoding="utf-8"?>
<p:tagLst xmlns:p="http://schemas.openxmlformats.org/presentationml/2006/main">
  <p:tag name="AS_UNIQUEID" val="3103"/>
</p:tagLst>
</file>

<file path=ppt/tags/tag187.xml><?xml version="1.0" encoding="utf-8"?>
<p:tagLst xmlns:p="http://schemas.openxmlformats.org/presentationml/2006/main">
  <p:tag name="AS_UNIQUEID" val="3104"/>
</p:tagLst>
</file>

<file path=ppt/tags/tag188.xml><?xml version="1.0" encoding="utf-8"?>
<p:tagLst xmlns:p="http://schemas.openxmlformats.org/presentationml/2006/main">
  <p:tag name="AS_UNIQUEID" val="3105"/>
</p:tagLst>
</file>

<file path=ppt/tags/tag189.xml><?xml version="1.0" encoding="utf-8"?>
<p:tagLst xmlns:p="http://schemas.openxmlformats.org/presentationml/2006/main">
  <p:tag name="AS_UNIQUEID" val="3106"/>
</p:tagLst>
</file>

<file path=ppt/tags/tag19.xml><?xml version="1.0" encoding="utf-8"?>
<p:tagLst xmlns:p="http://schemas.openxmlformats.org/presentationml/2006/main">
  <p:tag name="AS_UNIQUEID" val="2936"/>
</p:tagLst>
</file>

<file path=ppt/tags/tag190.xml><?xml version="1.0" encoding="utf-8"?>
<p:tagLst xmlns:p="http://schemas.openxmlformats.org/presentationml/2006/main">
  <p:tag name="AS_UNIQUEID" val="3107"/>
</p:tagLst>
</file>

<file path=ppt/tags/tag191.xml><?xml version="1.0" encoding="utf-8"?>
<p:tagLst xmlns:p="http://schemas.openxmlformats.org/presentationml/2006/main">
  <p:tag name="AS_UNIQUEID" val="3108"/>
</p:tagLst>
</file>

<file path=ppt/tags/tag192.xml><?xml version="1.0" encoding="utf-8"?>
<p:tagLst xmlns:p="http://schemas.openxmlformats.org/presentationml/2006/main">
  <p:tag name="AS_UNIQUEID" val="3109"/>
</p:tagLst>
</file>

<file path=ppt/tags/tag193.xml><?xml version="1.0" encoding="utf-8"?>
<p:tagLst xmlns:p="http://schemas.openxmlformats.org/presentationml/2006/main">
  <p:tag name="AS_UNIQUEID" val="3110"/>
</p:tagLst>
</file>

<file path=ppt/tags/tag194.xml><?xml version="1.0" encoding="utf-8"?>
<p:tagLst xmlns:p="http://schemas.openxmlformats.org/presentationml/2006/main">
  <p:tag name="AS_UNIQUEID" val="3111"/>
</p:tagLst>
</file>

<file path=ppt/tags/tag195.xml><?xml version="1.0" encoding="utf-8"?>
<p:tagLst xmlns:p="http://schemas.openxmlformats.org/presentationml/2006/main">
  <p:tag name="AS_UNIQUEID" val="3112"/>
</p:tagLst>
</file>

<file path=ppt/tags/tag196.xml><?xml version="1.0" encoding="utf-8"?>
<p:tagLst xmlns:p="http://schemas.openxmlformats.org/presentationml/2006/main">
  <p:tag name="AS_UNIQUEID" val="3113"/>
</p:tagLst>
</file>

<file path=ppt/tags/tag197.xml><?xml version="1.0" encoding="utf-8"?>
<p:tagLst xmlns:p="http://schemas.openxmlformats.org/presentationml/2006/main">
  <p:tag name="AS_UNIQUEID" val="3114"/>
</p:tagLst>
</file>

<file path=ppt/tags/tag198.xml><?xml version="1.0" encoding="utf-8"?>
<p:tagLst xmlns:p="http://schemas.openxmlformats.org/presentationml/2006/main">
  <p:tag name="AS_UNIQUEID" val="3115"/>
</p:tagLst>
</file>

<file path=ppt/tags/tag199.xml><?xml version="1.0" encoding="utf-8"?>
<p:tagLst xmlns:p="http://schemas.openxmlformats.org/presentationml/2006/main">
  <p:tag name="AS_UNIQUEID" val="3116"/>
</p:tagLst>
</file>

<file path=ppt/tags/tag2.xml><?xml version="1.0" encoding="utf-8"?>
<p:tagLst xmlns:p="http://schemas.openxmlformats.org/presentationml/2006/main">
  <p:tag name="AS_UNIQUEID" val="2919"/>
</p:tagLst>
</file>

<file path=ppt/tags/tag20.xml><?xml version="1.0" encoding="utf-8"?>
<p:tagLst xmlns:p="http://schemas.openxmlformats.org/presentationml/2006/main">
  <p:tag name="AS_UNIQUEID" val="2937"/>
</p:tagLst>
</file>

<file path=ppt/tags/tag200.xml><?xml version="1.0" encoding="utf-8"?>
<p:tagLst xmlns:p="http://schemas.openxmlformats.org/presentationml/2006/main">
  <p:tag name="AS_UNIQUEID" val="3117"/>
</p:tagLst>
</file>

<file path=ppt/tags/tag201.xml><?xml version="1.0" encoding="utf-8"?>
<p:tagLst xmlns:p="http://schemas.openxmlformats.org/presentationml/2006/main">
  <p:tag name="AS_UNIQUEID" val="3118"/>
</p:tagLst>
</file>

<file path=ppt/tags/tag202.xml><?xml version="1.0" encoding="utf-8"?>
<p:tagLst xmlns:p="http://schemas.openxmlformats.org/presentationml/2006/main">
  <p:tag name="AS_UNIQUEID" val="3119"/>
</p:tagLst>
</file>

<file path=ppt/tags/tag203.xml><?xml version="1.0" encoding="utf-8"?>
<p:tagLst xmlns:p="http://schemas.openxmlformats.org/presentationml/2006/main">
  <p:tag name="AS_UNIQUEID" val="3120"/>
</p:tagLst>
</file>

<file path=ppt/tags/tag204.xml><?xml version="1.0" encoding="utf-8"?>
<p:tagLst xmlns:p="http://schemas.openxmlformats.org/presentationml/2006/main">
  <p:tag name="AS_UNIQUEID" val="3121"/>
</p:tagLst>
</file>

<file path=ppt/tags/tag205.xml><?xml version="1.0" encoding="utf-8"?>
<p:tagLst xmlns:p="http://schemas.openxmlformats.org/presentationml/2006/main">
  <p:tag name="AS_UNIQUEID" val="3122"/>
</p:tagLst>
</file>

<file path=ppt/tags/tag206.xml><?xml version="1.0" encoding="utf-8"?>
<p:tagLst xmlns:p="http://schemas.openxmlformats.org/presentationml/2006/main">
  <p:tag name="AS_UNIQUEID" val="3123"/>
</p:tagLst>
</file>

<file path=ppt/tags/tag207.xml><?xml version="1.0" encoding="utf-8"?>
<p:tagLst xmlns:p="http://schemas.openxmlformats.org/presentationml/2006/main">
  <p:tag name="AS_UNIQUEID" val="3124"/>
</p:tagLst>
</file>

<file path=ppt/tags/tag208.xml><?xml version="1.0" encoding="utf-8"?>
<p:tagLst xmlns:p="http://schemas.openxmlformats.org/presentationml/2006/main">
  <p:tag name="AS_UNIQUEID" val="3125"/>
</p:tagLst>
</file>

<file path=ppt/tags/tag209.xml><?xml version="1.0" encoding="utf-8"?>
<p:tagLst xmlns:p="http://schemas.openxmlformats.org/presentationml/2006/main">
  <p:tag name="AS_UNIQUEID" val="3126"/>
</p:tagLst>
</file>

<file path=ppt/tags/tag21.xml><?xml version="1.0" encoding="utf-8"?>
<p:tagLst xmlns:p="http://schemas.openxmlformats.org/presentationml/2006/main">
  <p:tag name="AS_UNIQUEID" val="2938"/>
</p:tagLst>
</file>

<file path=ppt/tags/tag210.xml><?xml version="1.0" encoding="utf-8"?>
<p:tagLst xmlns:p="http://schemas.openxmlformats.org/presentationml/2006/main">
  <p:tag name="AS_UNIQUEID" val="3127"/>
</p:tagLst>
</file>

<file path=ppt/tags/tag211.xml><?xml version="1.0" encoding="utf-8"?>
<p:tagLst xmlns:p="http://schemas.openxmlformats.org/presentationml/2006/main">
  <p:tag name="AS_UNIQUEID" val="3128"/>
</p:tagLst>
</file>

<file path=ppt/tags/tag212.xml><?xml version="1.0" encoding="utf-8"?>
<p:tagLst xmlns:p="http://schemas.openxmlformats.org/presentationml/2006/main">
  <p:tag name="AS_UNIQUEID" val="3129"/>
</p:tagLst>
</file>

<file path=ppt/tags/tag213.xml><?xml version="1.0" encoding="utf-8"?>
<p:tagLst xmlns:p="http://schemas.openxmlformats.org/presentationml/2006/main">
  <p:tag name="AS_UNIQUEID" val="3130"/>
</p:tagLst>
</file>

<file path=ppt/tags/tag214.xml><?xml version="1.0" encoding="utf-8"?>
<p:tagLst xmlns:p="http://schemas.openxmlformats.org/presentationml/2006/main">
  <p:tag name="AS_UNIQUEID" val="3131"/>
</p:tagLst>
</file>

<file path=ppt/tags/tag215.xml><?xml version="1.0" encoding="utf-8"?>
<p:tagLst xmlns:p="http://schemas.openxmlformats.org/presentationml/2006/main">
  <p:tag name="AS_UNIQUEID" val="3132"/>
</p:tagLst>
</file>

<file path=ppt/tags/tag216.xml><?xml version="1.0" encoding="utf-8"?>
<p:tagLst xmlns:p="http://schemas.openxmlformats.org/presentationml/2006/main">
  <p:tag name="AS_UNIQUEID" val="3133"/>
</p:tagLst>
</file>

<file path=ppt/tags/tag217.xml><?xml version="1.0" encoding="utf-8"?>
<p:tagLst xmlns:p="http://schemas.openxmlformats.org/presentationml/2006/main">
  <p:tag name="AS_UNIQUEID" val="3134"/>
</p:tagLst>
</file>

<file path=ppt/tags/tag218.xml><?xml version="1.0" encoding="utf-8"?>
<p:tagLst xmlns:p="http://schemas.openxmlformats.org/presentationml/2006/main">
  <p:tag name="AS_UNIQUEID" val="3135"/>
</p:tagLst>
</file>

<file path=ppt/tags/tag219.xml><?xml version="1.0" encoding="utf-8"?>
<p:tagLst xmlns:p="http://schemas.openxmlformats.org/presentationml/2006/main">
  <p:tag name="AS_UNIQUEID" val="3136"/>
</p:tagLst>
</file>

<file path=ppt/tags/tag22.xml><?xml version="1.0" encoding="utf-8"?>
<p:tagLst xmlns:p="http://schemas.openxmlformats.org/presentationml/2006/main">
  <p:tag name="AS_UNIQUEID" val="2939"/>
  <p:tag name="THINKCELLSHAPEDONOTDELETE" val="thinkcellActiveDocDoNotDelete"/>
</p:tagLst>
</file>

<file path=ppt/tags/tag220.xml><?xml version="1.0" encoding="utf-8"?>
<p:tagLst xmlns:p="http://schemas.openxmlformats.org/presentationml/2006/main">
  <p:tag name="AS_UNIQUEID" val="3137"/>
</p:tagLst>
</file>

<file path=ppt/tags/tag221.xml><?xml version="1.0" encoding="utf-8"?>
<p:tagLst xmlns:p="http://schemas.openxmlformats.org/presentationml/2006/main">
  <p:tag name="AS_UNIQUEID" val="3138"/>
</p:tagLst>
</file>

<file path=ppt/tags/tag222.xml><?xml version="1.0" encoding="utf-8"?>
<p:tagLst xmlns:p="http://schemas.openxmlformats.org/presentationml/2006/main">
  <p:tag name="AS_UNIQUEID" val="3139"/>
</p:tagLst>
</file>

<file path=ppt/tags/tag223.xml><?xml version="1.0" encoding="utf-8"?>
<p:tagLst xmlns:p="http://schemas.openxmlformats.org/presentationml/2006/main">
  <p:tag name="AS_UNIQUEID" val="3140"/>
</p:tagLst>
</file>

<file path=ppt/tags/tag224.xml><?xml version="1.0" encoding="utf-8"?>
<p:tagLst xmlns:p="http://schemas.openxmlformats.org/presentationml/2006/main">
  <p:tag name="AS_UNIQUEID" val="3141"/>
</p:tagLst>
</file>

<file path=ppt/tags/tag225.xml><?xml version="1.0" encoding="utf-8"?>
<p:tagLst xmlns:p="http://schemas.openxmlformats.org/presentationml/2006/main">
  <p:tag name="AS_UNIQUEID" val="3142"/>
</p:tagLst>
</file>

<file path=ppt/tags/tag226.xml><?xml version="1.0" encoding="utf-8"?>
<p:tagLst xmlns:p="http://schemas.openxmlformats.org/presentationml/2006/main">
  <p:tag name="AS_UNIQUEID" val="3143"/>
</p:tagLst>
</file>

<file path=ppt/tags/tag227.xml><?xml version="1.0" encoding="utf-8"?>
<p:tagLst xmlns:p="http://schemas.openxmlformats.org/presentationml/2006/main">
  <p:tag name="AS_UNIQUEID" val="3144"/>
</p:tagLst>
</file>

<file path=ppt/tags/tag228.xml><?xml version="1.0" encoding="utf-8"?>
<p:tagLst xmlns:p="http://schemas.openxmlformats.org/presentationml/2006/main">
  <p:tag name="AS_UNIQUEID" val="3145"/>
</p:tagLst>
</file>

<file path=ppt/tags/tag229.xml><?xml version="1.0" encoding="utf-8"?>
<p:tagLst xmlns:p="http://schemas.openxmlformats.org/presentationml/2006/main">
  <p:tag name="AS_UNIQUEID" val="3146"/>
</p:tagLst>
</file>

<file path=ppt/tags/tag23.xml><?xml version="1.0" encoding="utf-8"?>
<p:tagLst xmlns:p="http://schemas.openxmlformats.org/presentationml/2006/main">
  <p:tag name="AS_UNIQUEID" val="2940"/>
</p:tagLst>
</file>

<file path=ppt/tags/tag230.xml><?xml version="1.0" encoding="utf-8"?>
<p:tagLst xmlns:p="http://schemas.openxmlformats.org/presentationml/2006/main">
  <p:tag name="AS_UNIQUEID" val="3147"/>
</p:tagLst>
</file>

<file path=ppt/tags/tag231.xml><?xml version="1.0" encoding="utf-8"?>
<p:tagLst xmlns:p="http://schemas.openxmlformats.org/presentationml/2006/main">
  <p:tag name="AS_UNIQUEID" val="3148"/>
</p:tagLst>
</file>

<file path=ppt/tags/tag232.xml><?xml version="1.0" encoding="utf-8"?>
<p:tagLst xmlns:p="http://schemas.openxmlformats.org/presentationml/2006/main">
  <p:tag name="AS_UNIQUEID" val="3149"/>
</p:tagLst>
</file>

<file path=ppt/tags/tag233.xml><?xml version="1.0" encoding="utf-8"?>
<p:tagLst xmlns:p="http://schemas.openxmlformats.org/presentationml/2006/main">
  <p:tag name="AS_UNIQUEID" val="3150"/>
</p:tagLst>
</file>

<file path=ppt/tags/tag234.xml><?xml version="1.0" encoding="utf-8"?>
<p:tagLst xmlns:p="http://schemas.openxmlformats.org/presentationml/2006/main">
  <p:tag name="AS_UNIQUEID" val="3151"/>
</p:tagLst>
</file>

<file path=ppt/tags/tag235.xml><?xml version="1.0" encoding="utf-8"?>
<p:tagLst xmlns:p="http://schemas.openxmlformats.org/presentationml/2006/main">
  <p:tag name="AS_UNIQUEID" val="3152"/>
</p:tagLst>
</file>

<file path=ppt/tags/tag236.xml><?xml version="1.0" encoding="utf-8"?>
<p:tagLst xmlns:p="http://schemas.openxmlformats.org/presentationml/2006/main">
  <p:tag name="AS_UNIQUEID" val="3153"/>
</p:tagLst>
</file>

<file path=ppt/tags/tag237.xml><?xml version="1.0" encoding="utf-8"?>
<p:tagLst xmlns:p="http://schemas.openxmlformats.org/presentationml/2006/main">
  <p:tag name="AS_UNIQUEID" val="3154"/>
</p:tagLst>
</file>

<file path=ppt/tags/tag238.xml><?xml version="1.0" encoding="utf-8"?>
<p:tagLst xmlns:p="http://schemas.openxmlformats.org/presentationml/2006/main">
  <p:tag name="AS_UNIQUEID" val="3155"/>
</p:tagLst>
</file>

<file path=ppt/tags/tag239.xml><?xml version="1.0" encoding="utf-8"?>
<p:tagLst xmlns:p="http://schemas.openxmlformats.org/presentationml/2006/main">
  <p:tag name="AS_UNIQUEID" val="3156"/>
</p:tagLst>
</file>

<file path=ppt/tags/tag24.xml><?xml version="1.0" encoding="utf-8"?>
<p:tagLst xmlns:p="http://schemas.openxmlformats.org/presentationml/2006/main">
  <p:tag name="AS_UNIQUEID" val="2941"/>
</p:tagLst>
</file>

<file path=ppt/tags/tag240.xml><?xml version="1.0" encoding="utf-8"?>
<p:tagLst xmlns:p="http://schemas.openxmlformats.org/presentationml/2006/main">
  <p:tag name="AS_UNIQUEID" val="3157"/>
</p:tagLst>
</file>

<file path=ppt/tags/tag241.xml><?xml version="1.0" encoding="utf-8"?>
<p:tagLst xmlns:p="http://schemas.openxmlformats.org/presentationml/2006/main">
  <p:tag name="AS_UNIQUEID" val="3158"/>
</p:tagLst>
</file>

<file path=ppt/tags/tag242.xml><?xml version="1.0" encoding="utf-8"?>
<p:tagLst xmlns:p="http://schemas.openxmlformats.org/presentationml/2006/main">
  <p:tag name="AS_UNIQUEID" val="3159"/>
</p:tagLst>
</file>

<file path=ppt/tags/tag243.xml><?xml version="1.0" encoding="utf-8"?>
<p:tagLst xmlns:p="http://schemas.openxmlformats.org/presentationml/2006/main">
  <p:tag name="AS_UNIQUEID" val="3160"/>
</p:tagLst>
</file>

<file path=ppt/tags/tag244.xml><?xml version="1.0" encoding="utf-8"?>
<p:tagLst xmlns:p="http://schemas.openxmlformats.org/presentationml/2006/main">
  <p:tag name="AS_UNIQUEID" val="3161"/>
</p:tagLst>
</file>

<file path=ppt/tags/tag245.xml><?xml version="1.0" encoding="utf-8"?>
<p:tagLst xmlns:p="http://schemas.openxmlformats.org/presentationml/2006/main">
  <p:tag name="AS_UNIQUEID" val="3162"/>
</p:tagLst>
</file>

<file path=ppt/tags/tag246.xml><?xml version="1.0" encoding="utf-8"?>
<p:tagLst xmlns:p="http://schemas.openxmlformats.org/presentationml/2006/main">
  <p:tag name="AS_UNIQUEID" val="3163"/>
</p:tagLst>
</file>

<file path=ppt/tags/tag247.xml><?xml version="1.0" encoding="utf-8"?>
<p:tagLst xmlns:p="http://schemas.openxmlformats.org/presentationml/2006/main">
  <p:tag name="AS_UNIQUEID" val="3164"/>
</p:tagLst>
</file>

<file path=ppt/tags/tag248.xml><?xml version="1.0" encoding="utf-8"?>
<p:tagLst xmlns:p="http://schemas.openxmlformats.org/presentationml/2006/main">
  <p:tag name="AS_UNIQUEID" val="3165"/>
</p:tagLst>
</file>

<file path=ppt/tags/tag249.xml><?xml version="1.0" encoding="utf-8"?>
<p:tagLst xmlns:p="http://schemas.openxmlformats.org/presentationml/2006/main">
  <p:tag name="AS_UNIQUEID" val="3166"/>
</p:tagLst>
</file>

<file path=ppt/tags/tag25.xml><?xml version="1.0" encoding="utf-8"?>
<p:tagLst xmlns:p="http://schemas.openxmlformats.org/presentationml/2006/main">
  <p:tag name="AS_UNIQUEID" val="2942"/>
</p:tagLst>
</file>

<file path=ppt/tags/tag250.xml><?xml version="1.0" encoding="utf-8"?>
<p:tagLst xmlns:p="http://schemas.openxmlformats.org/presentationml/2006/main">
  <p:tag name="AS_UNIQUEID" val="3167"/>
</p:tagLst>
</file>

<file path=ppt/tags/tag251.xml><?xml version="1.0" encoding="utf-8"?>
<p:tagLst xmlns:p="http://schemas.openxmlformats.org/presentationml/2006/main">
  <p:tag name="AS_UNIQUEID" val="3168"/>
</p:tagLst>
</file>

<file path=ppt/tags/tag252.xml><?xml version="1.0" encoding="utf-8"?>
<p:tagLst xmlns:p="http://schemas.openxmlformats.org/presentationml/2006/main">
  <p:tag name="AS_UNIQUEID" val="3169"/>
</p:tagLst>
</file>

<file path=ppt/tags/tag253.xml><?xml version="1.0" encoding="utf-8"?>
<p:tagLst xmlns:p="http://schemas.openxmlformats.org/presentationml/2006/main">
  <p:tag name="AS_UNIQUEID" val="3170"/>
</p:tagLst>
</file>

<file path=ppt/tags/tag254.xml><?xml version="1.0" encoding="utf-8"?>
<p:tagLst xmlns:p="http://schemas.openxmlformats.org/presentationml/2006/main">
  <p:tag name="AS_UNIQUEID" val="3171"/>
</p:tagLst>
</file>

<file path=ppt/tags/tag255.xml><?xml version="1.0" encoding="utf-8"?>
<p:tagLst xmlns:p="http://schemas.openxmlformats.org/presentationml/2006/main">
  <p:tag name="AS_UNIQUEID" val="3172"/>
</p:tagLst>
</file>

<file path=ppt/tags/tag256.xml><?xml version="1.0" encoding="utf-8"?>
<p:tagLst xmlns:p="http://schemas.openxmlformats.org/presentationml/2006/main">
  <p:tag name="AS_UNIQUEID" val="3173"/>
</p:tagLst>
</file>

<file path=ppt/tags/tag257.xml><?xml version="1.0" encoding="utf-8"?>
<p:tagLst xmlns:p="http://schemas.openxmlformats.org/presentationml/2006/main">
  <p:tag name="AS_UNIQUEID" val="3174"/>
</p:tagLst>
</file>

<file path=ppt/tags/tag258.xml><?xml version="1.0" encoding="utf-8"?>
<p:tagLst xmlns:p="http://schemas.openxmlformats.org/presentationml/2006/main">
  <p:tag name="AS_UNIQUEID" val="3175"/>
</p:tagLst>
</file>

<file path=ppt/tags/tag259.xml><?xml version="1.0" encoding="utf-8"?>
<p:tagLst xmlns:p="http://schemas.openxmlformats.org/presentationml/2006/main">
  <p:tag name="AS_UNIQUEID" val="3176"/>
</p:tagLst>
</file>

<file path=ppt/tags/tag26.xml><?xml version="1.0" encoding="utf-8"?>
<p:tagLst xmlns:p="http://schemas.openxmlformats.org/presentationml/2006/main">
  <p:tag name="AS_UNIQUEID" val="2943"/>
</p:tagLst>
</file>

<file path=ppt/tags/tag260.xml><?xml version="1.0" encoding="utf-8"?>
<p:tagLst xmlns:p="http://schemas.openxmlformats.org/presentationml/2006/main">
  <p:tag name="AS_UNIQUEID" val="3177"/>
</p:tagLst>
</file>

<file path=ppt/tags/tag261.xml><?xml version="1.0" encoding="utf-8"?>
<p:tagLst xmlns:p="http://schemas.openxmlformats.org/presentationml/2006/main">
  <p:tag name="AS_UNIQUEID" val="3178"/>
</p:tagLst>
</file>

<file path=ppt/tags/tag262.xml><?xml version="1.0" encoding="utf-8"?>
<p:tagLst xmlns:p="http://schemas.openxmlformats.org/presentationml/2006/main">
  <p:tag name="AS_UNIQUEID" val="3179"/>
</p:tagLst>
</file>

<file path=ppt/tags/tag263.xml><?xml version="1.0" encoding="utf-8"?>
<p:tagLst xmlns:p="http://schemas.openxmlformats.org/presentationml/2006/main">
  <p:tag name="AS_UNIQUEID" val="3180"/>
</p:tagLst>
</file>

<file path=ppt/tags/tag264.xml><?xml version="1.0" encoding="utf-8"?>
<p:tagLst xmlns:p="http://schemas.openxmlformats.org/presentationml/2006/main">
  <p:tag name="AS_UNIQUEID" val="3181"/>
</p:tagLst>
</file>

<file path=ppt/tags/tag265.xml><?xml version="1.0" encoding="utf-8"?>
<p:tagLst xmlns:p="http://schemas.openxmlformats.org/presentationml/2006/main">
  <p:tag name="AS_UNIQUEID" val="3182"/>
</p:tagLst>
</file>

<file path=ppt/tags/tag266.xml><?xml version="1.0" encoding="utf-8"?>
<p:tagLst xmlns:p="http://schemas.openxmlformats.org/presentationml/2006/main">
  <p:tag name="AS_UNIQUEID" val="3183"/>
</p:tagLst>
</file>

<file path=ppt/tags/tag267.xml><?xml version="1.0" encoding="utf-8"?>
<p:tagLst xmlns:p="http://schemas.openxmlformats.org/presentationml/2006/main">
  <p:tag name="AS_UNIQUEID" val="3184"/>
</p:tagLst>
</file>

<file path=ppt/tags/tag268.xml><?xml version="1.0" encoding="utf-8"?>
<p:tagLst xmlns:p="http://schemas.openxmlformats.org/presentationml/2006/main">
  <p:tag name="AS_UNIQUEID" val="3185"/>
</p:tagLst>
</file>

<file path=ppt/tags/tag269.xml><?xml version="1.0" encoding="utf-8"?>
<p:tagLst xmlns:p="http://schemas.openxmlformats.org/presentationml/2006/main">
  <p:tag name="AS_UNIQUEID" val="3186"/>
</p:tagLst>
</file>

<file path=ppt/tags/tag27.xml><?xml version="1.0" encoding="utf-8"?>
<p:tagLst xmlns:p="http://schemas.openxmlformats.org/presentationml/2006/main">
  <p:tag name="AS_UNIQUEID" val="2944"/>
</p:tagLst>
</file>

<file path=ppt/tags/tag270.xml><?xml version="1.0" encoding="utf-8"?>
<p:tagLst xmlns:p="http://schemas.openxmlformats.org/presentationml/2006/main">
  <p:tag name="AS_UNIQUEID" val="3187"/>
</p:tagLst>
</file>

<file path=ppt/tags/tag271.xml><?xml version="1.0" encoding="utf-8"?>
<p:tagLst xmlns:p="http://schemas.openxmlformats.org/presentationml/2006/main">
  <p:tag name="AS_UNIQUEID" val="3188"/>
</p:tagLst>
</file>

<file path=ppt/tags/tag272.xml><?xml version="1.0" encoding="utf-8"?>
<p:tagLst xmlns:p="http://schemas.openxmlformats.org/presentationml/2006/main">
  <p:tag name="AS_UNIQUEID" val="3189"/>
</p:tagLst>
</file>

<file path=ppt/tags/tag273.xml><?xml version="1.0" encoding="utf-8"?>
<p:tagLst xmlns:p="http://schemas.openxmlformats.org/presentationml/2006/main">
  <p:tag name="AS_UNIQUEID" val="3190"/>
</p:tagLst>
</file>

<file path=ppt/tags/tag274.xml><?xml version="1.0" encoding="utf-8"?>
<p:tagLst xmlns:p="http://schemas.openxmlformats.org/presentationml/2006/main">
  <p:tag name="AS_UNIQUEID" val="3191"/>
</p:tagLst>
</file>

<file path=ppt/tags/tag275.xml><?xml version="1.0" encoding="utf-8"?>
<p:tagLst xmlns:p="http://schemas.openxmlformats.org/presentationml/2006/main">
  <p:tag name="AS_UNIQUEID" val="3192"/>
</p:tagLst>
</file>

<file path=ppt/tags/tag276.xml><?xml version="1.0" encoding="utf-8"?>
<p:tagLst xmlns:p="http://schemas.openxmlformats.org/presentationml/2006/main">
  <p:tag name="AS_UNIQUEID" val="3193"/>
</p:tagLst>
</file>

<file path=ppt/tags/tag277.xml><?xml version="1.0" encoding="utf-8"?>
<p:tagLst xmlns:p="http://schemas.openxmlformats.org/presentationml/2006/main">
  <p:tag name="AS_UNIQUEID" val="3194"/>
</p:tagLst>
</file>

<file path=ppt/tags/tag278.xml><?xml version="1.0" encoding="utf-8"?>
<p:tagLst xmlns:p="http://schemas.openxmlformats.org/presentationml/2006/main">
  <p:tag name="AS_UNIQUEID" val="3195"/>
</p:tagLst>
</file>

<file path=ppt/tags/tag279.xml><?xml version="1.0" encoding="utf-8"?>
<p:tagLst xmlns:p="http://schemas.openxmlformats.org/presentationml/2006/main">
  <p:tag name="AS_UNIQUEID" val="3196"/>
</p:tagLst>
</file>

<file path=ppt/tags/tag28.xml><?xml version="1.0" encoding="utf-8"?>
<p:tagLst xmlns:p="http://schemas.openxmlformats.org/presentationml/2006/main">
  <p:tag name="AS_UNIQUEID" val="2945"/>
</p:tagLst>
</file>

<file path=ppt/tags/tag280.xml><?xml version="1.0" encoding="utf-8"?>
<p:tagLst xmlns:p="http://schemas.openxmlformats.org/presentationml/2006/main">
  <p:tag name="AS_UNIQUEID" val="3197"/>
</p:tagLst>
</file>

<file path=ppt/tags/tag281.xml><?xml version="1.0" encoding="utf-8"?>
<p:tagLst xmlns:p="http://schemas.openxmlformats.org/presentationml/2006/main">
  <p:tag name="AS_UNIQUEID" val="3198"/>
</p:tagLst>
</file>

<file path=ppt/tags/tag282.xml><?xml version="1.0" encoding="utf-8"?>
<p:tagLst xmlns:p="http://schemas.openxmlformats.org/presentationml/2006/main">
  <p:tag name="AS_UNIQUEID" val="3199"/>
</p:tagLst>
</file>

<file path=ppt/tags/tag283.xml><?xml version="1.0" encoding="utf-8"?>
<p:tagLst xmlns:p="http://schemas.openxmlformats.org/presentationml/2006/main">
  <p:tag name="AS_UNIQUEID" val="3200"/>
</p:tagLst>
</file>

<file path=ppt/tags/tag284.xml><?xml version="1.0" encoding="utf-8"?>
<p:tagLst xmlns:p="http://schemas.openxmlformats.org/presentationml/2006/main">
  <p:tag name="AS_UNIQUEID" val="3201"/>
</p:tagLst>
</file>

<file path=ppt/tags/tag285.xml><?xml version="1.0" encoding="utf-8"?>
<p:tagLst xmlns:p="http://schemas.openxmlformats.org/presentationml/2006/main">
  <p:tag name="AS_UNIQUEID" val="3202"/>
</p:tagLst>
</file>

<file path=ppt/tags/tag286.xml><?xml version="1.0" encoding="utf-8"?>
<p:tagLst xmlns:p="http://schemas.openxmlformats.org/presentationml/2006/main">
  <p:tag name="AS_UNIQUEID" val="3203"/>
</p:tagLst>
</file>

<file path=ppt/tags/tag287.xml><?xml version="1.0" encoding="utf-8"?>
<p:tagLst xmlns:p="http://schemas.openxmlformats.org/presentationml/2006/main">
  <p:tag name="AS_UNIQUEID" val="3204"/>
</p:tagLst>
</file>

<file path=ppt/tags/tag288.xml><?xml version="1.0" encoding="utf-8"?>
<p:tagLst xmlns:p="http://schemas.openxmlformats.org/presentationml/2006/main">
  <p:tag name="AS_UNIQUEID" val="3205"/>
</p:tagLst>
</file>

<file path=ppt/tags/tag289.xml><?xml version="1.0" encoding="utf-8"?>
<p:tagLst xmlns:p="http://schemas.openxmlformats.org/presentationml/2006/main">
  <p:tag name="AS_UNIQUEID" val="3206"/>
</p:tagLst>
</file>

<file path=ppt/tags/tag29.xml><?xml version="1.0" encoding="utf-8"?>
<p:tagLst xmlns:p="http://schemas.openxmlformats.org/presentationml/2006/main">
  <p:tag name="AS_UNIQUEID" val="2946"/>
</p:tagLst>
</file>

<file path=ppt/tags/tag290.xml><?xml version="1.0" encoding="utf-8"?>
<p:tagLst xmlns:p="http://schemas.openxmlformats.org/presentationml/2006/main">
  <p:tag name="AS_UNIQUEID" val="3207"/>
</p:tagLst>
</file>

<file path=ppt/tags/tag291.xml><?xml version="1.0" encoding="utf-8"?>
<p:tagLst xmlns:p="http://schemas.openxmlformats.org/presentationml/2006/main">
  <p:tag name="AS_UNIQUEID" val="3208"/>
</p:tagLst>
</file>

<file path=ppt/tags/tag292.xml><?xml version="1.0" encoding="utf-8"?>
<p:tagLst xmlns:p="http://schemas.openxmlformats.org/presentationml/2006/main">
  <p:tag name="AS_UNIQUEID" val="3209"/>
</p:tagLst>
</file>

<file path=ppt/tags/tag293.xml><?xml version="1.0" encoding="utf-8"?>
<p:tagLst xmlns:p="http://schemas.openxmlformats.org/presentationml/2006/main">
  <p:tag name="AS_UNIQUEID" val="3210"/>
</p:tagLst>
</file>

<file path=ppt/tags/tag294.xml><?xml version="1.0" encoding="utf-8"?>
<p:tagLst xmlns:p="http://schemas.openxmlformats.org/presentationml/2006/main">
  <p:tag name="AS_UNIQUEID" val="3211"/>
</p:tagLst>
</file>

<file path=ppt/tags/tag295.xml><?xml version="1.0" encoding="utf-8"?>
<p:tagLst xmlns:p="http://schemas.openxmlformats.org/presentationml/2006/main">
  <p:tag name="AS_UNIQUEID" val="3212"/>
</p:tagLst>
</file>

<file path=ppt/tags/tag296.xml><?xml version="1.0" encoding="utf-8"?>
<p:tagLst xmlns:p="http://schemas.openxmlformats.org/presentationml/2006/main">
  <p:tag name="AS_UNIQUEID" val="3213"/>
</p:tagLst>
</file>

<file path=ppt/tags/tag297.xml><?xml version="1.0" encoding="utf-8"?>
<p:tagLst xmlns:p="http://schemas.openxmlformats.org/presentationml/2006/main">
  <p:tag name="AS_UNIQUEID" val="3214"/>
</p:tagLst>
</file>

<file path=ppt/tags/tag298.xml><?xml version="1.0" encoding="utf-8"?>
<p:tagLst xmlns:p="http://schemas.openxmlformats.org/presentationml/2006/main">
  <p:tag name="AS_UNIQUEID" val="3215"/>
</p:tagLst>
</file>

<file path=ppt/tags/tag299.xml><?xml version="1.0" encoding="utf-8"?>
<p:tagLst xmlns:p="http://schemas.openxmlformats.org/presentationml/2006/main">
  <p:tag name="AS_UNIQUEID" val="3216"/>
</p:tagLst>
</file>

<file path=ppt/tags/tag3.xml><?xml version="1.0" encoding="utf-8"?>
<p:tagLst xmlns:p="http://schemas.openxmlformats.org/presentationml/2006/main">
  <p:tag name="AS_UNIQUEID" val="2920"/>
</p:tagLst>
</file>

<file path=ppt/tags/tag30.xml><?xml version="1.0" encoding="utf-8"?>
<p:tagLst xmlns:p="http://schemas.openxmlformats.org/presentationml/2006/main">
  <p:tag name="AS_UNIQUEID" val="2947"/>
</p:tagLst>
</file>

<file path=ppt/tags/tag300.xml><?xml version="1.0" encoding="utf-8"?>
<p:tagLst xmlns:p="http://schemas.openxmlformats.org/presentationml/2006/main">
  <p:tag name="AS_UNIQUEID" val="3217"/>
</p:tagLst>
</file>

<file path=ppt/tags/tag301.xml><?xml version="1.0" encoding="utf-8"?>
<p:tagLst xmlns:p="http://schemas.openxmlformats.org/presentationml/2006/main">
  <p:tag name="AS_UNIQUEID" val="3218"/>
</p:tagLst>
</file>

<file path=ppt/tags/tag302.xml><?xml version="1.0" encoding="utf-8"?>
<p:tagLst xmlns:p="http://schemas.openxmlformats.org/presentationml/2006/main">
  <p:tag name="AS_UNIQUEID" val="3219"/>
</p:tagLst>
</file>

<file path=ppt/tags/tag303.xml><?xml version="1.0" encoding="utf-8"?>
<p:tagLst xmlns:p="http://schemas.openxmlformats.org/presentationml/2006/main">
  <p:tag name="AS_UNIQUEID" val="3220"/>
</p:tagLst>
</file>

<file path=ppt/tags/tag304.xml><?xml version="1.0" encoding="utf-8"?>
<p:tagLst xmlns:p="http://schemas.openxmlformats.org/presentationml/2006/main">
  <p:tag name="AS_UNIQUEID" val="3221"/>
</p:tagLst>
</file>

<file path=ppt/tags/tag305.xml><?xml version="1.0" encoding="utf-8"?>
<p:tagLst xmlns:p="http://schemas.openxmlformats.org/presentationml/2006/main">
  <p:tag name="AS_UNIQUEID" val="3222"/>
</p:tagLst>
</file>

<file path=ppt/tags/tag306.xml><?xml version="1.0" encoding="utf-8"?>
<p:tagLst xmlns:p="http://schemas.openxmlformats.org/presentationml/2006/main">
  <p:tag name="AS_UNIQUEID" val="3223"/>
</p:tagLst>
</file>

<file path=ppt/tags/tag307.xml><?xml version="1.0" encoding="utf-8"?>
<p:tagLst xmlns:p="http://schemas.openxmlformats.org/presentationml/2006/main">
  <p:tag name="AS_UNIQUEID" val="3224"/>
</p:tagLst>
</file>

<file path=ppt/tags/tag308.xml><?xml version="1.0" encoding="utf-8"?>
<p:tagLst xmlns:p="http://schemas.openxmlformats.org/presentationml/2006/main">
  <p:tag name="AS_UNIQUEID" val="3225"/>
</p:tagLst>
</file>

<file path=ppt/tags/tag309.xml><?xml version="1.0" encoding="utf-8"?>
<p:tagLst xmlns:p="http://schemas.openxmlformats.org/presentationml/2006/main">
  <p:tag name="AS_UNIQUEID" val="3226"/>
</p:tagLst>
</file>

<file path=ppt/tags/tag31.xml><?xml version="1.0" encoding="utf-8"?>
<p:tagLst xmlns:p="http://schemas.openxmlformats.org/presentationml/2006/main">
  <p:tag name="AS_UNIQUEID" val="2948"/>
</p:tagLst>
</file>

<file path=ppt/tags/tag310.xml><?xml version="1.0" encoding="utf-8"?>
<p:tagLst xmlns:p="http://schemas.openxmlformats.org/presentationml/2006/main">
  <p:tag name="AS_UNIQUEID" val="3227"/>
</p:tagLst>
</file>

<file path=ppt/tags/tag311.xml><?xml version="1.0" encoding="utf-8"?>
<p:tagLst xmlns:p="http://schemas.openxmlformats.org/presentationml/2006/main">
  <p:tag name="AS_UNIQUEID" val="3228"/>
</p:tagLst>
</file>

<file path=ppt/tags/tag312.xml><?xml version="1.0" encoding="utf-8"?>
<p:tagLst xmlns:p="http://schemas.openxmlformats.org/presentationml/2006/main">
  <p:tag name="AS_UNIQUEID" val="3229"/>
</p:tagLst>
</file>

<file path=ppt/tags/tag313.xml><?xml version="1.0" encoding="utf-8"?>
<p:tagLst xmlns:p="http://schemas.openxmlformats.org/presentationml/2006/main">
  <p:tag name="AS_UNIQUEID" val="3230"/>
</p:tagLst>
</file>

<file path=ppt/tags/tag314.xml><?xml version="1.0" encoding="utf-8"?>
<p:tagLst xmlns:p="http://schemas.openxmlformats.org/presentationml/2006/main">
  <p:tag name="AS_UNIQUEID" val="3231"/>
</p:tagLst>
</file>

<file path=ppt/tags/tag315.xml><?xml version="1.0" encoding="utf-8"?>
<p:tagLst xmlns:p="http://schemas.openxmlformats.org/presentationml/2006/main">
  <p:tag name="AS_UNIQUEID" val="3232"/>
</p:tagLst>
</file>

<file path=ppt/tags/tag316.xml><?xml version="1.0" encoding="utf-8"?>
<p:tagLst xmlns:p="http://schemas.openxmlformats.org/presentationml/2006/main">
  <p:tag name="AS_UNIQUEID" val="3233"/>
</p:tagLst>
</file>

<file path=ppt/tags/tag317.xml><?xml version="1.0" encoding="utf-8"?>
<p:tagLst xmlns:p="http://schemas.openxmlformats.org/presentationml/2006/main">
  <p:tag name="AS_UNIQUEID" val="3234"/>
</p:tagLst>
</file>

<file path=ppt/tags/tag318.xml><?xml version="1.0" encoding="utf-8"?>
<p:tagLst xmlns:p="http://schemas.openxmlformats.org/presentationml/2006/main">
  <p:tag name="AS_UNIQUEID" val="3235"/>
</p:tagLst>
</file>

<file path=ppt/tags/tag319.xml><?xml version="1.0" encoding="utf-8"?>
<p:tagLst xmlns:p="http://schemas.openxmlformats.org/presentationml/2006/main">
  <p:tag name="AS_UNIQUEID" val="3236"/>
</p:tagLst>
</file>

<file path=ppt/tags/tag32.xml><?xml version="1.0" encoding="utf-8"?>
<p:tagLst xmlns:p="http://schemas.openxmlformats.org/presentationml/2006/main">
  <p:tag name="AS_UNIQUEID" val="2949"/>
</p:tagLst>
</file>

<file path=ppt/tags/tag320.xml><?xml version="1.0" encoding="utf-8"?>
<p:tagLst xmlns:p="http://schemas.openxmlformats.org/presentationml/2006/main">
  <p:tag name="AS_UNIQUEID" val="3237"/>
</p:tagLst>
</file>

<file path=ppt/tags/tag321.xml><?xml version="1.0" encoding="utf-8"?>
<p:tagLst xmlns:p="http://schemas.openxmlformats.org/presentationml/2006/main">
  <p:tag name="AS_UNIQUEID" val="3238"/>
</p:tagLst>
</file>

<file path=ppt/tags/tag322.xml><?xml version="1.0" encoding="utf-8"?>
<p:tagLst xmlns:p="http://schemas.openxmlformats.org/presentationml/2006/main">
  <p:tag name="AS_UNIQUEID" val="3239"/>
</p:tagLst>
</file>

<file path=ppt/tags/tag323.xml><?xml version="1.0" encoding="utf-8"?>
<p:tagLst xmlns:p="http://schemas.openxmlformats.org/presentationml/2006/main">
  <p:tag name="AS_UNIQUEID" val="3240"/>
</p:tagLst>
</file>

<file path=ppt/tags/tag324.xml><?xml version="1.0" encoding="utf-8"?>
<p:tagLst xmlns:p="http://schemas.openxmlformats.org/presentationml/2006/main">
  <p:tag name="AS_UNIQUEID" val="3241"/>
</p:tagLst>
</file>

<file path=ppt/tags/tag325.xml><?xml version="1.0" encoding="utf-8"?>
<p:tagLst xmlns:p="http://schemas.openxmlformats.org/presentationml/2006/main">
  <p:tag name="AS_UNIQUEID" val="3242"/>
</p:tagLst>
</file>

<file path=ppt/tags/tag326.xml><?xml version="1.0" encoding="utf-8"?>
<p:tagLst xmlns:p="http://schemas.openxmlformats.org/presentationml/2006/main">
  <p:tag name="AS_UNIQUEID" val="3243"/>
</p:tagLst>
</file>

<file path=ppt/tags/tag327.xml><?xml version="1.0" encoding="utf-8"?>
<p:tagLst xmlns:p="http://schemas.openxmlformats.org/presentationml/2006/main">
  <p:tag name="AS_UNIQUEID" val="3244"/>
</p:tagLst>
</file>

<file path=ppt/tags/tag328.xml><?xml version="1.0" encoding="utf-8"?>
<p:tagLst xmlns:p="http://schemas.openxmlformats.org/presentationml/2006/main">
  <p:tag name="AS_UNIQUEID" val="3245"/>
</p:tagLst>
</file>

<file path=ppt/tags/tag329.xml><?xml version="1.0" encoding="utf-8"?>
<p:tagLst xmlns:p="http://schemas.openxmlformats.org/presentationml/2006/main">
  <p:tag name="AS_UNIQUEID" val="3246"/>
</p:tagLst>
</file>

<file path=ppt/tags/tag33.xml><?xml version="1.0" encoding="utf-8"?>
<p:tagLst xmlns:p="http://schemas.openxmlformats.org/presentationml/2006/main">
  <p:tag name="AS_UNIQUEID" val="2950"/>
</p:tagLst>
</file>

<file path=ppt/tags/tag330.xml><?xml version="1.0" encoding="utf-8"?>
<p:tagLst xmlns:p="http://schemas.openxmlformats.org/presentationml/2006/main">
  <p:tag name="AS_UNIQUEID" val="3247"/>
</p:tagLst>
</file>

<file path=ppt/tags/tag331.xml><?xml version="1.0" encoding="utf-8"?>
<p:tagLst xmlns:p="http://schemas.openxmlformats.org/presentationml/2006/main">
  <p:tag name="AS_UNIQUEID" val="3248"/>
</p:tagLst>
</file>

<file path=ppt/tags/tag332.xml><?xml version="1.0" encoding="utf-8"?>
<p:tagLst xmlns:p="http://schemas.openxmlformats.org/presentationml/2006/main">
  <p:tag name="AS_UNIQUEID" val="3249"/>
</p:tagLst>
</file>

<file path=ppt/tags/tag333.xml><?xml version="1.0" encoding="utf-8"?>
<p:tagLst xmlns:p="http://schemas.openxmlformats.org/presentationml/2006/main">
  <p:tag name="AS_UNIQUEID" val="3250"/>
</p:tagLst>
</file>

<file path=ppt/tags/tag334.xml><?xml version="1.0" encoding="utf-8"?>
<p:tagLst xmlns:p="http://schemas.openxmlformats.org/presentationml/2006/main">
  <p:tag name="AS_UNIQUEID" val="3251"/>
</p:tagLst>
</file>

<file path=ppt/tags/tag335.xml><?xml version="1.0" encoding="utf-8"?>
<p:tagLst xmlns:p="http://schemas.openxmlformats.org/presentationml/2006/main">
  <p:tag name="AS_UNIQUEID" val="3252"/>
</p:tagLst>
</file>

<file path=ppt/tags/tag336.xml><?xml version="1.0" encoding="utf-8"?>
<p:tagLst xmlns:p="http://schemas.openxmlformats.org/presentationml/2006/main">
  <p:tag name="AS_UNIQUEID" val="3253"/>
</p:tagLst>
</file>

<file path=ppt/tags/tag337.xml><?xml version="1.0" encoding="utf-8"?>
<p:tagLst xmlns:p="http://schemas.openxmlformats.org/presentationml/2006/main">
  <p:tag name="AS_UNIQUEID" val="3254"/>
</p:tagLst>
</file>

<file path=ppt/tags/tag338.xml><?xml version="1.0" encoding="utf-8"?>
<p:tagLst xmlns:p="http://schemas.openxmlformats.org/presentationml/2006/main">
  <p:tag name="AS_UNIQUEID" val="3255"/>
</p:tagLst>
</file>

<file path=ppt/tags/tag339.xml><?xml version="1.0" encoding="utf-8"?>
<p:tagLst xmlns:p="http://schemas.openxmlformats.org/presentationml/2006/main">
  <p:tag name="AS_UNIQUEID" val="3256"/>
</p:tagLst>
</file>

<file path=ppt/tags/tag34.xml><?xml version="1.0" encoding="utf-8"?>
<p:tagLst xmlns:p="http://schemas.openxmlformats.org/presentationml/2006/main">
  <p:tag name="AS_UNIQUEID" val="2951"/>
</p:tagLst>
</file>

<file path=ppt/tags/tag340.xml><?xml version="1.0" encoding="utf-8"?>
<p:tagLst xmlns:p="http://schemas.openxmlformats.org/presentationml/2006/main">
  <p:tag name="AS_UNIQUEID" val="3257"/>
</p:tagLst>
</file>

<file path=ppt/tags/tag341.xml><?xml version="1.0" encoding="utf-8"?>
<p:tagLst xmlns:p="http://schemas.openxmlformats.org/presentationml/2006/main">
  <p:tag name="AS_UNIQUEID" val="3258"/>
</p:tagLst>
</file>

<file path=ppt/tags/tag342.xml><?xml version="1.0" encoding="utf-8"?>
<p:tagLst xmlns:p="http://schemas.openxmlformats.org/presentationml/2006/main">
  <p:tag name="AS_UNIQUEID" val="3259"/>
</p:tagLst>
</file>

<file path=ppt/tags/tag343.xml><?xml version="1.0" encoding="utf-8"?>
<p:tagLst xmlns:p="http://schemas.openxmlformats.org/presentationml/2006/main">
  <p:tag name="AS_UNIQUEID" val="3260"/>
</p:tagLst>
</file>

<file path=ppt/tags/tag344.xml><?xml version="1.0" encoding="utf-8"?>
<p:tagLst xmlns:p="http://schemas.openxmlformats.org/presentationml/2006/main">
  <p:tag name="AS_UNIQUEID" val="3261"/>
</p:tagLst>
</file>

<file path=ppt/tags/tag345.xml><?xml version="1.0" encoding="utf-8"?>
<p:tagLst xmlns:p="http://schemas.openxmlformats.org/presentationml/2006/main">
  <p:tag name="AS_UNIQUEID" val="3262"/>
</p:tagLst>
</file>

<file path=ppt/tags/tag346.xml><?xml version="1.0" encoding="utf-8"?>
<p:tagLst xmlns:p="http://schemas.openxmlformats.org/presentationml/2006/main">
  <p:tag name="AS_UNIQUEID" val="3263"/>
</p:tagLst>
</file>

<file path=ppt/tags/tag347.xml><?xml version="1.0" encoding="utf-8"?>
<p:tagLst xmlns:p="http://schemas.openxmlformats.org/presentationml/2006/main">
  <p:tag name="AS_UNIQUEID" val="3264"/>
</p:tagLst>
</file>

<file path=ppt/tags/tag348.xml><?xml version="1.0" encoding="utf-8"?>
<p:tagLst xmlns:p="http://schemas.openxmlformats.org/presentationml/2006/main">
  <p:tag name="AS_UNIQUEID" val="3265"/>
</p:tagLst>
</file>

<file path=ppt/tags/tag349.xml><?xml version="1.0" encoding="utf-8"?>
<p:tagLst xmlns:p="http://schemas.openxmlformats.org/presentationml/2006/main">
  <p:tag name="AS_UNIQUEID" val="3266"/>
</p:tagLst>
</file>

<file path=ppt/tags/tag35.xml><?xml version="1.0" encoding="utf-8"?>
<p:tagLst xmlns:p="http://schemas.openxmlformats.org/presentationml/2006/main">
  <p:tag name="AS_UNIQUEID" val="2952"/>
</p:tagLst>
</file>

<file path=ppt/tags/tag350.xml><?xml version="1.0" encoding="utf-8"?>
<p:tagLst xmlns:p="http://schemas.openxmlformats.org/presentationml/2006/main">
  <p:tag name="AS_UNIQUEID" val="3267"/>
</p:tagLst>
</file>

<file path=ppt/tags/tag351.xml><?xml version="1.0" encoding="utf-8"?>
<p:tagLst xmlns:p="http://schemas.openxmlformats.org/presentationml/2006/main">
  <p:tag name="AS_UNIQUEID" val="3268"/>
</p:tagLst>
</file>

<file path=ppt/tags/tag352.xml><?xml version="1.0" encoding="utf-8"?>
<p:tagLst xmlns:p="http://schemas.openxmlformats.org/presentationml/2006/main">
  <p:tag name="AS_UNIQUEID" val="3269"/>
</p:tagLst>
</file>

<file path=ppt/tags/tag353.xml><?xml version="1.0" encoding="utf-8"?>
<p:tagLst xmlns:p="http://schemas.openxmlformats.org/presentationml/2006/main">
  <p:tag name="AS_UNIQUEID" val="3270"/>
</p:tagLst>
</file>

<file path=ppt/tags/tag354.xml><?xml version="1.0" encoding="utf-8"?>
<p:tagLst xmlns:p="http://schemas.openxmlformats.org/presentationml/2006/main">
  <p:tag name="AS_UNIQUEID" val="3271"/>
</p:tagLst>
</file>

<file path=ppt/tags/tag355.xml><?xml version="1.0" encoding="utf-8"?>
<p:tagLst xmlns:p="http://schemas.openxmlformats.org/presentationml/2006/main">
  <p:tag name="AS_UNIQUEID" val="3272"/>
</p:tagLst>
</file>

<file path=ppt/tags/tag356.xml><?xml version="1.0" encoding="utf-8"?>
<p:tagLst xmlns:p="http://schemas.openxmlformats.org/presentationml/2006/main">
  <p:tag name="AS_UNIQUEID" val="3273"/>
</p:tagLst>
</file>

<file path=ppt/tags/tag357.xml><?xml version="1.0" encoding="utf-8"?>
<p:tagLst xmlns:p="http://schemas.openxmlformats.org/presentationml/2006/main">
  <p:tag name="AS_UNIQUEID" val="3274"/>
</p:tagLst>
</file>

<file path=ppt/tags/tag358.xml><?xml version="1.0" encoding="utf-8"?>
<p:tagLst xmlns:p="http://schemas.openxmlformats.org/presentationml/2006/main">
  <p:tag name="AS_UNIQUEID" val="3275"/>
</p:tagLst>
</file>

<file path=ppt/tags/tag359.xml><?xml version="1.0" encoding="utf-8"?>
<p:tagLst xmlns:p="http://schemas.openxmlformats.org/presentationml/2006/main">
  <p:tag name="AS_UNIQUEID" val="3276"/>
</p:tagLst>
</file>

<file path=ppt/tags/tag36.xml><?xml version="1.0" encoding="utf-8"?>
<p:tagLst xmlns:p="http://schemas.openxmlformats.org/presentationml/2006/main">
  <p:tag name="AS_UNIQUEID" val="2953"/>
</p:tagLst>
</file>

<file path=ppt/tags/tag360.xml><?xml version="1.0" encoding="utf-8"?>
<p:tagLst xmlns:p="http://schemas.openxmlformats.org/presentationml/2006/main">
  <p:tag name="AS_UNIQUEID" val="3277"/>
</p:tagLst>
</file>

<file path=ppt/tags/tag361.xml><?xml version="1.0" encoding="utf-8"?>
<p:tagLst xmlns:p="http://schemas.openxmlformats.org/presentationml/2006/main">
  <p:tag name="AS_UNIQUEID" val="3278"/>
</p:tagLst>
</file>

<file path=ppt/tags/tag362.xml><?xml version="1.0" encoding="utf-8"?>
<p:tagLst xmlns:p="http://schemas.openxmlformats.org/presentationml/2006/main">
  <p:tag name="AS_UNIQUEID" val="3279"/>
</p:tagLst>
</file>

<file path=ppt/tags/tag363.xml><?xml version="1.0" encoding="utf-8"?>
<p:tagLst xmlns:p="http://schemas.openxmlformats.org/presentationml/2006/main">
  <p:tag name="AS_UNIQUEID" val="3280"/>
</p:tagLst>
</file>

<file path=ppt/tags/tag364.xml><?xml version="1.0" encoding="utf-8"?>
<p:tagLst xmlns:p="http://schemas.openxmlformats.org/presentationml/2006/main">
  <p:tag name="AS_UNIQUEID" val="3281"/>
</p:tagLst>
</file>

<file path=ppt/tags/tag365.xml><?xml version="1.0" encoding="utf-8"?>
<p:tagLst xmlns:p="http://schemas.openxmlformats.org/presentationml/2006/main">
  <p:tag name="AS_UNIQUEID" val="3282"/>
</p:tagLst>
</file>

<file path=ppt/tags/tag366.xml><?xml version="1.0" encoding="utf-8"?>
<p:tagLst xmlns:p="http://schemas.openxmlformats.org/presentationml/2006/main">
  <p:tag name="AS_UNIQUEID" val="3283"/>
</p:tagLst>
</file>

<file path=ppt/tags/tag367.xml><?xml version="1.0" encoding="utf-8"?>
<p:tagLst xmlns:p="http://schemas.openxmlformats.org/presentationml/2006/main">
  <p:tag name="AS_UNIQUEID" val="3284"/>
</p:tagLst>
</file>

<file path=ppt/tags/tag368.xml><?xml version="1.0" encoding="utf-8"?>
<p:tagLst xmlns:p="http://schemas.openxmlformats.org/presentationml/2006/main">
  <p:tag name="AS_UNIQUEID" val="3285"/>
</p:tagLst>
</file>

<file path=ppt/tags/tag369.xml><?xml version="1.0" encoding="utf-8"?>
<p:tagLst xmlns:p="http://schemas.openxmlformats.org/presentationml/2006/main">
  <p:tag name="AS_UNIQUEID" val="3286"/>
</p:tagLst>
</file>

<file path=ppt/tags/tag37.xml><?xml version="1.0" encoding="utf-8"?>
<p:tagLst xmlns:p="http://schemas.openxmlformats.org/presentationml/2006/main">
  <p:tag name="AS_UNIQUEID" val="2954"/>
</p:tagLst>
</file>

<file path=ppt/tags/tag370.xml><?xml version="1.0" encoding="utf-8"?>
<p:tagLst xmlns:p="http://schemas.openxmlformats.org/presentationml/2006/main">
  <p:tag name="AS_UNIQUEID" val="3287"/>
</p:tagLst>
</file>

<file path=ppt/tags/tag371.xml><?xml version="1.0" encoding="utf-8"?>
<p:tagLst xmlns:p="http://schemas.openxmlformats.org/presentationml/2006/main">
  <p:tag name="AS_UNIQUEID" val="3288"/>
</p:tagLst>
</file>

<file path=ppt/tags/tag372.xml><?xml version="1.0" encoding="utf-8"?>
<p:tagLst xmlns:p="http://schemas.openxmlformats.org/presentationml/2006/main">
  <p:tag name="AS_UNIQUEID" val="3289"/>
</p:tagLst>
</file>

<file path=ppt/tags/tag373.xml><?xml version="1.0" encoding="utf-8"?>
<p:tagLst xmlns:p="http://schemas.openxmlformats.org/presentationml/2006/main">
  <p:tag name="AS_UNIQUEID" val="3290"/>
</p:tagLst>
</file>

<file path=ppt/tags/tag374.xml><?xml version="1.0" encoding="utf-8"?>
<p:tagLst xmlns:p="http://schemas.openxmlformats.org/presentationml/2006/main">
  <p:tag name="AS_UNIQUEID" val="3291"/>
</p:tagLst>
</file>

<file path=ppt/tags/tag375.xml><?xml version="1.0" encoding="utf-8"?>
<p:tagLst xmlns:p="http://schemas.openxmlformats.org/presentationml/2006/main">
  <p:tag name="AS_UNIQUEID" val="3292"/>
</p:tagLst>
</file>

<file path=ppt/tags/tag376.xml><?xml version="1.0" encoding="utf-8"?>
<p:tagLst xmlns:p="http://schemas.openxmlformats.org/presentationml/2006/main">
  <p:tag name="AS_UNIQUEID" val="3293"/>
</p:tagLst>
</file>

<file path=ppt/tags/tag377.xml><?xml version="1.0" encoding="utf-8"?>
<p:tagLst xmlns:p="http://schemas.openxmlformats.org/presentationml/2006/main">
  <p:tag name="AS_UNIQUEID" val="3294"/>
</p:tagLst>
</file>

<file path=ppt/tags/tag378.xml><?xml version="1.0" encoding="utf-8"?>
<p:tagLst xmlns:p="http://schemas.openxmlformats.org/presentationml/2006/main">
  <p:tag name="AS_UNIQUEID" val="3295"/>
</p:tagLst>
</file>

<file path=ppt/tags/tag379.xml><?xml version="1.0" encoding="utf-8"?>
<p:tagLst xmlns:p="http://schemas.openxmlformats.org/presentationml/2006/main">
  <p:tag name="AS_UNIQUEID" val="3296"/>
</p:tagLst>
</file>

<file path=ppt/tags/tag38.xml><?xml version="1.0" encoding="utf-8"?>
<p:tagLst xmlns:p="http://schemas.openxmlformats.org/presentationml/2006/main">
  <p:tag name="AS_UNIQUEID" val="2955"/>
</p:tagLst>
</file>

<file path=ppt/tags/tag380.xml><?xml version="1.0" encoding="utf-8"?>
<p:tagLst xmlns:p="http://schemas.openxmlformats.org/presentationml/2006/main">
  <p:tag name="AS_UNIQUEID" val="3297"/>
</p:tagLst>
</file>

<file path=ppt/tags/tag381.xml><?xml version="1.0" encoding="utf-8"?>
<p:tagLst xmlns:p="http://schemas.openxmlformats.org/presentationml/2006/main">
  <p:tag name="AS_UNIQUEID" val="3298"/>
</p:tagLst>
</file>

<file path=ppt/tags/tag382.xml><?xml version="1.0" encoding="utf-8"?>
<p:tagLst xmlns:p="http://schemas.openxmlformats.org/presentationml/2006/main">
  <p:tag name="AS_UNIQUEID" val="3299"/>
</p:tagLst>
</file>

<file path=ppt/tags/tag383.xml><?xml version="1.0" encoding="utf-8"?>
<p:tagLst xmlns:p="http://schemas.openxmlformats.org/presentationml/2006/main">
  <p:tag name="AS_UNIQUEID" val="3300"/>
</p:tagLst>
</file>

<file path=ppt/tags/tag384.xml><?xml version="1.0" encoding="utf-8"?>
<p:tagLst xmlns:p="http://schemas.openxmlformats.org/presentationml/2006/main">
  <p:tag name="AS_UNIQUEID" val="3301"/>
</p:tagLst>
</file>

<file path=ppt/tags/tag385.xml><?xml version="1.0" encoding="utf-8"?>
<p:tagLst xmlns:p="http://schemas.openxmlformats.org/presentationml/2006/main">
  <p:tag name="AS_UNIQUEID" val="3302"/>
</p:tagLst>
</file>

<file path=ppt/tags/tag386.xml><?xml version="1.0" encoding="utf-8"?>
<p:tagLst xmlns:p="http://schemas.openxmlformats.org/presentationml/2006/main">
  <p:tag name="AS_UNIQUEID" val="3303"/>
</p:tagLst>
</file>

<file path=ppt/tags/tag387.xml><?xml version="1.0" encoding="utf-8"?>
<p:tagLst xmlns:p="http://schemas.openxmlformats.org/presentationml/2006/main">
  <p:tag name="AS_UNIQUEID" val="3304"/>
</p:tagLst>
</file>

<file path=ppt/tags/tag388.xml><?xml version="1.0" encoding="utf-8"?>
<p:tagLst xmlns:p="http://schemas.openxmlformats.org/presentationml/2006/main">
  <p:tag name="AS_UNIQUEID" val="3305"/>
</p:tagLst>
</file>

<file path=ppt/tags/tag389.xml><?xml version="1.0" encoding="utf-8"?>
<p:tagLst xmlns:p="http://schemas.openxmlformats.org/presentationml/2006/main">
  <p:tag name="AS_UNIQUEID" val="3306"/>
</p:tagLst>
</file>

<file path=ppt/tags/tag39.xml><?xml version="1.0" encoding="utf-8"?>
<p:tagLst xmlns:p="http://schemas.openxmlformats.org/presentationml/2006/main">
  <p:tag name="AS_UNIQUEID" val="2956"/>
</p:tagLst>
</file>

<file path=ppt/tags/tag390.xml><?xml version="1.0" encoding="utf-8"?>
<p:tagLst xmlns:p="http://schemas.openxmlformats.org/presentationml/2006/main">
  <p:tag name="AS_UNIQUEID" val="3307"/>
</p:tagLst>
</file>

<file path=ppt/tags/tag391.xml><?xml version="1.0" encoding="utf-8"?>
<p:tagLst xmlns:p="http://schemas.openxmlformats.org/presentationml/2006/main">
  <p:tag name="AS_UNIQUEID" val="3308"/>
</p:tagLst>
</file>

<file path=ppt/tags/tag392.xml><?xml version="1.0" encoding="utf-8"?>
<p:tagLst xmlns:p="http://schemas.openxmlformats.org/presentationml/2006/main">
  <p:tag name="AS_UNIQUEID" val="3309"/>
</p:tagLst>
</file>

<file path=ppt/tags/tag393.xml><?xml version="1.0" encoding="utf-8"?>
<p:tagLst xmlns:p="http://schemas.openxmlformats.org/presentationml/2006/main">
  <p:tag name="AS_UNIQUEID" val="3310"/>
</p:tagLst>
</file>

<file path=ppt/tags/tag394.xml><?xml version="1.0" encoding="utf-8"?>
<p:tagLst xmlns:p="http://schemas.openxmlformats.org/presentationml/2006/main">
  <p:tag name="AS_UNIQUEID" val="3311"/>
</p:tagLst>
</file>

<file path=ppt/tags/tag395.xml><?xml version="1.0" encoding="utf-8"?>
<p:tagLst xmlns:p="http://schemas.openxmlformats.org/presentationml/2006/main">
  <p:tag name="AS_UNIQUEID" val="3312"/>
</p:tagLst>
</file>

<file path=ppt/tags/tag396.xml><?xml version="1.0" encoding="utf-8"?>
<p:tagLst xmlns:p="http://schemas.openxmlformats.org/presentationml/2006/main">
  <p:tag name="AS_UNIQUEID" val="3313"/>
</p:tagLst>
</file>

<file path=ppt/tags/tag397.xml><?xml version="1.0" encoding="utf-8"?>
<p:tagLst xmlns:p="http://schemas.openxmlformats.org/presentationml/2006/main">
  <p:tag name="AS_UNIQUEID" val="3314"/>
</p:tagLst>
</file>

<file path=ppt/tags/tag398.xml><?xml version="1.0" encoding="utf-8"?>
<p:tagLst xmlns:p="http://schemas.openxmlformats.org/presentationml/2006/main">
  <p:tag name="AS_UNIQUEID" val="3315"/>
</p:tagLst>
</file>

<file path=ppt/tags/tag399.xml><?xml version="1.0" encoding="utf-8"?>
<p:tagLst xmlns:p="http://schemas.openxmlformats.org/presentationml/2006/main">
  <p:tag name="AS_UNIQUEID" val="3316"/>
</p:tagLst>
</file>

<file path=ppt/tags/tag4.xml><?xml version="1.0" encoding="utf-8"?>
<p:tagLst xmlns:p="http://schemas.openxmlformats.org/presentationml/2006/main">
  <p:tag name="AS_UNIQUEID" val="2921"/>
</p:tagLst>
</file>

<file path=ppt/tags/tag40.xml><?xml version="1.0" encoding="utf-8"?>
<p:tagLst xmlns:p="http://schemas.openxmlformats.org/presentationml/2006/main">
  <p:tag name="AS_UNIQUEID" val="2957"/>
</p:tagLst>
</file>

<file path=ppt/tags/tag400.xml><?xml version="1.0" encoding="utf-8"?>
<p:tagLst xmlns:p="http://schemas.openxmlformats.org/presentationml/2006/main">
  <p:tag name="AS_UNIQUEID" val="3317"/>
</p:tagLst>
</file>

<file path=ppt/tags/tag401.xml><?xml version="1.0" encoding="utf-8"?>
<p:tagLst xmlns:p="http://schemas.openxmlformats.org/presentationml/2006/main">
  <p:tag name="AS_UNIQUEID" val="3318"/>
</p:tagLst>
</file>

<file path=ppt/tags/tag402.xml><?xml version="1.0" encoding="utf-8"?>
<p:tagLst xmlns:p="http://schemas.openxmlformats.org/presentationml/2006/main">
  <p:tag name="AS_UNIQUEID" val="3319"/>
</p:tagLst>
</file>

<file path=ppt/tags/tag403.xml><?xml version="1.0" encoding="utf-8"?>
<p:tagLst xmlns:p="http://schemas.openxmlformats.org/presentationml/2006/main">
  <p:tag name="AS_UNIQUEID" val="3320"/>
</p:tagLst>
</file>

<file path=ppt/tags/tag404.xml><?xml version="1.0" encoding="utf-8"?>
<p:tagLst xmlns:p="http://schemas.openxmlformats.org/presentationml/2006/main">
  <p:tag name="AS_UNIQUEID" val="3321"/>
</p:tagLst>
</file>

<file path=ppt/tags/tag405.xml><?xml version="1.0" encoding="utf-8"?>
<p:tagLst xmlns:p="http://schemas.openxmlformats.org/presentationml/2006/main">
  <p:tag name="AS_UNIQUEID" val="3322"/>
</p:tagLst>
</file>

<file path=ppt/tags/tag406.xml><?xml version="1.0" encoding="utf-8"?>
<p:tagLst xmlns:p="http://schemas.openxmlformats.org/presentationml/2006/main">
  <p:tag name="AS_UNIQUEID" val="3323"/>
</p:tagLst>
</file>

<file path=ppt/tags/tag407.xml><?xml version="1.0" encoding="utf-8"?>
<p:tagLst xmlns:p="http://schemas.openxmlformats.org/presentationml/2006/main">
  <p:tag name="AS_UNIQUEID" val="3324"/>
</p:tagLst>
</file>

<file path=ppt/tags/tag408.xml><?xml version="1.0" encoding="utf-8"?>
<p:tagLst xmlns:p="http://schemas.openxmlformats.org/presentationml/2006/main">
  <p:tag name="AS_UNIQUEID" val="3325"/>
</p:tagLst>
</file>

<file path=ppt/tags/tag409.xml><?xml version="1.0" encoding="utf-8"?>
<p:tagLst xmlns:p="http://schemas.openxmlformats.org/presentationml/2006/main">
  <p:tag name="AS_UNIQUEID" val="3326"/>
</p:tagLst>
</file>

<file path=ppt/tags/tag41.xml><?xml version="1.0" encoding="utf-8"?>
<p:tagLst xmlns:p="http://schemas.openxmlformats.org/presentationml/2006/main">
  <p:tag name="AS_UNIQUEID" val="2958"/>
</p:tagLst>
</file>

<file path=ppt/tags/tag410.xml><?xml version="1.0" encoding="utf-8"?>
<p:tagLst xmlns:p="http://schemas.openxmlformats.org/presentationml/2006/main">
  <p:tag name="AS_UNIQUEID" val="3327"/>
</p:tagLst>
</file>

<file path=ppt/tags/tag411.xml><?xml version="1.0" encoding="utf-8"?>
<p:tagLst xmlns:p="http://schemas.openxmlformats.org/presentationml/2006/main">
  <p:tag name="AS_UNIQUEID" val="3328"/>
</p:tagLst>
</file>

<file path=ppt/tags/tag412.xml><?xml version="1.0" encoding="utf-8"?>
<p:tagLst xmlns:p="http://schemas.openxmlformats.org/presentationml/2006/main">
  <p:tag name="AS_UNIQUEID" val="3329"/>
</p:tagLst>
</file>

<file path=ppt/tags/tag413.xml><?xml version="1.0" encoding="utf-8"?>
<p:tagLst xmlns:p="http://schemas.openxmlformats.org/presentationml/2006/main">
  <p:tag name="AS_UNIQUEID" val="3330"/>
</p:tagLst>
</file>

<file path=ppt/tags/tag414.xml><?xml version="1.0" encoding="utf-8"?>
<p:tagLst xmlns:p="http://schemas.openxmlformats.org/presentationml/2006/main">
  <p:tag name="AS_UNIQUEID" val="3331"/>
</p:tagLst>
</file>

<file path=ppt/tags/tag415.xml><?xml version="1.0" encoding="utf-8"?>
<p:tagLst xmlns:p="http://schemas.openxmlformats.org/presentationml/2006/main">
  <p:tag name="AS_UNIQUEID" val="3332"/>
</p:tagLst>
</file>

<file path=ppt/tags/tag416.xml><?xml version="1.0" encoding="utf-8"?>
<p:tagLst xmlns:p="http://schemas.openxmlformats.org/presentationml/2006/main">
  <p:tag name="AS_UNIQUEID" val="3333"/>
</p:tagLst>
</file>

<file path=ppt/tags/tag417.xml><?xml version="1.0" encoding="utf-8"?>
<p:tagLst xmlns:p="http://schemas.openxmlformats.org/presentationml/2006/main">
  <p:tag name="AS_UNIQUEID" val="3334"/>
</p:tagLst>
</file>

<file path=ppt/tags/tag418.xml><?xml version="1.0" encoding="utf-8"?>
<p:tagLst xmlns:p="http://schemas.openxmlformats.org/presentationml/2006/main">
  <p:tag name="AS_UNIQUEID" val="3335"/>
</p:tagLst>
</file>

<file path=ppt/tags/tag419.xml><?xml version="1.0" encoding="utf-8"?>
<p:tagLst xmlns:p="http://schemas.openxmlformats.org/presentationml/2006/main">
  <p:tag name="AS_UNIQUEID" val="3336"/>
</p:tagLst>
</file>

<file path=ppt/tags/tag42.xml><?xml version="1.0" encoding="utf-8"?>
<p:tagLst xmlns:p="http://schemas.openxmlformats.org/presentationml/2006/main">
  <p:tag name="AS_UNIQUEID" val="2959"/>
</p:tagLst>
</file>

<file path=ppt/tags/tag420.xml><?xml version="1.0" encoding="utf-8"?>
<p:tagLst xmlns:p="http://schemas.openxmlformats.org/presentationml/2006/main">
  <p:tag name="AS_UNIQUEID" val="3337"/>
</p:tagLst>
</file>

<file path=ppt/tags/tag421.xml><?xml version="1.0" encoding="utf-8"?>
<p:tagLst xmlns:p="http://schemas.openxmlformats.org/presentationml/2006/main">
  <p:tag name="AS_UNIQUEID" val="3338"/>
</p:tagLst>
</file>

<file path=ppt/tags/tag422.xml><?xml version="1.0" encoding="utf-8"?>
<p:tagLst xmlns:p="http://schemas.openxmlformats.org/presentationml/2006/main">
  <p:tag name="AS_UNIQUEID" val="3339"/>
</p:tagLst>
</file>

<file path=ppt/tags/tag423.xml><?xml version="1.0" encoding="utf-8"?>
<p:tagLst xmlns:p="http://schemas.openxmlformats.org/presentationml/2006/main">
  <p:tag name="AS_UNIQUEID" val="3340"/>
</p:tagLst>
</file>

<file path=ppt/tags/tag424.xml><?xml version="1.0" encoding="utf-8"?>
<p:tagLst xmlns:p="http://schemas.openxmlformats.org/presentationml/2006/main">
  <p:tag name="AS_UNIQUEID" val="3341"/>
</p:tagLst>
</file>

<file path=ppt/tags/tag425.xml><?xml version="1.0" encoding="utf-8"?>
<p:tagLst xmlns:p="http://schemas.openxmlformats.org/presentationml/2006/main">
  <p:tag name="AS_UNIQUEID" val="3342"/>
</p:tagLst>
</file>

<file path=ppt/tags/tag426.xml><?xml version="1.0" encoding="utf-8"?>
<p:tagLst xmlns:p="http://schemas.openxmlformats.org/presentationml/2006/main">
  <p:tag name="AS_UNIQUEID" val="3343"/>
</p:tagLst>
</file>

<file path=ppt/tags/tag427.xml><?xml version="1.0" encoding="utf-8"?>
<p:tagLst xmlns:p="http://schemas.openxmlformats.org/presentationml/2006/main">
  <p:tag name="AS_UNIQUEID" val="3344"/>
</p:tagLst>
</file>

<file path=ppt/tags/tag428.xml><?xml version="1.0" encoding="utf-8"?>
<p:tagLst xmlns:p="http://schemas.openxmlformats.org/presentationml/2006/main">
  <p:tag name="AS_UNIQUEID" val="3345"/>
</p:tagLst>
</file>

<file path=ppt/tags/tag429.xml><?xml version="1.0" encoding="utf-8"?>
<p:tagLst xmlns:p="http://schemas.openxmlformats.org/presentationml/2006/main">
  <p:tag name="AS_UNIQUEID" val="3346"/>
</p:tagLst>
</file>

<file path=ppt/tags/tag43.xml><?xml version="1.0" encoding="utf-8"?>
<p:tagLst xmlns:p="http://schemas.openxmlformats.org/presentationml/2006/main">
  <p:tag name="AS_UNIQUEID" val="2960"/>
</p:tagLst>
</file>

<file path=ppt/tags/tag430.xml><?xml version="1.0" encoding="utf-8"?>
<p:tagLst xmlns:p="http://schemas.openxmlformats.org/presentationml/2006/main">
  <p:tag name="AS_UNIQUEID" val="3347"/>
</p:tagLst>
</file>

<file path=ppt/tags/tag431.xml><?xml version="1.0" encoding="utf-8"?>
<p:tagLst xmlns:p="http://schemas.openxmlformats.org/presentationml/2006/main">
  <p:tag name="AS_UNIQUEID" val="3348"/>
</p:tagLst>
</file>

<file path=ppt/tags/tag432.xml><?xml version="1.0" encoding="utf-8"?>
<p:tagLst xmlns:p="http://schemas.openxmlformats.org/presentationml/2006/main">
  <p:tag name="AS_UNIQUEID" val="3349"/>
</p:tagLst>
</file>

<file path=ppt/tags/tag433.xml><?xml version="1.0" encoding="utf-8"?>
<p:tagLst xmlns:p="http://schemas.openxmlformats.org/presentationml/2006/main">
  <p:tag name="AS_UNIQUEID" val="3350"/>
</p:tagLst>
</file>

<file path=ppt/tags/tag434.xml><?xml version="1.0" encoding="utf-8"?>
<p:tagLst xmlns:p="http://schemas.openxmlformats.org/presentationml/2006/main">
  <p:tag name="AS_UNIQUEID" val="3351"/>
</p:tagLst>
</file>

<file path=ppt/tags/tag435.xml><?xml version="1.0" encoding="utf-8"?>
<p:tagLst xmlns:p="http://schemas.openxmlformats.org/presentationml/2006/main">
  <p:tag name="AS_UNIQUEID" val="3352"/>
</p:tagLst>
</file>

<file path=ppt/tags/tag436.xml><?xml version="1.0" encoding="utf-8"?>
<p:tagLst xmlns:p="http://schemas.openxmlformats.org/presentationml/2006/main">
  <p:tag name="AS_UNIQUEID" val="3353"/>
  <p:tag name="THINKCELLSHAPEDONOTDELETE" val="thinkcellActiveDocDoNotDelete"/>
</p:tagLst>
</file>

<file path=ppt/tags/tag437.xml><?xml version="1.0" encoding="utf-8"?>
<p:tagLst xmlns:p="http://schemas.openxmlformats.org/presentationml/2006/main">
  <p:tag name="AS_UNIQUEID" val="3354"/>
</p:tagLst>
</file>

<file path=ppt/tags/tag438.xml><?xml version="1.0" encoding="utf-8"?>
<p:tagLst xmlns:p="http://schemas.openxmlformats.org/presentationml/2006/main">
  <p:tag name="AS_UNIQUEID" val="3355"/>
</p:tagLst>
</file>

<file path=ppt/tags/tag439.xml><?xml version="1.0" encoding="utf-8"?>
<p:tagLst xmlns:p="http://schemas.openxmlformats.org/presentationml/2006/main">
  <p:tag name="AS_UNIQUEID" val="3356"/>
</p:tagLst>
</file>

<file path=ppt/tags/tag44.xml><?xml version="1.0" encoding="utf-8"?>
<p:tagLst xmlns:p="http://schemas.openxmlformats.org/presentationml/2006/main">
  <p:tag name="AS_UNIQUEID" val="2961"/>
</p:tagLst>
</file>

<file path=ppt/tags/tag440.xml><?xml version="1.0" encoding="utf-8"?>
<p:tagLst xmlns:p="http://schemas.openxmlformats.org/presentationml/2006/main">
  <p:tag name="AS_UNIQUEID" val="3357"/>
</p:tagLst>
</file>

<file path=ppt/tags/tag441.xml><?xml version="1.0" encoding="utf-8"?>
<p:tagLst xmlns:p="http://schemas.openxmlformats.org/presentationml/2006/main">
  <p:tag name="AS_UNIQUEID" val="3358"/>
</p:tagLst>
</file>

<file path=ppt/tags/tag442.xml><?xml version="1.0" encoding="utf-8"?>
<p:tagLst xmlns:p="http://schemas.openxmlformats.org/presentationml/2006/main">
  <p:tag name="AS_UNIQUEID" val="3359"/>
</p:tagLst>
</file>

<file path=ppt/tags/tag443.xml><?xml version="1.0" encoding="utf-8"?>
<p:tagLst xmlns:p="http://schemas.openxmlformats.org/presentationml/2006/main">
  <p:tag name="AS_UNIQUEID" val="3360"/>
</p:tagLst>
</file>

<file path=ppt/tags/tag444.xml><?xml version="1.0" encoding="utf-8"?>
<p:tagLst xmlns:p="http://schemas.openxmlformats.org/presentationml/2006/main">
  <p:tag name="AS_UNIQUEID" val="3361"/>
</p:tagLst>
</file>

<file path=ppt/tags/tag445.xml><?xml version="1.0" encoding="utf-8"?>
<p:tagLst xmlns:p="http://schemas.openxmlformats.org/presentationml/2006/main">
  <p:tag name="AS_UNIQUEID" val="3362"/>
</p:tagLst>
</file>

<file path=ppt/tags/tag446.xml><?xml version="1.0" encoding="utf-8"?>
<p:tagLst xmlns:p="http://schemas.openxmlformats.org/presentationml/2006/main">
  <p:tag name="AS_UNIQUEID" val="3363"/>
</p:tagLst>
</file>

<file path=ppt/tags/tag447.xml><?xml version="1.0" encoding="utf-8"?>
<p:tagLst xmlns:p="http://schemas.openxmlformats.org/presentationml/2006/main">
  <p:tag name="AS_UNIQUEID" val="3364"/>
</p:tagLst>
</file>

<file path=ppt/tags/tag448.xml><?xml version="1.0" encoding="utf-8"?>
<p:tagLst xmlns:p="http://schemas.openxmlformats.org/presentationml/2006/main">
  <p:tag name="AS_UNIQUEID" val="3365"/>
</p:tagLst>
</file>

<file path=ppt/tags/tag449.xml><?xml version="1.0" encoding="utf-8"?>
<p:tagLst xmlns:p="http://schemas.openxmlformats.org/presentationml/2006/main">
  <p:tag name="AS_UNIQUEID" val="3366"/>
</p:tagLst>
</file>

<file path=ppt/tags/tag45.xml><?xml version="1.0" encoding="utf-8"?>
<p:tagLst xmlns:p="http://schemas.openxmlformats.org/presentationml/2006/main">
  <p:tag name="AS_UNIQUEID" val="2962"/>
</p:tagLst>
</file>

<file path=ppt/tags/tag450.xml><?xml version="1.0" encoding="utf-8"?>
<p:tagLst xmlns:p="http://schemas.openxmlformats.org/presentationml/2006/main">
  <p:tag name="AS_UNIQUEID" val="3367"/>
</p:tagLst>
</file>

<file path=ppt/tags/tag451.xml><?xml version="1.0" encoding="utf-8"?>
<p:tagLst xmlns:p="http://schemas.openxmlformats.org/presentationml/2006/main">
  <p:tag name="AS_UNIQUEID" val="3368"/>
</p:tagLst>
</file>

<file path=ppt/tags/tag452.xml><?xml version="1.0" encoding="utf-8"?>
<p:tagLst xmlns:p="http://schemas.openxmlformats.org/presentationml/2006/main">
  <p:tag name="AS_UNIQUEID" val="3369"/>
</p:tagLst>
</file>

<file path=ppt/tags/tag453.xml><?xml version="1.0" encoding="utf-8"?>
<p:tagLst xmlns:p="http://schemas.openxmlformats.org/presentationml/2006/main">
  <p:tag name="AS_UNIQUEID" val="3370"/>
</p:tagLst>
</file>

<file path=ppt/tags/tag454.xml><?xml version="1.0" encoding="utf-8"?>
<p:tagLst xmlns:p="http://schemas.openxmlformats.org/presentationml/2006/main">
  <p:tag name="AS_UNIQUEID" val="3371"/>
</p:tagLst>
</file>

<file path=ppt/tags/tag455.xml><?xml version="1.0" encoding="utf-8"?>
<p:tagLst xmlns:p="http://schemas.openxmlformats.org/presentationml/2006/main">
  <p:tag name="AS_UNIQUEID" val="3372"/>
</p:tagLst>
</file>

<file path=ppt/tags/tag456.xml><?xml version="1.0" encoding="utf-8"?>
<p:tagLst xmlns:p="http://schemas.openxmlformats.org/presentationml/2006/main">
  <p:tag name="AS_UNIQUEID" val="3373"/>
</p:tagLst>
</file>

<file path=ppt/tags/tag457.xml><?xml version="1.0" encoding="utf-8"?>
<p:tagLst xmlns:p="http://schemas.openxmlformats.org/presentationml/2006/main">
  <p:tag name="AS_UNIQUEID" val="3374"/>
</p:tagLst>
</file>

<file path=ppt/tags/tag458.xml><?xml version="1.0" encoding="utf-8"?>
<p:tagLst xmlns:p="http://schemas.openxmlformats.org/presentationml/2006/main">
  <p:tag name="AS_UNIQUEID" val="3375"/>
</p:tagLst>
</file>

<file path=ppt/tags/tag459.xml><?xml version="1.0" encoding="utf-8"?>
<p:tagLst xmlns:p="http://schemas.openxmlformats.org/presentationml/2006/main">
  <p:tag name="AS_UNIQUEID" val="3376"/>
</p:tagLst>
</file>

<file path=ppt/tags/tag46.xml><?xml version="1.0" encoding="utf-8"?>
<p:tagLst xmlns:p="http://schemas.openxmlformats.org/presentationml/2006/main">
  <p:tag name="AS_UNIQUEID" val="2963"/>
</p:tagLst>
</file>

<file path=ppt/tags/tag460.xml><?xml version="1.0" encoding="utf-8"?>
<p:tagLst xmlns:p="http://schemas.openxmlformats.org/presentationml/2006/main">
  <p:tag name="AS_UNIQUEID" val="3377"/>
</p:tagLst>
</file>

<file path=ppt/tags/tag461.xml><?xml version="1.0" encoding="utf-8"?>
<p:tagLst xmlns:p="http://schemas.openxmlformats.org/presentationml/2006/main">
  <p:tag name="AS_UNIQUEID" val="3378"/>
</p:tagLst>
</file>

<file path=ppt/tags/tag462.xml><?xml version="1.0" encoding="utf-8"?>
<p:tagLst xmlns:p="http://schemas.openxmlformats.org/presentationml/2006/main">
  <p:tag name="AS_UNIQUEID" val="3379"/>
</p:tagLst>
</file>

<file path=ppt/tags/tag463.xml><?xml version="1.0" encoding="utf-8"?>
<p:tagLst xmlns:p="http://schemas.openxmlformats.org/presentationml/2006/main">
  <p:tag name="AS_UNIQUEID" val="3380"/>
</p:tagLst>
</file>

<file path=ppt/tags/tag464.xml><?xml version="1.0" encoding="utf-8"?>
<p:tagLst xmlns:p="http://schemas.openxmlformats.org/presentationml/2006/main">
  <p:tag name="AS_UNIQUEID" val="3381"/>
</p:tagLst>
</file>

<file path=ppt/tags/tag465.xml><?xml version="1.0" encoding="utf-8"?>
<p:tagLst xmlns:p="http://schemas.openxmlformats.org/presentationml/2006/main">
  <p:tag name="AS_UNIQUEID" val="3382"/>
</p:tagLst>
</file>

<file path=ppt/tags/tag466.xml><?xml version="1.0" encoding="utf-8"?>
<p:tagLst xmlns:p="http://schemas.openxmlformats.org/presentationml/2006/main">
  <p:tag name="AS_UNIQUEID" val="3383"/>
</p:tagLst>
</file>

<file path=ppt/tags/tag467.xml><?xml version="1.0" encoding="utf-8"?>
<p:tagLst xmlns:p="http://schemas.openxmlformats.org/presentationml/2006/main">
  <p:tag name="AS_UNIQUEID" val="3384"/>
</p:tagLst>
</file>

<file path=ppt/tags/tag468.xml><?xml version="1.0" encoding="utf-8"?>
<p:tagLst xmlns:p="http://schemas.openxmlformats.org/presentationml/2006/main">
  <p:tag name="AS_UNIQUEID" val="3385"/>
</p:tagLst>
</file>

<file path=ppt/tags/tag469.xml><?xml version="1.0" encoding="utf-8"?>
<p:tagLst xmlns:p="http://schemas.openxmlformats.org/presentationml/2006/main">
  <p:tag name="AS_UNIQUEID" val="3386"/>
</p:tagLst>
</file>

<file path=ppt/tags/tag47.xml><?xml version="1.0" encoding="utf-8"?>
<p:tagLst xmlns:p="http://schemas.openxmlformats.org/presentationml/2006/main">
  <p:tag name="AS_UNIQUEID" val="2964"/>
</p:tagLst>
</file>

<file path=ppt/tags/tag470.xml><?xml version="1.0" encoding="utf-8"?>
<p:tagLst xmlns:p="http://schemas.openxmlformats.org/presentationml/2006/main">
  <p:tag name="AS_UNIQUEID" val="3387"/>
</p:tagLst>
</file>

<file path=ppt/tags/tag471.xml><?xml version="1.0" encoding="utf-8"?>
<p:tagLst xmlns:p="http://schemas.openxmlformats.org/presentationml/2006/main">
  <p:tag name="AS_UNIQUEID" val="3388"/>
</p:tagLst>
</file>

<file path=ppt/tags/tag472.xml><?xml version="1.0" encoding="utf-8"?>
<p:tagLst xmlns:p="http://schemas.openxmlformats.org/presentationml/2006/main">
  <p:tag name="AS_UNIQUEID" val="3389"/>
</p:tagLst>
</file>

<file path=ppt/tags/tag473.xml><?xml version="1.0" encoding="utf-8"?>
<p:tagLst xmlns:p="http://schemas.openxmlformats.org/presentationml/2006/main">
  <p:tag name="AS_UNIQUEID" val="3390"/>
</p:tagLst>
</file>

<file path=ppt/tags/tag474.xml><?xml version="1.0" encoding="utf-8"?>
<p:tagLst xmlns:p="http://schemas.openxmlformats.org/presentationml/2006/main">
  <p:tag name="AS_UNIQUEID" val="3391"/>
</p:tagLst>
</file>

<file path=ppt/tags/tag475.xml><?xml version="1.0" encoding="utf-8"?>
<p:tagLst xmlns:p="http://schemas.openxmlformats.org/presentationml/2006/main">
  <p:tag name="AS_UNIQUEID" val="3392"/>
</p:tagLst>
</file>

<file path=ppt/tags/tag476.xml><?xml version="1.0" encoding="utf-8"?>
<p:tagLst xmlns:p="http://schemas.openxmlformats.org/presentationml/2006/main">
  <p:tag name="AS_UNIQUEID" val="3393"/>
</p:tagLst>
</file>

<file path=ppt/tags/tag477.xml><?xml version="1.0" encoding="utf-8"?>
<p:tagLst xmlns:p="http://schemas.openxmlformats.org/presentationml/2006/main">
  <p:tag name="AS_UNIQUEID" val="3394"/>
</p:tagLst>
</file>

<file path=ppt/tags/tag478.xml><?xml version="1.0" encoding="utf-8"?>
<p:tagLst xmlns:p="http://schemas.openxmlformats.org/presentationml/2006/main">
  <p:tag name="AS_UNIQUEID" val="3395"/>
</p:tagLst>
</file>

<file path=ppt/tags/tag479.xml><?xml version="1.0" encoding="utf-8"?>
<p:tagLst xmlns:p="http://schemas.openxmlformats.org/presentationml/2006/main">
  <p:tag name="AS_UNIQUEID" val="3396"/>
</p:tagLst>
</file>

<file path=ppt/tags/tag48.xml><?xml version="1.0" encoding="utf-8"?>
<p:tagLst xmlns:p="http://schemas.openxmlformats.org/presentationml/2006/main">
  <p:tag name="AS_UNIQUEID" val="2965"/>
</p:tagLst>
</file>

<file path=ppt/tags/tag480.xml><?xml version="1.0" encoding="utf-8"?>
<p:tagLst xmlns:p="http://schemas.openxmlformats.org/presentationml/2006/main">
  <p:tag name="AS_UNIQUEID" val="3397"/>
</p:tagLst>
</file>

<file path=ppt/tags/tag481.xml><?xml version="1.0" encoding="utf-8"?>
<p:tagLst xmlns:p="http://schemas.openxmlformats.org/presentationml/2006/main">
  <p:tag name="AS_UNIQUEID" val="3398"/>
</p:tagLst>
</file>

<file path=ppt/tags/tag482.xml><?xml version="1.0" encoding="utf-8"?>
<p:tagLst xmlns:p="http://schemas.openxmlformats.org/presentationml/2006/main">
  <p:tag name="AS_UNIQUEID" val="3399"/>
</p:tagLst>
</file>

<file path=ppt/tags/tag483.xml><?xml version="1.0" encoding="utf-8"?>
<p:tagLst xmlns:p="http://schemas.openxmlformats.org/presentationml/2006/main">
  <p:tag name="AS_UNIQUEID" val="3400"/>
</p:tagLst>
</file>

<file path=ppt/tags/tag484.xml><?xml version="1.0" encoding="utf-8"?>
<p:tagLst xmlns:p="http://schemas.openxmlformats.org/presentationml/2006/main">
  <p:tag name="AS_UNIQUEID" val="3401"/>
</p:tagLst>
</file>

<file path=ppt/tags/tag485.xml><?xml version="1.0" encoding="utf-8"?>
<p:tagLst xmlns:p="http://schemas.openxmlformats.org/presentationml/2006/main">
  <p:tag name="AS_UNIQUEID" val="3402"/>
</p:tagLst>
</file>

<file path=ppt/tags/tag486.xml><?xml version="1.0" encoding="utf-8"?>
<p:tagLst xmlns:p="http://schemas.openxmlformats.org/presentationml/2006/main">
  <p:tag name="AS_UNIQUEID" val="3403"/>
</p:tagLst>
</file>

<file path=ppt/tags/tag487.xml><?xml version="1.0" encoding="utf-8"?>
<p:tagLst xmlns:p="http://schemas.openxmlformats.org/presentationml/2006/main">
  <p:tag name="AS_UNIQUEID" val="3404"/>
</p:tagLst>
</file>

<file path=ppt/tags/tag488.xml><?xml version="1.0" encoding="utf-8"?>
<p:tagLst xmlns:p="http://schemas.openxmlformats.org/presentationml/2006/main">
  <p:tag name="AS_UNIQUEID" val="3405"/>
</p:tagLst>
</file>

<file path=ppt/tags/tag489.xml><?xml version="1.0" encoding="utf-8"?>
<p:tagLst xmlns:p="http://schemas.openxmlformats.org/presentationml/2006/main">
  <p:tag name="AS_UNIQUEID" val="3406"/>
</p:tagLst>
</file>

<file path=ppt/tags/tag49.xml><?xml version="1.0" encoding="utf-8"?>
<p:tagLst xmlns:p="http://schemas.openxmlformats.org/presentationml/2006/main">
  <p:tag name="AS_UNIQUEID" val="2966"/>
</p:tagLst>
</file>

<file path=ppt/tags/tag490.xml><?xml version="1.0" encoding="utf-8"?>
<p:tagLst xmlns:p="http://schemas.openxmlformats.org/presentationml/2006/main">
  <p:tag name="AS_UNIQUEID" val="3407"/>
</p:tagLst>
</file>

<file path=ppt/tags/tag491.xml><?xml version="1.0" encoding="utf-8"?>
<p:tagLst xmlns:p="http://schemas.openxmlformats.org/presentationml/2006/main">
  <p:tag name="AS_UNIQUEID" val="3408"/>
</p:tagLst>
</file>

<file path=ppt/tags/tag492.xml><?xml version="1.0" encoding="utf-8"?>
<p:tagLst xmlns:p="http://schemas.openxmlformats.org/presentationml/2006/main">
  <p:tag name="AS_UNIQUEID" val="3409"/>
</p:tagLst>
</file>

<file path=ppt/tags/tag493.xml><?xml version="1.0" encoding="utf-8"?>
<p:tagLst xmlns:p="http://schemas.openxmlformats.org/presentationml/2006/main">
  <p:tag name="AS_UNIQUEID" val="3410"/>
</p:tagLst>
</file>

<file path=ppt/tags/tag494.xml><?xml version="1.0" encoding="utf-8"?>
<p:tagLst xmlns:p="http://schemas.openxmlformats.org/presentationml/2006/main">
  <p:tag name="AS_UNIQUEID" val="3411"/>
</p:tagLst>
</file>

<file path=ppt/tags/tag495.xml><?xml version="1.0" encoding="utf-8"?>
<p:tagLst xmlns:p="http://schemas.openxmlformats.org/presentationml/2006/main">
  <p:tag name="AS_UNIQUEID" val="3412"/>
</p:tagLst>
</file>

<file path=ppt/tags/tag496.xml><?xml version="1.0" encoding="utf-8"?>
<p:tagLst xmlns:p="http://schemas.openxmlformats.org/presentationml/2006/main">
  <p:tag name="AS_UNIQUEID" val="3413"/>
</p:tagLst>
</file>

<file path=ppt/tags/tag497.xml><?xml version="1.0" encoding="utf-8"?>
<p:tagLst xmlns:p="http://schemas.openxmlformats.org/presentationml/2006/main">
  <p:tag name="AS_UNIQUEID" val="3414"/>
</p:tagLst>
</file>

<file path=ppt/tags/tag498.xml><?xml version="1.0" encoding="utf-8"?>
<p:tagLst xmlns:p="http://schemas.openxmlformats.org/presentationml/2006/main">
  <p:tag name="AS_UNIQUEID" val="3415"/>
</p:tagLst>
</file>

<file path=ppt/tags/tag499.xml><?xml version="1.0" encoding="utf-8"?>
<p:tagLst xmlns:p="http://schemas.openxmlformats.org/presentationml/2006/main">
  <p:tag name="AS_UNIQUEID" val="3416"/>
</p:tagLst>
</file>

<file path=ppt/tags/tag5.xml><?xml version="1.0" encoding="utf-8"?>
<p:tagLst xmlns:p="http://schemas.openxmlformats.org/presentationml/2006/main">
  <p:tag name="AS_UNIQUEID" val="2922"/>
</p:tagLst>
</file>

<file path=ppt/tags/tag50.xml><?xml version="1.0" encoding="utf-8"?>
<p:tagLst xmlns:p="http://schemas.openxmlformats.org/presentationml/2006/main">
  <p:tag name="AS_UNIQUEID" val="2967"/>
</p:tagLst>
</file>

<file path=ppt/tags/tag500.xml><?xml version="1.0" encoding="utf-8"?>
<p:tagLst xmlns:p="http://schemas.openxmlformats.org/presentationml/2006/main">
  <p:tag name="AS_UNIQUEID" val="3417"/>
</p:tagLst>
</file>

<file path=ppt/tags/tag501.xml><?xml version="1.0" encoding="utf-8"?>
<p:tagLst xmlns:p="http://schemas.openxmlformats.org/presentationml/2006/main">
  <p:tag name="AS_UNIQUEID" val="3418"/>
</p:tagLst>
</file>

<file path=ppt/tags/tag502.xml><?xml version="1.0" encoding="utf-8"?>
<p:tagLst xmlns:p="http://schemas.openxmlformats.org/presentationml/2006/main">
  <p:tag name="AS_UNIQUEID" val="3419"/>
</p:tagLst>
</file>

<file path=ppt/tags/tag503.xml><?xml version="1.0" encoding="utf-8"?>
<p:tagLst xmlns:p="http://schemas.openxmlformats.org/presentationml/2006/main">
  <p:tag name="AS_UNIQUEID" val="3420"/>
</p:tagLst>
</file>

<file path=ppt/tags/tag504.xml><?xml version="1.0" encoding="utf-8"?>
<p:tagLst xmlns:p="http://schemas.openxmlformats.org/presentationml/2006/main">
  <p:tag name="AS_UNIQUEID" val="3421"/>
</p:tagLst>
</file>

<file path=ppt/tags/tag505.xml><?xml version="1.0" encoding="utf-8"?>
<p:tagLst xmlns:p="http://schemas.openxmlformats.org/presentationml/2006/main">
  <p:tag name="AS_UNIQUEID" val="3422"/>
</p:tagLst>
</file>

<file path=ppt/tags/tag506.xml><?xml version="1.0" encoding="utf-8"?>
<p:tagLst xmlns:p="http://schemas.openxmlformats.org/presentationml/2006/main">
  <p:tag name="AS_UNIQUEID" val="3423"/>
</p:tagLst>
</file>

<file path=ppt/tags/tag507.xml><?xml version="1.0" encoding="utf-8"?>
<p:tagLst xmlns:p="http://schemas.openxmlformats.org/presentationml/2006/main">
  <p:tag name="AS_UNIQUEID" val="3424"/>
</p:tagLst>
</file>

<file path=ppt/tags/tag508.xml><?xml version="1.0" encoding="utf-8"?>
<p:tagLst xmlns:p="http://schemas.openxmlformats.org/presentationml/2006/main">
  <p:tag name="AS_UNIQUEID" val="3425"/>
</p:tagLst>
</file>

<file path=ppt/tags/tag509.xml><?xml version="1.0" encoding="utf-8"?>
<p:tagLst xmlns:p="http://schemas.openxmlformats.org/presentationml/2006/main">
  <p:tag name="AS_UNIQUEID" val="3426"/>
</p:tagLst>
</file>

<file path=ppt/tags/tag51.xml><?xml version="1.0" encoding="utf-8"?>
<p:tagLst xmlns:p="http://schemas.openxmlformats.org/presentationml/2006/main">
  <p:tag name="AS_UNIQUEID" val="2968"/>
</p:tagLst>
</file>

<file path=ppt/tags/tag510.xml><?xml version="1.0" encoding="utf-8"?>
<p:tagLst xmlns:p="http://schemas.openxmlformats.org/presentationml/2006/main">
  <p:tag name="AS_UNIQUEID" val="3427"/>
</p:tagLst>
</file>

<file path=ppt/tags/tag511.xml><?xml version="1.0" encoding="utf-8"?>
<p:tagLst xmlns:p="http://schemas.openxmlformats.org/presentationml/2006/main">
  <p:tag name="AS_UNIQUEID" val="3428"/>
</p:tagLst>
</file>

<file path=ppt/tags/tag512.xml><?xml version="1.0" encoding="utf-8"?>
<p:tagLst xmlns:p="http://schemas.openxmlformats.org/presentationml/2006/main">
  <p:tag name="AS_UNIQUEID" val="3429"/>
</p:tagLst>
</file>

<file path=ppt/tags/tag513.xml><?xml version="1.0" encoding="utf-8"?>
<p:tagLst xmlns:p="http://schemas.openxmlformats.org/presentationml/2006/main">
  <p:tag name="AS_UNIQUEID" val="3430"/>
</p:tagLst>
</file>

<file path=ppt/tags/tag514.xml><?xml version="1.0" encoding="utf-8"?>
<p:tagLst xmlns:p="http://schemas.openxmlformats.org/presentationml/2006/main">
  <p:tag name="AS_UNIQUEID" val="3431"/>
</p:tagLst>
</file>

<file path=ppt/tags/tag515.xml><?xml version="1.0" encoding="utf-8"?>
<p:tagLst xmlns:p="http://schemas.openxmlformats.org/presentationml/2006/main">
  <p:tag name="AS_UNIQUEID" val="3432"/>
</p:tagLst>
</file>

<file path=ppt/tags/tag516.xml><?xml version="1.0" encoding="utf-8"?>
<p:tagLst xmlns:p="http://schemas.openxmlformats.org/presentationml/2006/main">
  <p:tag name="AS_UNIQUEID" val="3433"/>
</p:tagLst>
</file>

<file path=ppt/tags/tag517.xml><?xml version="1.0" encoding="utf-8"?>
<p:tagLst xmlns:p="http://schemas.openxmlformats.org/presentationml/2006/main">
  <p:tag name="AS_UNIQUEID" val="3434"/>
</p:tagLst>
</file>

<file path=ppt/tags/tag518.xml><?xml version="1.0" encoding="utf-8"?>
<p:tagLst xmlns:p="http://schemas.openxmlformats.org/presentationml/2006/main">
  <p:tag name="AS_UNIQUEID" val="3435"/>
</p:tagLst>
</file>

<file path=ppt/tags/tag519.xml><?xml version="1.0" encoding="utf-8"?>
<p:tagLst xmlns:p="http://schemas.openxmlformats.org/presentationml/2006/main">
  <p:tag name="AS_UNIQUEID" val="3436"/>
</p:tagLst>
</file>

<file path=ppt/tags/tag52.xml><?xml version="1.0" encoding="utf-8"?>
<p:tagLst xmlns:p="http://schemas.openxmlformats.org/presentationml/2006/main">
  <p:tag name="AS_UNIQUEID" val="2969"/>
</p:tagLst>
</file>

<file path=ppt/tags/tag520.xml><?xml version="1.0" encoding="utf-8"?>
<p:tagLst xmlns:p="http://schemas.openxmlformats.org/presentationml/2006/main">
  <p:tag name="AS_UNIQUEID" val="3437"/>
</p:tagLst>
</file>

<file path=ppt/tags/tag521.xml><?xml version="1.0" encoding="utf-8"?>
<p:tagLst xmlns:p="http://schemas.openxmlformats.org/presentationml/2006/main">
  <p:tag name="AS_UNIQUEID" val="3438"/>
</p:tagLst>
</file>

<file path=ppt/tags/tag522.xml><?xml version="1.0" encoding="utf-8"?>
<p:tagLst xmlns:p="http://schemas.openxmlformats.org/presentationml/2006/main">
  <p:tag name="AS_UNIQUEID" val="3439"/>
</p:tagLst>
</file>

<file path=ppt/tags/tag523.xml><?xml version="1.0" encoding="utf-8"?>
<p:tagLst xmlns:p="http://schemas.openxmlformats.org/presentationml/2006/main">
  <p:tag name="AS_UNIQUEID" val="3440"/>
</p:tagLst>
</file>

<file path=ppt/tags/tag524.xml><?xml version="1.0" encoding="utf-8"?>
<p:tagLst xmlns:p="http://schemas.openxmlformats.org/presentationml/2006/main">
  <p:tag name="AS_UNIQUEID" val="3441"/>
</p:tagLst>
</file>

<file path=ppt/tags/tag525.xml><?xml version="1.0" encoding="utf-8"?>
<p:tagLst xmlns:p="http://schemas.openxmlformats.org/presentationml/2006/main">
  <p:tag name="AS_UNIQUEID" val="3442"/>
</p:tagLst>
</file>

<file path=ppt/tags/tag526.xml><?xml version="1.0" encoding="utf-8"?>
<p:tagLst xmlns:p="http://schemas.openxmlformats.org/presentationml/2006/main">
  <p:tag name="AS_UNIQUEID" val="3443"/>
</p:tagLst>
</file>

<file path=ppt/tags/tag527.xml><?xml version="1.0" encoding="utf-8"?>
<p:tagLst xmlns:p="http://schemas.openxmlformats.org/presentationml/2006/main">
  <p:tag name="AS_UNIQUEID" val="3444"/>
</p:tagLst>
</file>

<file path=ppt/tags/tag528.xml><?xml version="1.0" encoding="utf-8"?>
<p:tagLst xmlns:p="http://schemas.openxmlformats.org/presentationml/2006/main">
  <p:tag name="AS_UNIQUEID" val="3445"/>
</p:tagLst>
</file>

<file path=ppt/tags/tag529.xml><?xml version="1.0" encoding="utf-8"?>
<p:tagLst xmlns:p="http://schemas.openxmlformats.org/presentationml/2006/main">
  <p:tag name="AS_UNIQUEID" val="3446"/>
</p:tagLst>
</file>

<file path=ppt/tags/tag53.xml><?xml version="1.0" encoding="utf-8"?>
<p:tagLst xmlns:p="http://schemas.openxmlformats.org/presentationml/2006/main">
  <p:tag name="AS_UNIQUEID" val="2970"/>
</p:tagLst>
</file>

<file path=ppt/tags/tag530.xml><?xml version="1.0" encoding="utf-8"?>
<p:tagLst xmlns:p="http://schemas.openxmlformats.org/presentationml/2006/main">
  <p:tag name="AS_UNIQUEID" val="3447"/>
</p:tagLst>
</file>

<file path=ppt/tags/tag531.xml><?xml version="1.0" encoding="utf-8"?>
<p:tagLst xmlns:p="http://schemas.openxmlformats.org/presentationml/2006/main">
  <p:tag name="AS_UNIQUEID" val="3448"/>
</p:tagLst>
</file>

<file path=ppt/tags/tag532.xml><?xml version="1.0" encoding="utf-8"?>
<p:tagLst xmlns:p="http://schemas.openxmlformats.org/presentationml/2006/main">
  <p:tag name="AS_UNIQUEID" val="3449"/>
</p:tagLst>
</file>

<file path=ppt/tags/tag533.xml><?xml version="1.0" encoding="utf-8"?>
<p:tagLst xmlns:p="http://schemas.openxmlformats.org/presentationml/2006/main">
  <p:tag name="AS_UNIQUEID" val="3450"/>
</p:tagLst>
</file>

<file path=ppt/tags/tag534.xml><?xml version="1.0" encoding="utf-8"?>
<p:tagLst xmlns:p="http://schemas.openxmlformats.org/presentationml/2006/main">
  <p:tag name="AS_UNIQUEID" val="3451"/>
</p:tagLst>
</file>

<file path=ppt/tags/tag535.xml><?xml version="1.0" encoding="utf-8"?>
<p:tagLst xmlns:p="http://schemas.openxmlformats.org/presentationml/2006/main">
  <p:tag name="AS_UNIQUEID" val="3452"/>
</p:tagLst>
</file>

<file path=ppt/tags/tag536.xml><?xml version="1.0" encoding="utf-8"?>
<p:tagLst xmlns:p="http://schemas.openxmlformats.org/presentationml/2006/main">
  <p:tag name="AS_UNIQUEID" val="3453"/>
</p:tagLst>
</file>

<file path=ppt/tags/tag537.xml><?xml version="1.0" encoding="utf-8"?>
<p:tagLst xmlns:p="http://schemas.openxmlformats.org/presentationml/2006/main">
  <p:tag name="AS_UNIQUEID" val="3454"/>
</p:tagLst>
</file>

<file path=ppt/tags/tag538.xml><?xml version="1.0" encoding="utf-8"?>
<p:tagLst xmlns:p="http://schemas.openxmlformats.org/presentationml/2006/main">
  <p:tag name="AS_UNIQUEID" val="3455"/>
</p:tagLst>
</file>

<file path=ppt/tags/tag539.xml><?xml version="1.0" encoding="utf-8"?>
<p:tagLst xmlns:p="http://schemas.openxmlformats.org/presentationml/2006/main">
  <p:tag name="AS_UNIQUEID" val="3456"/>
</p:tagLst>
</file>

<file path=ppt/tags/tag54.xml><?xml version="1.0" encoding="utf-8"?>
<p:tagLst xmlns:p="http://schemas.openxmlformats.org/presentationml/2006/main">
  <p:tag name="AS_UNIQUEID" val="2971"/>
</p:tagLst>
</file>

<file path=ppt/tags/tag540.xml><?xml version="1.0" encoding="utf-8"?>
<p:tagLst xmlns:p="http://schemas.openxmlformats.org/presentationml/2006/main">
  <p:tag name="AS_UNIQUEID" val="3457"/>
</p:tagLst>
</file>

<file path=ppt/tags/tag541.xml><?xml version="1.0" encoding="utf-8"?>
<p:tagLst xmlns:p="http://schemas.openxmlformats.org/presentationml/2006/main">
  <p:tag name="AS_UNIQUEID" val="3458"/>
</p:tagLst>
</file>

<file path=ppt/tags/tag542.xml><?xml version="1.0" encoding="utf-8"?>
<p:tagLst xmlns:p="http://schemas.openxmlformats.org/presentationml/2006/main">
  <p:tag name="AS_UNIQUEID" val="2217"/>
</p:tagLst>
</file>

<file path=ppt/tags/tag543.xml><?xml version="1.0" encoding="utf-8"?>
<p:tagLst xmlns:p="http://schemas.openxmlformats.org/presentationml/2006/main">
  <p:tag name="AS_UNIQUEID" val="2214"/>
</p:tagLst>
</file>

<file path=ppt/tags/tag544.xml><?xml version="1.0" encoding="utf-8"?>
<p:tagLst xmlns:p="http://schemas.openxmlformats.org/presentationml/2006/main">
  <p:tag name="AS_UNIQUEID" val="3459"/>
</p:tagLst>
</file>

<file path=ppt/tags/tag545.xml><?xml version="1.0" encoding="utf-8"?>
<p:tagLst xmlns:p="http://schemas.openxmlformats.org/presentationml/2006/main">
  <p:tag name="AS_UNIQUEID" val="3460"/>
</p:tagLst>
</file>

<file path=ppt/tags/tag546.xml><?xml version="1.0" encoding="utf-8"?>
<p:tagLst xmlns:p="http://schemas.openxmlformats.org/presentationml/2006/main">
  <p:tag name="AS_UNIQUEID" val="3461"/>
</p:tagLst>
</file>

<file path=ppt/tags/tag547.xml><?xml version="1.0" encoding="utf-8"?>
<p:tagLst xmlns:p="http://schemas.openxmlformats.org/presentationml/2006/main">
  <p:tag name="AS_UNIQUEID" val="3462"/>
</p:tagLst>
</file>

<file path=ppt/tags/tag548.xml><?xml version="1.0" encoding="utf-8"?>
<p:tagLst xmlns:p="http://schemas.openxmlformats.org/presentationml/2006/main">
  <p:tag name="AS_UNIQUEID" val="3463"/>
</p:tagLst>
</file>

<file path=ppt/tags/tag549.xml><?xml version="1.0" encoding="utf-8"?>
<p:tagLst xmlns:p="http://schemas.openxmlformats.org/presentationml/2006/main">
  <p:tag name="AS_UNIQUEID" val="3464"/>
</p:tagLst>
</file>

<file path=ppt/tags/tag55.xml><?xml version="1.0" encoding="utf-8"?>
<p:tagLst xmlns:p="http://schemas.openxmlformats.org/presentationml/2006/main">
  <p:tag name="AS_UNIQUEID" val="2972"/>
</p:tagLst>
</file>

<file path=ppt/tags/tag550.xml><?xml version="1.0" encoding="utf-8"?>
<p:tagLst xmlns:p="http://schemas.openxmlformats.org/presentationml/2006/main">
  <p:tag name="AS_UNIQUEID" val="3465"/>
</p:tagLst>
</file>

<file path=ppt/tags/tag551.xml><?xml version="1.0" encoding="utf-8"?>
<p:tagLst xmlns:p="http://schemas.openxmlformats.org/presentationml/2006/main">
  <p:tag name="AS_UNIQUEID" val="3466"/>
</p:tagLst>
</file>

<file path=ppt/tags/tag552.xml><?xml version="1.0" encoding="utf-8"?>
<p:tagLst xmlns:p="http://schemas.openxmlformats.org/presentationml/2006/main">
  <p:tag name="AS_UNIQUEID" val="3467"/>
</p:tagLst>
</file>

<file path=ppt/tags/tag553.xml><?xml version="1.0" encoding="utf-8"?>
<p:tagLst xmlns:p="http://schemas.openxmlformats.org/presentationml/2006/main">
  <p:tag name="AS_UNIQUEID" val="3468"/>
</p:tagLst>
</file>

<file path=ppt/tags/tag554.xml><?xml version="1.0" encoding="utf-8"?>
<p:tagLst xmlns:p="http://schemas.openxmlformats.org/presentationml/2006/main">
  <p:tag name="AS_UNIQUEID" val="3469"/>
</p:tagLst>
</file>

<file path=ppt/tags/tag555.xml><?xml version="1.0" encoding="utf-8"?>
<p:tagLst xmlns:p="http://schemas.openxmlformats.org/presentationml/2006/main">
  <p:tag name="AS_UNIQUEID" val="3470"/>
</p:tagLst>
</file>

<file path=ppt/tags/tag556.xml><?xml version="1.0" encoding="utf-8"?>
<p:tagLst xmlns:p="http://schemas.openxmlformats.org/presentationml/2006/main">
  <p:tag name="AS_UNIQUEID" val="3471"/>
</p:tagLst>
</file>

<file path=ppt/tags/tag557.xml><?xml version="1.0" encoding="utf-8"?>
<p:tagLst xmlns:p="http://schemas.openxmlformats.org/presentationml/2006/main">
  <p:tag name="AS_UNIQUEID" val="3472"/>
</p:tagLst>
</file>

<file path=ppt/tags/tag558.xml><?xml version="1.0" encoding="utf-8"?>
<p:tagLst xmlns:p="http://schemas.openxmlformats.org/presentationml/2006/main">
  <p:tag name="AS_UNIQUEID" val="3473"/>
</p:tagLst>
</file>

<file path=ppt/tags/tag559.xml><?xml version="1.0" encoding="utf-8"?>
<p:tagLst xmlns:p="http://schemas.openxmlformats.org/presentationml/2006/main">
  <p:tag name="AS_UNIQUEID" val="3474"/>
</p:tagLst>
</file>

<file path=ppt/tags/tag56.xml><?xml version="1.0" encoding="utf-8"?>
<p:tagLst xmlns:p="http://schemas.openxmlformats.org/presentationml/2006/main">
  <p:tag name="AS_UNIQUEID" val="2973"/>
</p:tagLst>
</file>

<file path=ppt/tags/tag560.xml><?xml version="1.0" encoding="utf-8"?>
<p:tagLst xmlns:p="http://schemas.openxmlformats.org/presentationml/2006/main">
  <p:tag name="AS_UNIQUEID" val="3475"/>
</p:tagLst>
</file>

<file path=ppt/tags/tag561.xml><?xml version="1.0" encoding="utf-8"?>
<p:tagLst xmlns:p="http://schemas.openxmlformats.org/presentationml/2006/main">
  <p:tag name="AS_UNIQUEID" val="3476"/>
</p:tagLst>
</file>

<file path=ppt/tags/tag562.xml><?xml version="1.0" encoding="utf-8"?>
<p:tagLst xmlns:p="http://schemas.openxmlformats.org/presentationml/2006/main">
  <p:tag name="AS_UNIQUEID" val="3477"/>
</p:tagLst>
</file>

<file path=ppt/tags/tag563.xml><?xml version="1.0" encoding="utf-8"?>
<p:tagLst xmlns:p="http://schemas.openxmlformats.org/presentationml/2006/main">
  <p:tag name="AS_UNIQUEID" val="3478"/>
</p:tagLst>
</file>

<file path=ppt/tags/tag564.xml><?xml version="1.0" encoding="utf-8"?>
<p:tagLst xmlns:p="http://schemas.openxmlformats.org/presentationml/2006/main">
  <p:tag name="AS_UNIQUEID" val="3479"/>
</p:tagLst>
</file>

<file path=ppt/tags/tag565.xml><?xml version="1.0" encoding="utf-8"?>
<p:tagLst xmlns:p="http://schemas.openxmlformats.org/presentationml/2006/main">
  <p:tag name="AS_UNIQUEID" val="3480"/>
</p:tagLst>
</file>

<file path=ppt/tags/tag566.xml><?xml version="1.0" encoding="utf-8"?>
<p:tagLst xmlns:p="http://schemas.openxmlformats.org/presentationml/2006/main">
  <p:tag name="AS_UNIQUEID" val="3481"/>
</p:tagLst>
</file>

<file path=ppt/tags/tag567.xml><?xml version="1.0" encoding="utf-8"?>
<p:tagLst xmlns:p="http://schemas.openxmlformats.org/presentationml/2006/main">
  <p:tag name="AS_UNIQUEID" val="3482"/>
</p:tagLst>
</file>

<file path=ppt/tags/tag568.xml><?xml version="1.0" encoding="utf-8"?>
<p:tagLst xmlns:p="http://schemas.openxmlformats.org/presentationml/2006/main">
  <p:tag name="AS_UNIQUEID" val="3483"/>
</p:tagLst>
</file>

<file path=ppt/tags/tag569.xml><?xml version="1.0" encoding="utf-8"?>
<p:tagLst xmlns:p="http://schemas.openxmlformats.org/presentationml/2006/main">
  <p:tag name="AS_UNIQUEID" val="3484"/>
</p:tagLst>
</file>

<file path=ppt/tags/tag57.xml><?xml version="1.0" encoding="utf-8"?>
<p:tagLst xmlns:p="http://schemas.openxmlformats.org/presentationml/2006/main">
  <p:tag name="AS_UNIQUEID" val="2974"/>
</p:tagLst>
</file>

<file path=ppt/tags/tag570.xml><?xml version="1.0" encoding="utf-8"?>
<p:tagLst xmlns:p="http://schemas.openxmlformats.org/presentationml/2006/main">
  <p:tag name="AS_UNIQUEID" val="3485"/>
</p:tagLst>
</file>

<file path=ppt/tags/tag571.xml><?xml version="1.0" encoding="utf-8"?>
<p:tagLst xmlns:p="http://schemas.openxmlformats.org/presentationml/2006/main">
  <p:tag name="AS_UNIQUEID" val="3486"/>
</p:tagLst>
</file>

<file path=ppt/tags/tag572.xml><?xml version="1.0" encoding="utf-8"?>
<p:tagLst xmlns:p="http://schemas.openxmlformats.org/presentationml/2006/main">
  <p:tag name="AS_UNIQUEID" val="3487"/>
</p:tagLst>
</file>

<file path=ppt/tags/tag573.xml><?xml version="1.0" encoding="utf-8"?>
<p:tagLst xmlns:p="http://schemas.openxmlformats.org/presentationml/2006/main">
  <p:tag name="AS_UNIQUEID" val="3488"/>
</p:tagLst>
</file>

<file path=ppt/tags/tag574.xml><?xml version="1.0" encoding="utf-8"?>
<p:tagLst xmlns:p="http://schemas.openxmlformats.org/presentationml/2006/main">
  <p:tag name="AS_UNIQUEID" val="3489"/>
</p:tagLst>
</file>

<file path=ppt/tags/tag575.xml><?xml version="1.0" encoding="utf-8"?>
<p:tagLst xmlns:p="http://schemas.openxmlformats.org/presentationml/2006/main">
  <p:tag name="AS_UNIQUEID" val="3490"/>
</p:tagLst>
</file>

<file path=ppt/tags/tag576.xml><?xml version="1.0" encoding="utf-8"?>
<p:tagLst xmlns:p="http://schemas.openxmlformats.org/presentationml/2006/main">
  <p:tag name="AS_UNIQUEID" val="3491"/>
</p:tagLst>
</file>

<file path=ppt/tags/tag577.xml><?xml version="1.0" encoding="utf-8"?>
<p:tagLst xmlns:p="http://schemas.openxmlformats.org/presentationml/2006/main">
  <p:tag name="AS_UNIQUEID" val="3492"/>
</p:tagLst>
</file>

<file path=ppt/tags/tag578.xml><?xml version="1.0" encoding="utf-8"?>
<p:tagLst xmlns:p="http://schemas.openxmlformats.org/presentationml/2006/main">
  <p:tag name="AS_UNIQUEID" val="3493"/>
</p:tagLst>
</file>

<file path=ppt/tags/tag579.xml><?xml version="1.0" encoding="utf-8"?>
<p:tagLst xmlns:p="http://schemas.openxmlformats.org/presentationml/2006/main">
  <p:tag name="AS_UNIQUEID" val="3494"/>
</p:tagLst>
</file>

<file path=ppt/tags/tag58.xml><?xml version="1.0" encoding="utf-8"?>
<p:tagLst xmlns:p="http://schemas.openxmlformats.org/presentationml/2006/main">
  <p:tag name="AS_UNIQUEID" val="2975"/>
</p:tagLst>
</file>

<file path=ppt/tags/tag580.xml><?xml version="1.0" encoding="utf-8"?>
<p:tagLst xmlns:p="http://schemas.openxmlformats.org/presentationml/2006/main">
  <p:tag name="AS_UNIQUEID" val="3495"/>
</p:tagLst>
</file>

<file path=ppt/tags/tag581.xml><?xml version="1.0" encoding="utf-8"?>
<p:tagLst xmlns:p="http://schemas.openxmlformats.org/presentationml/2006/main">
  <p:tag name="AS_UNIQUEID" val="3496"/>
</p:tagLst>
</file>

<file path=ppt/tags/tag582.xml><?xml version="1.0" encoding="utf-8"?>
<p:tagLst xmlns:p="http://schemas.openxmlformats.org/presentationml/2006/main">
  <p:tag name="AS_UNIQUEID" val="3497"/>
</p:tagLst>
</file>

<file path=ppt/tags/tag583.xml><?xml version="1.0" encoding="utf-8"?>
<p:tagLst xmlns:p="http://schemas.openxmlformats.org/presentationml/2006/main">
  <p:tag name="AS_UNIQUEID" val="3498"/>
</p:tagLst>
</file>

<file path=ppt/tags/tag584.xml><?xml version="1.0" encoding="utf-8"?>
<p:tagLst xmlns:p="http://schemas.openxmlformats.org/presentationml/2006/main">
  <p:tag name="AS_UNIQUEID" val="3499"/>
</p:tagLst>
</file>

<file path=ppt/tags/tag585.xml><?xml version="1.0" encoding="utf-8"?>
<p:tagLst xmlns:p="http://schemas.openxmlformats.org/presentationml/2006/main">
  <p:tag name="AS_UNIQUEID" val="3500"/>
</p:tagLst>
</file>

<file path=ppt/tags/tag586.xml><?xml version="1.0" encoding="utf-8"?>
<p:tagLst xmlns:p="http://schemas.openxmlformats.org/presentationml/2006/main">
  <p:tag name="AS_UNIQUEID" val="3501"/>
</p:tagLst>
</file>

<file path=ppt/tags/tag587.xml><?xml version="1.0" encoding="utf-8"?>
<p:tagLst xmlns:p="http://schemas.openxmlformats.org/presentationml/2006/main">
  <p:tag name="AS_UNIQUEID" val="3502"/>
</p:tagLst>
</file>

<file path=ppt/tags/tag588.xml><?xml version="1.0" encoding="utf-8"?>
<p:tagLst xmlns:p="http://schemas.openxmlformats.org/presentationml/2006/main">
  <p:tag name="AS_UNIQUEID" val="3503"/>
</p:tagLst>
</file>

<file path=ppt/tags/tag589.xml><?xml version="1.0" encoding="utf-8"?>
<p:tagLst xmlns:p="http://schemas.openxmlformats.org/presentationml/2006/main">
  <p:tag name="AS_UNIQUEID" val="3504"/>
</p:tagLst>
</file>

<file path=ppt/tags/tag59.xml><?xml version="1.0" encoding="utf-8"?>
<p:tagLst xmlns:p="http://schemas.openxmlformats.org/presentationml/2006/main">
  <p:tag name="AS_UNIQUEID" val="2976"/>
</p:tagLst>
</file>

<file path=ppt/tags/tag590.xml><?xml version="1.0" encoding="utf-8"?>
<p:tagLst xmlns:p="http://schemas.openxmlformats.org/presentationml/2006/main">
  <p:tag name="AS_UNIQUEID" val="3505"/>
</p:tagLst>
</file>

<file path=ppt/tags/tag591.xml><?xml version="1.0" encoding="utf-8"?>
<p:tagLst xmlns:p="http://schemas.openxmlformats.org/presentationml/2006/main">
  <p:tag name="AS_UNIQUEID" val="3506"/>
</p:tagLst>
</file>

<file path=ppt/tags/tag592.xml><?xml version="1.0" encoding="utf-8"?>
<p:tagLst xmlns:p="http://schemas.openxmlformats.org/presentationml/2006/main">
  <p:tag name="AS_UNIQUEID" val="3507"/>
</p:tagLst>
</file>

<file path=ppt/tags/tag593.xml><?xml version="1.0" encoding="utf-8"?>
<p:tagLst xmlns:p="http://schemas.openxmlformats.org/presentationml/2006/main">
  <p:tag name="AS_UNIQUEID" val="3508"/>
</p:tagLst>
</file>

<file path=ppt/tags/tag594.xml><?xml version="1.0" encoding="utf-8"?>
<p:tagLst xmlns:p="http://schemas.openxmlformats.org/presentationml/2006/main">
  <p:tag name="AS_UNIQUEID" val="3509"/>
</p:tagLst>
</file>

<file path=ppt/tags/tag595.xml><?xml version="1.0" encoding="utf-8"?>
<p:tagLst xmlns:p="http://schemas.openxmlformats.org/presentationml/2006/main">
  <p:tag name="AS_UNIQUEID" val="3510"/>
</p:tagLst>
</file>

<file path=ppt/tags/tag596.xml><?xml version="1.0" encoding="utf-8"?>
<p:tagLst xmlns:p="http://schemas.openxmlformats.org/presentationml/2006/main">
  <p:tag name="AS_UNIQUEID" val="3511"/>
</p:tagLst>
</file>

<file path=ppt/tags/tag597.xml><?xml version="1.0" encoding="utf-8"?>
<p:tagLst xmlns:p="http://schemas.openxmlformats.org/presentationml/2006/main">
  <p:tag name="AS_UNIQUEID" val="3512"/>
</p:tagLst>
</file>

<file path=ppt/tags/tag598.xml><?xml version="1.0" encoding="utf-8"?>
<p:tagLst xmlns:p="http://schemas.openxmlformats.org/presentationml/2006/main">
  <p:tag name="AS_UNIQUEID" val="3513"/>
</p:tagLst>
</file>

<file path=ppt/tags/tag599.xml><?xml version="1.0" encoding="utf-8"?>
<p:tagLst xmlns:p="http://schemas.openxmlformats.org/presentationml/2006/main">
  <p:tag name="AS_UNIQUEID" val="3514"/>
</p:tagLst>
</file>

<file path=ppt/tags/tag6.xml><?xml version="1.0" encoding="utf-8"?>
<p:tagLst xmlns:p="http://schemas.openxmlformats.org/presentationml/2006/main">
  <p:tag name="AS_UNIQUEID" val="2923"/>
</p:tagLst>
</file>

<file path=ppt/tags/tag60.xml><?xml version="1.0" encoding="utf-8"?>
<p:tagLst xmlns:p="http://schemas.openxmlformats.org/presentationml/2006/main">
  <p:tag name="AS_UNIQUEID" val="2977"/>
</p:tagLst>
</file>

<file path=ppt/tags/tag600.xml><?xml version="1.0" encoding="utf-8"?>
<p:tagLst xmlns:p="http://schemas.openxmlformats.org/presentationml/2006/main">
  <p:tag name="AS_UNIQUEID" val="3515"/>
</p:tagLst>
</file>

<file path=ppt/tags/tag601.xml><?xml version="1.0" encoding="utf-8"?>
<p:tagLst xmlns:p="http://schemas.openxmlformats.org/presentationml/2006/main">
  <p:tag name="AS_UNIQUEID" val="3516"/>
</p:tagLst>
</file>

<file path=ppt/tags/tag602.xml><?xml version="1.0" encoding="utf-8"?>
<p:tagLst xmlns:p="http://schemas.openxmlformats.org/presentationml/2006/main">
  <p:tag name="AS_UNIQUEID" val="3517"/>
</p:tagLst>
</file>

<file path=ppt/tags/tag603.xml><?xml version="1.0" encoding="utf-8"?>
<p:tagLst xmlns:p="http://schemas.openxmlformats.org/presentationml/2006/main">
  <p:tag name="AS_UNIQUEID" val="3518"/>
</p:tagLst>
</file>

<file path=ppt/tags/tag604.xml><?xml version="1.0" encoding="utf-8"?>
<p:tagLst xmlns:p="http://schemas.openxmlformats.org/presentationml/2006/main">
  <p:tag name="AS_UNIQUEID" val="3519"/>
</p:tagLst>
</file>

<file path=ppt/tags/tag605.xml><?xml version="1.0" encoding="utf-8"?>
<p:tagLst xmlns:p="http://schemas.openxmlformats.org/presentationml/2006/main">
  <p:tag name="AS_UNIQUEID" val="3520"/>
</p:tagLst>
</file>

<file path=ppt/tags/tag606.xml><?xml version="1.0" encoding="utf-8"?>
<p:tagLst xmlns:p="http://schemas.openxmlformats.org/presentationml/2006/main">
  <p:tag name="AS_UNIQUEID" val="3521"/>
</p:tagLst>
</file>

<file path=ppt/tags/tag607.xml><?xml version="1.0" encoding="utf-8"?>
<p:tagLst xmlns:p="http://schemas.openxmlformats.org/presentationml/2006/main">
  <p:tag name="AS_UNIQUEID" val="3522"/>
</p:tagLst>
</file>

<file path=ppt/tags/tag608.xml><?xml version="1.0" encoding="utf-8"?>
<p:tagLst xmlns:p="http://schemas.openxmlformats.org/presentationml/2006/main">
  <p:tag name="AS_UNIQUEID" val="3523"/>
</p:tagLst>
</file>

<file path=ppt/tags/tag609.xml><?xml version="1.0" encoding="utf-8"?>
<p:tagLst xmlns:p="http://schemas.openxmlformats.org/presentationml/2006/main">
  <p:tag name="AS_UNIQUEID" val="3524"/>
</p:tagLst>
</file>

<file path=ppt/tags/tag61.xml><?xml version="1.0" encoding="utf-8"?>
<p:tagLst xmlns:p="http://schemas.openxmlformats.org/presentationml/2006/main">
  <p:tag name="AS_UNIQUEID" val="2978"/>
</p:tagLst>
</file>

<file path=ppt/tags/tag610.xml><?xml version="1.0" encoding="utf-8"?>
<p:tagLst xmlns:p="http://schemas.openxmlformats.org/presentationml/2006/main">
  <p:tag name="AS_UNIQUEID" val="3525"/>
</p:tagLst>
</file>

<file path=ppt/tags/tag611.xml><?xml version="1.0" encoding="utf-8"?>
<p:tagLst xmlns:p="http://schemas.openxmlformats.org/presentationml/2006/main">
  <p:tag name="AS_UNIQUEID" val="3526"/>
</p:tagLst>
</file>

<file path=ppt/tags/tag612.xml><?xml version="1.0" encoding="utf-8"?>
<p:tagLst xmlns:p="http://schemas.openxmlformats.org/presentationml/2006/main">
  <p:tag name="AS_UNIQUEID" val="3527"/>
</p:tagLst>
</file>

<file path=ppt/tags/tag613.xml><?xml version="1.0" encoding="utf-8"?>
<p:tagLst xmlns:p="http://schemas.openxmlformats.org/presentationml/2006/main">
  <p:tag name="AS_UNIQUEID" val="3528"/>
</p:tagLst>
</file>

<file path=ppt/tags/tag614.xml><?xml version="1.0" encoding="utf-8"?>
<p:tagLst xmlns:p="http://schemas.openxmlformats.org/presentationml/2006/main">
  <p:tag name="AS_UNIQUEID" val="3529"/>
</p:tagLst>
</file>

<file path=ppt/tags/tag615.xml><?xml version="1.0" encoding="utf-8"?>
<p:tagLst xmlns:p="http://schemas.openxmlformats.org/presentationml/2006/main">
  <p:tag name="AS_UNIQUEID" val="3530"/>
</p:tagLst>
</file>

<file path=ppt/tags/tag616.xml><?xml version="1.0" encoding="utf-8"?>
<p:tagLst xmlns:p="http://schemas.openxmlformats.org/presentationml/2006/main">
  <p:tag name="AS_UNIQUEID" val="3531"/>
</p:tagLst>
</file>

<file path=ppt/tags/tag617.xml><?xml version="1.0" encoding="utf-8"?>
<p:tagLst xmlns:p="http://schemas.openxmlformats.org/presentationml/2006/main">
  <p:tag name="AS_UNIQUEID" val="3532"/>
</p:tagLst>
</file>

<file path=ppt/tags/tag618.xml><?xml version="1.0" encoding="utf-8"?>
<p:tagLst xmlns:p="http://schemas.openxmlformats.org/presentationml/2006/main">
  <p:tag name="AS_UNIQUEID" val="3533"/>
</p:tagLst>
</file>

<file path=ppt/tags/tag619.xml><?xml version="1.0" encoding="utf-8"?>
<p:tagLst xmlns:p="http://schemas.openxmlformats.org/presentationml/2006/main">
  <p:tag name="AS_UNIQUEID" val="3534"/>
</p:tagLst>
</file>

<file path=ppt/tags/tag62.xml><?xml version="1.0" encoding="utf-8"?>
<p:tagLst xmlns:p="http://schemas.openxmlformats.org/presentationml/2006/main">
  <p:tag name="AS_UNIQUEID" val="2979"/>
</p:tagLst>
</file>

<file path=ppt/tags/tag620.xml><?xml version="1.0" encoding="utf-8"?>
<p:tagLst xmlns:p="http://schemas.openxmlformats.org/presentationml/2006/main">
  <p:tag name="AS_UNIQUEID" val="3535"/>
</p:tagLst>
</file>

<file path=ppt/tags/tag621.xml><?xml version="1.0" encoding="utf-8"?>
<p:tagLst xmlns:p="http://schemas.openxmlformats.org/presentationml/2006/main">
  <p:tag name="AS_UNIQUEID" val="3536"/>
</p:tagLst>
</file>

<file path=ppt/tags/tag622.xml><?xml version="1.0" encoding="utf-8"?>
<p:tagLst xmlns:p="http://schemas.openxmlformats.org/presentationml/2006/main">
  <p:tag name="AS_UNIQUEID" val="3537"/>
</p:tagLst>
</file>

<file path=ppt/tags/tag623.xml><?xml version="1.0" encoding="utf-8"?>
<p:tagLst xmlns:p="http://schemas.openxmlformats.org/presentationml/2006/main">
  <p:tag name="AS_UNIQUEID" val="3538"/>
</p:tagLst>
</file>

<file path=ppt/tags/tag624.xml><?xml version="1.0" encoding="utf-8"?>
<p:tagLst xmlns:p="http://schemas.openxmlformats.org/presentationml/2006/main">
  <p:tag name="AS_UNIQUEID" val="3539"/>
</p:tagLst>
</file>

<file path=ppt/tags/tag625.xml><?xml version="1.0" encoding="utf-8"?>
<p:tagLst xmlns:p="http://schemas.openxmlformats.org/presentationml/2006/main">
  <p:tag name="AS_UNIQUEID" val="3540"/>
</p:tagLst>
</file>

<file path=ppt/tags/tag626.xml><?xml version="1.0" encoding="utf-8"?>
<p:tagLst xmlns:p="http://schemas.openxmlformats.org/presentationml/2006/main">
  <p:tag name="AS_UNIQUEID" val="3541"/>
</p:tagLst>
</file>

<file path=ppt/tags/tag627.xml><?xml version="1.0" encoding="utf-8"?>
<p:tagLst xmlns:p="http://schemas.openxmlformats.org/presentationml/2006/main">
  <p:tag name="AS_UNIQUEID" val="3542"/>
</p:tagLst>
</file>

<file path=ppt/tags/tag628.xml><?xml version="1.0" encoding="utf-8"?>
<p:tagLst xmlns:p="http://schemas.openxmlformats.org/presentationml/2006/main">
  <p:tag name="AS_UNIQUEID" val="3543"/>
</p:tagLst>
</file>

<file path=ppt/tags/tag629.xml><?xml version="1.0" encoding="utf-8"?>
<p:tagLst xmlns:p="http://schemas.openxmlformats.org/presentationml/2006/main">
  <p:tag name="AS_UNIQUEID" val="3544"/>
</p:tagLst>
</file>

<file path=ppt/tags/tag63.xml><?xml version="1.0" encoding="utf-8"?>
<p:tagLst xmlns:p="http://schemas.openxmlformats.org/presentationml/2006/main">
  <p:tag name="AS_UNIQUEID" val="2980"/>
</p:tagLst>
</file>

<file path=ppt/tags/tag630.xml><?xml version="1.0" encoding="utf-8"?>
<p:tagLst xmlns:p="http://schemas.openxmlformats.org/presentationml/2006/main">
  <p:tag name="AS_UNIQUEID" val="3545"/>
</p:tagLst>
</file>

<file path=ppt/tags/tag631.xml><?xml version="1.0" encoding="utf-8"?>
<p:tagLst xmlns:p="http://schemas.openxmlformats.org/presentationml/2006/main">
  <p:tag name="AS_UNIQUEID" val="3546"/>
</p:tagLst>
</file>

<file path=ppt/tags/tag632.xml><?xml version="1.0" encoding="utf-8"?>
<p:tagLst xmlns:p="http://schemas.openxmlformats.org/presentationml/2006/main">
  <p:tag name="AS_UNIQUEID" val="3547"/>
</p:tagLst>
</file>

<file path=ppt/tags/tag633.xml><?xml version="1.0" encoding="utf-8"?>
<p:tagLst xmlns:p="http://schemas.openxmlformats.org/presentationml/2006/main">
  <p:tag name="AS_UNIQUEID" val="3548"/>
</p:tagLst>
</file>

<file path=ppt/tags/tag634.xml><?xml version="1.0" encoding="utf-8"?>
<p:tagLst xmlns:p="http://schemas.openxmlformats.org/presentationml/2006/main">
  <p:tag name="AS_UNIQUEID" val="3549"/>
</p:tagLst>
</file>

<file path=ppt/tags/tag635.xml><?xml version="1.0" encoding="utf-8"?>
<p:tagLst xmlns:p="http://schemas.openxmlformats.org/presentationml/2006/main">
  <p:tag name="AS_UNIQUEID" val="3550"/>
</p:tagLst>
</file>

<file path=ppt/tags/tag636.xml><?xml version="1.0" encoding="utf-8"?>
<p:tagLst xmlns:p="http://schemas.openxmlformats.org/presentationml/2006/main">
  <p:tag name="AS_UNIQUEID" val="3551"/>
</p:tagLst>
</file>

<file path=ppt/tags/tag637.xml><?xml version="1.0" encoding="utf-8"?>
<p:tagLst xmlns:p="http://schemas.openxmlformats.org/presentationml/2006/main">
  <p:tag name="AS_UNIQUEID" val="3552"/>
</p:tagLst>
</file>

<file path=ppt/tags/tag638.xml><?xml version="1.0" encoding="utf-8"?>
<p:tagLst xmlns:p="http://schemas.openxmlformats.org/presentationml/2006/main">
  <p:tag name="AS_UNIQUEID" val="3553"/>
</p:tagLst>
</file>

<file path=ppt/tags/tag639.xml><?xml version="1.0" encoding="utf-8"?>
<p:tagLst xmlns:p="http://schemas.openxmlformats.org/presentationml/2006/main">
  <p:tag name="AS_UNIQUEID" val="3554"/>
</p:tagLst>
</file>

<file path=ppt/tags/tag64.xml><?xml version="1.0" encoding="utf-8"?>
<p:tagLst xmlns:p="http://schemas.openxmlformats.org/presentationml/2006/main">
  <p:tag name="AS_UNIQUEID" val="2981"/>
</p:tagLst>
</file>

<file path=ppt/tags/tag640.xml><?xml version="1.0" encoding="utf-8"?>
<p:tagLst xmlns:p="http://schemas.openxmlformats.org/presentationml/2006/main">
  <p:tag name="AS_UNIQUEID" val="3555"/>
</p:tagLst>
</file>

<file path=ppt/tags/tag641.xml><?xml version="1.0" encoding="utf-8"?>
<p:tagLst xmlns:p="http://schemas.openxmlformats.org/presentationml/2006/main">
  <p:tag name="AS_UNIQUEID" val="3556"/>
</p:tagLst>
</file>

<file path=ppt/tags/tag642.xml><?xml version="1.0" encoding="utf-8"?>
<p:tagLst xmlns:p="http://schemas.openxmlformats.org/presentationml/2006/main">
  <p:tag name="AS_UNIQUEID" val="3557"/>
</p:tagLst>
</file>

<file path=ppt/tags/tag643.xml><?xml version="1.0" encoding="utf-8"?>
<p:tagLst xmlns:p="http://schemas.openxmlformats.org/presentationml/2006/main">
  <p:tag name="AS_UNIQUEID" val="3558"/>
</p:tagLst>
</file>

<file path=ppt/tags/tag644.xml><?xml version="1.0" encoding="utf-8"?>
<p:tagLst xmlns:p="http://schemas.openxmlformats.org/presentationml/2006/main">
  <p:tag name="AS_UNIQUEID" val="3559"/>
</p:tagLst>
</file>

<file path=ppt/tags/tag645.xml><?xml version="1.0" encoding="utf-8"?>
<p:tagLst xmlns:p="http://schemas.openxmlformats.org/presentationml/2006/main">
  <p:tag name="AS_UNIQUEID" val="3560"/>
</p:tagLst>
</file>

<file path=ppt/tags/tag646.xml><?xml version="1.0" encoding="utf-8"?>
<p:tagLst xmlns:p="http://schemas.openxmlformats.org/presentationml/2006/main">
  <p:tag name="AS_UNIQUEID" val="3561"/>
</p:tagLst>
</file>

<file path=ppt/tags/tag647.xml><?xml version="1.0" encoding="utf-8"?>
<p:tagLst xmlns:p="http://schemas.openxmlformats.org/presentationml/2006/main">
  <p:tag name="AS_UNIQUEID" val="3562"/>
</p:tagLst>
</file>

<file path=ppt/tags/tag648.xml><?xml version="1.0" encoding="utf-8"?>
<p:tagLst xmlns:p="http://schemas.openxmlformats.org/presentationml/2006/main">
  <p:tag name="AS_UNIQUEID" val="3563"/>
</p:tagLst>
</file>

<file path=ppt/tags/tag649.xml><?xml version="1.0" encoding="utf-8"?>
<p:tagLst xmlns:p="http://schemas.openxmlformats.org/presentationml/2006/main">
  <p:tag name="AS_UNIQUEID" val="3564"/>
</p:tagLst>
</file>

<file path=ppt/tags/tag65.xml><?xml version="1.0" encoding="utf-8"?>
<p:tagLst xmlns:p="http://schemas.openxmlformats.org/presentationml/2006/main">
  <p:tag name="AS_UNIQUEID" val="2982"/>
</p:tagLst>
</file>

<file path=ppt/tags/tag650.xml><?xml version="1.0" encoding="utf-8"?>
<p:tagLst xmlns:p="http://schemas.openxmlformats.org/presentationml/2006/main">
  <p:tag name="AS_UNIQUEID" val="3565"/>
</p:tagLst>
</file>

<file path=ppt/tags/tag651.xml><?xml version="1.0" encoding="utf-8"?>
<p:tagLst xmlns:p="http://schemas.openxmlformats.org/presentationml/2006/main">
  <p:tag name="AS_UNIQUEID" val="3566"/>
</p:tagLst>
</file>

<file path=ppt/tags/tag652.xml><?xml version="1.0" encoding="utf-8"?>
<p:tagLst xmlns:p="http://schemas.openxmlformats.org/presentationml/2006/main">
  <p:tag name="AS_UNIQUEID" val="3567"/>
</p:tagLst>
</file>

<file path=ppt/tags/tag653.xml><?xml version="1.0" encoding="utf-8"?>
<p:tagLst xmlns:p="http://schemas.openxmlformats.org/presentationml/2006/main">
  <p:tag name="AS_UNIQUEID" val="3568"/>
</p:tagLst>
</file>

<file path=ppt/tags/tag654.xml><?xml version="1.0" encoding="utf-8"?>
<p:tagLst xmlns:p="http://schemas.openxmlformats.org/presentationml/2006/main">
  <p:tag name="AS_UNIQUEID" val="3569"/>
</p:tagLst>
</file>

<file path=ppt/tags/tag655.xml><?xml version="1.0" encoding="utf-8"?>
<p:tagLst xmlns:p="http://schemas.openxmlformats.org/presentationml/2006/main">
  <p:tag name="AS_UNIQUEID" val="3570"/>
</p:tagLst>
</file>

<file path=ppt/tags/tag656.xml><?xml version="1.0" encoding="utf-8"?>
<p:tagLst xmlns:p="http://schemas.openxmlformats.org/presentationml/2006/main">
  <p:tag name="AS_UNIQUEID" val="3571"/>
</p:tagLst>
</file>

<file path=ppt/tags/tag657.xml><?xml version="1.0" encoding="utf-8"?>
<p:tagLst xmlns:p="http://schemas.openxmlformats.org/presentationml/2006/main">
  <p:tag name="AS_UNIQUEID" val="3572"/>
</p:tagLst>
</file>

<file path=ppt/tags/tag658.xml><?xml version="1.0" encoding="utf-8"?>
<p:tagLst xmlns:p="http://schemas.openxmlformats.org/presentationml/2006/main">
  <p:tag name="AS_UNIQUEID" val="3573"/>
</p:tagLst>
</file>

<file path=ppt/tags/tag659.xml><?xml version="1.0" encoding="utf-8"?>
<p:tagLst xmlns:p="http://schemas.openxmlformats.org/presentationml/2006/main">
  <p:tag name="AS_UNIQUEID" val="3574"/>
</p:tagLst>
</file>

<file path=ppt/tags/tag66.xml><?xml version="1.0" encoding="utf-8"?>
<p:tagLst xmlns:p="http://schemas.openxmlformats.org/presentationml/2006/main">
  <p:tag name="AS_UNIQUEID" val="2983"/>
</p:tagLst>
</file>

<file path=ppt/tags/tag660.xml><?xml version="1.0" encoding="utf-8"?>
<p:tagLst xmlns:p="http://schemas.openxmlformats.org/presentationml/2006/main">
  <p:tag name="AS_UNIQUEID" val="3575"/>
</p:tagLst>
</file>

<file path=ppt/tags/tag661.xml><?xml version="1.0" encoding="utf-8"?>
<p:tagLst xmlns:p="http://schemas.openxmlformats.org/presentationml/2006/main">
  <p:tag name="AS_UNIQUEID" val="3576"/>
</p:tagLst>
</file>

<file path=ppt/tags/tag662.xml><?xml version="1.0" encoding="utf-8"?>
<p:tagLst xmlns:p="http://schemas.openxmlformats.org/presentationml/2006/main">
  <p:tag name="AS_UNIQUEID" val="3577"/>
</p:tagLst>
</file>

<file path=ppt/tags/tag663.xml><?xml version="1.0" encoding="utf-8"?>
<p:tagLst xmlns:p="http://schemas.openxmlformats.org/presentationml/2006/main">
  <p:tag name="AS_UNIQUEID" val="3578"/>
</p:tagLst>
</file>

<file path=ppt/tags/tag664.xml><?xml version="1.0" encoding="utf-8"?>
<p:tagLst xmlns:p="http://schemas.openxmlformats.org/presentationml/2006/main">
  <p:tag name="AS_UNIQUEID" val="3579"/>
</p:tagLst>
</file>

<file path=ppt/tags/tag665.xml><?xml version="1.0" encoding="utf-8"?>
<p:tagLst xmlns:p="http://schemas.openxmlformats.org/presentationml/2006/main">
  <p:tag name="AS_UNIQUEID" val="3580"/>
</p:tagLst>
</file>

<file path=ppt/tags/tag666.xml><?xml version="1.0" encoding="utf-8"?>
<p:tagLst xmlns:p="http://schemas.openxmlformats.org/presentationml/2006/main">
  <p:tag name="AS_UNIQUEID" val="3581"/>
</p:tagLst>
</file>

<file path=ppt/tags/tag667.xml><?xml version="1.0" encoding="utf-8"?>
<p:tagLst xmlns:p="http://schemas.openxmlformats.org/presentationml/2006/main">
  <p:tag name="AS_UNIQUEID" val="3582"/>
</p:tagLst>
</file>

<file path=ppt/tags/tag668.xml><?xml version="1.0" encoding="utf-8"?>
<p:tagLst xmlns:p="http://schemas.openxmlformats.org/presentationml/2006/main">
  <p:tag name="AS_UNIQUEID" val="3583"/>
</p:tagLst>
</file>

<file path=ppt/tags/tag669.xml><?xml version="1.0" encoding="utf-8"?>
<p:tagLst xmlns:p="http://schemas.openxmlformats.org/presentationml/2006/main">
  <p:tag name="AS_UNIQUEID" val="3584"/>
</p:tagLst>
</file>

<file path=ppt/tags/tag67.xml><?xml version="1.0" encoding="utf-8"?>
<p:tagLst xmlns:p="http://schemas.openxmlformats.org/presentationml/2006/main">
  <p:tag name="AS_UNIQUEID" val="2984"/>
</p:tagLst>
</file>

<file path=ppt/tags/tag670.xml><?xml version="1.0" encoding="utf-8"?>
<p:tagLst xmlns:p="http://schemas.openxmlformats.org/presentationml/2006/main">
  <p:tag name="AS_UNIQUEID" val="3585"/>
</p:tagLst>
</file>

<file path=ppt/tags/tag671.xml><?xml version="1.0" encoding="utf-8"?>
<p:tagLst xmlns:p="http://schemas.openxmlformats.org/presentationml/2006/main">
  <p:tag name="AS_UNIQUEID" val="3586"/>
</p:tagLst>
</file>

<file path=ppt/tags/tag672.xml><?xml version="1.0" encoding="utf-8"?>
<p:tagLst xmlns:p="http://schemas.openxmlformats.org/presentationml/2006/main">
  <p:tag name="AS_UNIQUEID" val="3587"/>
</p:tagLst>
</file>

<file path=ppt/tags/tag673.xml><?xml version="1.0" encoding="utf-8"?>
<p:tagLst xmlns:p="http://schemas.openxmlformats.org/presentationml/2006/main">
  <p:tag name="AS_UNIQUEID" val="3588"/>
</p:tagLst>
</file>

<file path=ppt/tags/tag674.xml><?xml version="1.0" encoding="utf-8"?>
<p:tagLst xmlns:p="http://schemas.openxmlformats.org/presentationml/2006/main">
  <p:tag name="AS_UNIQUEID" val="3589"/>
</p:tagLst>
</file>

<file path=ppt/tags/tag675.xml><?xml version="1.0" encoding="utf-8"?>
<p:tagLst xmlns:p="http://schemas.openxmlformats.org/presentationml/2006/main">
  <p:tag name="AS_UNIQUEID" val="3590"/>
</p:tagLst>
</file>

<file path=ppt/tags/tag676.xml><?xml version="1.0" encoding="utf-8"?>
<p:tagLst xmlns:p="http://schemas.openxmlformats.org/presentationml/2006/main">
  <p:tag name="AS_UNIQUEID" val="3591"/>
</p:tagLst>
</file>

<file path=ppt/tags/tag677.xml><?xml version="1.0" encoding="utf-8"?>
<p:tagLst xmlns:p="http://schemas.openxmlformats.org/presentationml/2006/main">
  <p:tag name="AS_UNIQUEID" val="3592"/>
</p:tagLst>
</file>

<file path=ppt/tags/tag678.xml><?xml version="1.0" encoding="utf-8"?>
<p:tagLst xmlns:p="http://schemas.openxmlformats.org/presentationml/2006/main">
  <p:tag name="AS_UNIQUEID" val="3593"/>
</p:tagLst>
</file>

<file path=ppt/tags/tag679.xml><?xml version="1.0" encoding="utf-8"?>
<p:tagLst xmlns:p="http://schemas.openxmlformats.org/presentationml/2006/main">
  <p:tag name="AS_UNIQUEID" val="3594"/>
</p:tagLst>
</file>

<file path=ppt/tags/tag68.xml><?xml version="1.0" encoding="utf-8"?>
<p:tagLst xmlns:p="http://schemas.openxmlformats.org/presentationml/2006/main">
  <p:tag name="AS_UNIQUEID" val="2985"/>
</p:tagLst>
</file>

<file path=ppt/tags/tag680.xml><?xml version="1.0" encoding="utf-8"?>
<p:tagLst xmlns:p="http://schemas.openxmlformats.org/presentationml/2006/main">
  <p:tag name="AS_UNIQUEID" val="3595"/>
</p:tagLst>
</file>

<file path=ppt/tags/tag681.xml><?xml version="1.0" encoding="utf-8"?>
<p:tagLst xmlns:p="http://schemas.openxmlformats.org/presentationml/2006/main">
  <p:tag name="AS_UNIQUEID" val="3596"/>
</p:tagLst>
</file>

<file path=ppt/tags/tag682.xml><?xml version="1.0" encoding="utf-8"?>
<p:tagLst xmlns:p="http://schemas.openxmlformats.org/presentationml/2006/main">
  <p:tag name="AS_UNIQUEID" val="3597"/>
</p:tagLst>
</file>

<file path=ppt/tags/tag683.xml><?xml version="1.0" encoding="utf-8"?>
<p:tagLst xmlns:p="http://schemas.openxmlformats.org/presentationml/2006/main">
  <p:tag name="AS_UNIQUEID" val="3598"/>
</p:tagLst>
</file>

<file path=ppt/tags/tag684.xml><?xml version="1.0" encoding="utf-8"?>
<p:tagLst xmlns:p="http://schemas.openxmlformats.org/presentationml/2006/main">
  <p:tag name="AS_UNIQUEID" val="3599"/>
</p:tagLst>
</file>

<file path=ppt/tags/tag685.xml><?xml version="1.0" encoding="utf-8"?>
<p:tagLst xmlns:p="http://schemas.openxmlformats.org/presentationml/2006/main">
  <p:tag name="AS_UNIQUEID" val="3600"/>
</p:tagLst>
</file>

<file path=ppt/tags/tag686.xml><?xml version="1.0" encoding="utf-8"?>
<p:tagLst xmlns:p="http://schemas.openxmlformats.org/presentationml/2006/main">
  <p:tag name="AS_UNIQUEID" val="3601"/>
</p:tagLst>
</file>

<file path=ppt/tags/tag687.xml><?xml version="1.0" encoding="utf-8"?>
<p:tagLst xmlns:p="http://schemas.openxmlformats.org/presentationml/2006/main">
  <p:tag name="AS_UNIQUEID" val="3602"/>
</p:tagLst>
</file>

<file path=ppt/tags/tag688.xml><?xml version="1.0" encoding="utf-8"?>
<p:tagLst xmlns:p="http://schemas.openxmlformats.org/presentationml/2006/main">
  <p:tag name="AS_UNIQUEID" val="3603"/>
</p:tagLst>
</file>

<file path=ppt/tags/tag689.xml><?xml version="1.0" encoding="utf-8"?>
<p:tagLst xmlns:p="http://schemas.openxmlformats.org/presentationml/2006/main">
  <p:tag name="AS_UNIQUEID" val="3604"/>
</p:tagLst>
</file>

<file path=ppt/tags/tag69.xml><?xml version="1.0" encoding="utf-8"?>
<p:tagLst xmlns:p="http://schemas.openxmlformats.org/presentationml/2006/main">
  <p:tag name="AS_UNIQUEID" val="2986"/>
</p:tagLst>
</file>

<file path=ppt/tags/tag690.xml><?xml version="1.0" encoding="utf-8"?>
<p:tagLst xmlns:p="http://schemas.openxmlformats.org/presentationml/2006/main">
  <p:tag name="AS_UNIQUEID" val="3605"/>
</p:tagLst>
</file>

<file path=ppt/tags/tag691.xml><?xml version="1.0" encoding="utf-8"?>
<p:tagLst xmlns:p="http://schemas.openxmlformats.org/presentationml/2006/main">
  <p:tag name="AS_UNIQUEID" val="3606"/>
</p:tagLst>
</file>

<file path=ppt/tags/tag692.xml><?xml version="1.0" encoding="utf-8"?>
<p:tagLst xmlns:p="http://schemas.openxmlformats.org/presentationml/2006/main">
  <p:tag name="AS_UNIQUEID" val="3607"/>
</p:tagLst>
</file>

<file path=ppt/tags/tag693.xml><?xml version="1.0" encoding="utf-8"?>
<p:tagLst xmlns:p="http://schemas.openxmlformats.org/presentationml/2006/main">
  <p:tag name="AS_UNIQUEID" val="3608"/>
</p:tagLst>
</file>

<file path=ppt/tags/tag694.xml><?xml version="1.0" encoding="utf-8"?>
<p:tagLst xmlns:p="http://schemas.openxmlformats.org/presentationml/2006/main">
  <p:tag name="AS_UNIQUEID" val="3609"/>
</p:tagLst>
</file>

<file path=ppt/tags/tag695.xml><?xml version="1.0" encoding="utf-8"?>
<p:tagLst xmlns:p="http://schemas.openxmlformats.org/presentationml/2006/main">
  <p:tag name="AS_UNIQUEID" val="3610"/>
</p:tagLst>
</file>

<file path=ppt/tags/tag696.xml><?xml version="1.0" encoding="utf-8"?>
<p:tagLst xmlns:p="http://schemas.openxmlformats.org/presentationml/2006/main">
  <p:tag name="AS_UNIQUEID" val="3611"/>
</p:tagLst>
</file>

<file path=ppt/tags/tag697.xml><?xml version="1.0" encoding="utf-8"?>
<p:tagLst xmlns:p="http://schemas.openxmlformats.org/presentationml/2006/main">
  <p:tag name="AS_UNIQUEID" val="3612"/>
</p:tagLst>
</file>

<file path=ppt/tags/tag698.xml><?xml version="1.0" encoding="utf-8"?>
<p:tagLst xmlns:p="http://schemas.openxmlformats.org/presentationml/2006/main">
  <p:tag name="AS_UNIQUEID" val="3613"/>
</p:tagLst>
</file>

<file path=ppt/tags/tag699.xml><?xml version="1.0" encoding="utf-8"?>
<p:tagLst xmlns:p="http://schemas.openxmlformats.org/presentationml/2006/main">
  <p:tag name="AS_UNIQUEID" val="3614"/>
</p:tagLst>
</file>

<file path=ppt/tags/tag7.xml><?xml version="1.0" encoding="utf-8"?>
<p:tagLst xmlns:p="http://schemas.openxmlformats.org/presentationml/2006/main">
  <p:tag name="AS_UNIQUEID" val="2924"/>
</p:tagLst>
</file>

<file path=ppt/tags/tag70.xml><?xml version="1.0" encoding="utf-8"?>
<p:tagLst xmlns:p="http://schemas.openxmlformats.org/presentationml/2006/main">
  <p:tag name="AS_UNIQUEID" val="2987"/>
</p:tagLst>
</file>

<file path=ppt/tags/tag700.xml><?xml version="1.0" encoding="utf-8"?>
<p:tagLst xmlns:p="http://schemas.openxmlformats.org/presentationml/2006/main">
  <p:tag name="AS_UNIQUEID" val="3615"/>
</p:tagLst>
</file>

<file path=ppt/tags/tag701.xml><?xml version="1.0" encoding="utf-8"?>
<p:tagLst xmlns:p="http://schemas.openxmlformats.org/presentationml/2006/main">
  <p:tag name="AS_UNIQUEID" val="3616"/>
</p:tagLst>
</file>

<file path=ppt/tags/tag702.xml><?xml version="1.0" encoding="utf-8"?>
<p:tagLst xmlns:p="http://schemas.openxmlformats.org/presentationml/2006/main">
  <p:tag name="AS_UNIQUEID" val="3617"/>
</p:tagLst>
</file>

<file path=ppt/tags/tag703.xml><?xml version="1.0" encoding="utf-8"?>
<p:tagLst xmlns:p="http://schemas.openxmlformats.org/presentationml/2006/main">
  <p:tag name="AS_UNIQUEID" val="3618"/>
</p:tagLst>
</file>

<file path=ppt/tags/tag704.xml><?xml version="1.0" encoding="utf-8"?>
<p:tagLst xmlns:p="http://schemas.openxmlformats.org/presentationml/2006/main">
  <p:tag name="AS_UNIQUEID" val="3619"/>
</p:tagLst>
</file>

<file path=ppt/tags/tag705.xml><?xml version="1.0" encoding="utf-8"?>
<p:tagLst xmlns:p="http://schemas.openxmlformats.org/presentationml/2006/main">
  <p:tag name="AS_UNIQUEID" val="3620"/>
</p:tagLst>
</file>

<file path=ppt/tags/tag706.xml><?xml version="1.0" encoding="utf-8"?>
<p:tagLst xmlns:p="http://schemas.openxmlformats.org/presentationml/2006/main">
  <p:tag name="AS_UNIQUEID" val="3621"/>
</p:tagLst>
</file>

<file path=ppt/tags/tag707.xml><?xml version="1.0" encoding="utf-8"?>
<p:tagLst xmlns:p="http://schemas.openxmlformats.org/presentationml/2006/main">
  <p:tag name="AS_UNIQUEID" val="3622"/>
</p:tagLst>
</file>

<file path=ppt/tags/tag708.xml><?xml version="1.0" encoding="utf-8"?>
<p:tagLst xmlns:p="http://schemas.openxmlformats.org/presentationml/2006/main">
  <p:tag name="AS_UNIQUEID" val="3623"/>
</p:tagLst>
</file>

<file path=ppt/tags/tag709.xml><?xml version="1.0" encoding="utf-8"?>
<p:tagLst xmlns:p="http://schemas.openxmlformats.org/presentationml/2006/main">
  <p:tag name="AS_UNIQUEID" val="3624"/>
</p:tagLst>
</file>

<file path=ppt/tags/tag71.xml><?xml version="1.0" encoding="utf-8"?>
<p:tagLst xmlns:p="http://schemas.openxmlformats.org/presentationml/2006/main">
  <p:tag name="AS_UNIQUEID" val="2988"/>
</p:tagLst>
</file>

<file path=ppt/tags/tag710.xml><?xml version="1.0" encoding="utf-8"?>
<p:tagLst xmlns:p="http://schemas.openxmlformats.org/presentationml/2006/main">
  <p:tag name="AS_UNIQUEID" val="3625"/>
</p:tagLst>
</file>

<file path=ppt/tags/tag711.xml><?xml version="1.0" encoding="utf-8"?>
<p:tagLst xmlns:p="http://schemas.openxmlformats.org/presentationml/2006/main">
  <p:tag name="AS_UNIQUEID" val="3626"/>
</p:tagLst>
</file>

<file path=ppt/tags/tag712.xml><?xml version="1.0" encoding="utf-8"?>
<p:tagLst xmlns:p="http://schemas.openxmlformats.org/presentationml/2006/main">
  <p:tag name="AS_UNIQUEID" val="3627"/>
</p:tagLst>
</file>

<file path=ppt/tags/tag713.xml><?xml version="1.0" encoding="utf-8"?>
<p:tagLst xmlns:p="http://schemas.openxmlformats.org/presentationml/2006/main">
  <p:tag name="AS_UNIQUEID" val="3628"/>
</p:tagLst>
</file>

<file path=ppt/tags/tag714.xml><?xml version="1.0" encoding="utf-8"?>
<p:tagLst xmlns:p="http://schemas.openxmlformats.org/presentationml/2006/main">
  <p:tag name="AS_UNIQUEID" val="3629"/>
</p:tagLst>
</file>

<file path=ppt/tags/tag715.xml><?xml version="1.0" encoding="utf-8"?>
<p:tagLst xmlns:p="http://schemas.openxmlformats.org/presentationml/2006/main">
  <p:tag name="AS_UNIQUEID" val="3630"/>
</p:tagLst>
</file>

<file path=ppt/tags/tag716.xml><?xml version="1.0" encoding="utf-8"?>
<p:tagLst xmlns:p="http://schemas.openxmlformats.org/presentationml/2006/main">
  <p:tag name="AS_UNIQUEID" val="3631"/>
</p:tagLst>
</file>

<file path=ppt/tags/tag717.xml><?xml version="1.0" encoding="utf-8"?>
<p:tagLst xmlns:p="http://schemas.openxmlformats.org/presentationml/2006/main">
  <p:tag name="AS_UNIQUEID" val="3632"/>
</p:tagLst>
</file>

<file path=ppt/tags/tag718.xml><?xml version="1.0" encoding="utf-8"?>
<p:tagLst xmlns:p="http://schemas.openxmlformats.org/presentationml/2006/main">
  <p:tag name="AS_UNIQUEID" val="3633"/>
</p:tagLst>
</file>

<file path=ppt/tags/tag719.xml><?xml version="1.0" encoding="utf-8"?>
<p:tagLst xmlns:p="http://schemas.openxmlformats.org/presentationml/2006/main">
  <p:tag name="AS_UNIQUEID" val="3634"/>
</p:tagLst>
</file>

<file path=ppt/tags/tag72.xml><?xml version="1.0" encoding="utf-8"?>
<p:tagLst xmlns:p="http://schemas.openxmlformats.org/presentationml/2006/main">
  <p:tag name="AS_UNIQUEID" val="2989"/>
</p:tagLst>
</file>

<file path=ppt/tags/tag720.xml><?xml version="1.0" encoding="utf-8"?>
<p:tagLst xmlns:p="http://schemas.openxmlformats.org/presentationml/2006/main">
  <p:tag name="AS_UNIQUEID" val="3635"/>
</p:tagLst>
</file>

<file path=ppt/tags/tag721.xml><?xml version="1.0" encoding="utf-8"?>
<p:tagLst xmlns:p="http://schemas.openxmlformats.org/presentationml/2006/main">
  <p:tag name="AS_UNIQUEID" val="3636"/>
</p:tagLst>
</file>

<file path=ppt/tags/tag722.xml><?xml version="1.0" encoding="utf-8"?>
<p:tagLst xmlns:p="http://schemas.openxmlformats.org/presentationml/2006/main">
  <p:tag name="AS_UNIQUEID" val="3637"/>
</p:tagLst>
</file>

<file path=ppt/tags/tag723.xml><?xml version="1.0" encoding="utf-8"?>
<p:tagLst xmlns:p="http://schemas.openxmlformats.org/presentationml/2006/main">
  <p:tag name="AS_UNIQUEID" val="3638"/>
</p:tagLst>
</file>

<file path=ppt/tags/tag724.xml><?xml version="1.0" encoding="utf-8"?>
<p:tagLst xmlns:p="http://schemas.openxmlformats.org/presentationml/2006/main">
  <p:tag name="AS_UNIQUEID" val="3639"/>
</p:tagLst>
</file>

<file path=ppt/tags/tag725.xml><?xml version="1.0" encoding="utf-8"?>
<p:tagLst xmlns:p="http://schemas.openxmlformats.org/presentationml/2006/main">
  <p:tag name="AS_UNIQUEID" val="3640"/>
</p:tagLst>
</file>

<file path=ppt/tags/tag726.xml><?xml version="1.0" encoding="utf-8"?>
<p:tagLst xmlns:p="http://schemas.openxmlformats.org/presentationml/2006/main">
  <p:tag name="AS_UNIQUEID" val="3641"/>
</p:tagLst>
</file>

<file path=ppt/tags/tag727.xml><?xml version="1.0" encoding="utf-8"?>
<p:tagLst xmlns:p="http://schemas.openxmlformats.org/presentationml/2006/main">
  <p:tag name="AS_UNIQUEID" val="3642"/>
</p:tagLst>
</file>

<file path=ppt/tags/tag728.xml><?xml version="1.0" encoding="utf-8"?>
<p:tagLst xmlns:p="http://schemas.openxmlformats.org/presentationml/2006/main">
  <p:tag name="AS_UNIQUEID" val="3643"/>
</p:tagLst>
</file>

<file path=ppt/tags/tag729.xml><?xml version="1.0" encoding="utf-8"?>
<p:tagLst xmlns:p="http://schemas.openxmlformats.org/presentationml/2006/main">
  <p:tag name="AS_UNIQUEID" val="3644"/>
</p:tagLst>
</file>

<file path=ppt/tags/tag73.xml><?xml version="1.0" encoding="utf-8"?>
<p:tagLst xmlns:p="http://schemas.openxmlformats.org/presentationml/2006/main">
  <p:tag name="AS_UNIQUEID" val="2990"/>
</p:tagLst>
</file>

<file path=ppt/tags/tag730.xml><?xml version="1.0" encoding="utf-8"?>
<p:tagLst xmlns:p="http://schemas.openxmlformats.org/presentationml/2006/main">
  <p:tag name="AS_UNIQUEID" val="3645"/>
</p:tagLst>
</file>

<file path=ppt/tags/tag731.xml><?xml version="1.0" encoding="utf-8"?>
<p:tagLst xmlns:p="http://schemas.openxmlformats.org/presentationml/2006/main">
  <p:tag name="AS_UNIQUEID" val="3646"/>
</p:tagLst>
</file>

<file path=ppt/tags/tag732.xml><?xml version="1.0" encoding="utf-8"?>
<p:tagLst xmlns:p="http://schemas.openxmlformats.org/presentationml/2006/main">
  <p:tag name="AS_UNIQUEID" val="3647"/>
</p:tagLst>
</file>

<file path=ppt/tags/tag733.xml><?xml version="1.0" encoding="utf-8"?>
<p:tagLst xmlns:p="http://schemas.openxmlformats.org/presentationml/2006/main">
  <p:tag name="AS_UNIQUEID" val="3648"/>
</p:tagLst>
</file>

<file path=ppt/tags/tag734.xml><?xml version="1.0" encoding="utf-8"?>
<p:tagLst xmlns:p="http://schemas.openxmlformats.org/presentationml/2006/main">
  <p:tag name="AS_UNIQUEID" val="3649"/>
</p:tagLst>
</file>

<file path=ppt/tags/tag735.xml><?xml version="1.0" encoding="utf-8"?>
<p:tagLst xmlns:p="http://schemas.openxmlformats.org/presentationml/2006/main">
  <p:tag name="AS_UNIQUEID" val="3650"/>
</p:tagLst>
</file>

<file path=ppt/tags/tag736.xml><?xml version="1.0" encoding="utf-8"?>
<p:tagLst xmlns:p="http://schemas.openxmlformats.org/presentationml/2006/main">
  <p:tag name="AS_UNIQUEID" val="3651"/>
</p:tagLst>
</file>

<file path=ppt/tags/tag737.xml><?xml version="1.0" encoding="utf-8"?>
<p:tagLst xmlns:p="http://schemas.openxmlformats.org/presentationml/2006/main">
  <p:tag name="AS_UNIQUEID" val="3652"/>
</p:tagLst>
</file>

<file path=ppt/tags/tag738.xml><?xml version="1.0" encoding="utf-8"?>
<p:tagLst xmlns:p="http://schemas.openxmlformats.org/presentationml/2006/main">
  <p:tag name="AS_UNIQUEID" val="3653"/>
</p:tagLst>
</file>

<file path=ppt/tags/tag739.xml><?xml version="1.0" encoding="utf-8"?>
<p:tagLst xmlns:p="http://schemas.openxmlformats.org/presentationml/2006/main">
  <p:tag name="AS_UNIQUEID" val="3654"/>
</p:tagLst>
</file>

<file path=ppt/tags/tag74.xml><?xml version="1.0" encoding="utf-8"?>
<p:tagLst xmlns:p="http://schemas.openxmlformats.org/presentationml/2006/main">
  <p:tag name="AS_UNIQUEID" val="2991"/>
</p:tagLst>
</file>

<file path=ppt/tags/tag740.xml><?xml version="1.0" encoding="utf-8"?>
<p:tagLst xmlns:p="http://schemas.openxmlformats.org/presentationml/2006/main">
  <p:tag name="AS_UNIQUEID" val="3655"/>
</p:tagLst>
</file>

<file path=ppt/tags/tag741.xml><?xml version="1.0" encoding="utf-8"?>
<p:tagLst xmlns:p="http://schemas.openxmlformats.org/presentationml/2006/main">
  <p:tag name="AS_UNIQUEID" val="3656"/>
</p:tagLst>
</file>

<file path=ppt/tags/tag742.xml><?xml version="1.0" encoding="utf-8"?>
<p:tagLst xmlns:p="http://schemas.openxmlformats.org/presentationml/2006/main">
  <p:tag name="AS_UNIQUEID" val="3657"/>
</p:tagLst>
</file>

<file path=ppt/tags/tag743.xml><?xml version="1.0" encoding="utf-8"?>
<p:tagLst xmlns:p="http://schemas.openxmlformats.org/presentationml/2006/main">
  <p:tag name="AS_UNIQUEID" val="3658"/>
</p:tagLst>
</file>

<file path=ppt/tags/tag744.xml><?xml version="1.0" encoding="utf-8"?>
<p:tagLst xmlns:p="http://schemas.openxmlformats.org/presentationml/2006/main">
  <p:tag name="AS_UNIQUEID" val="3659"/>
</p:tagLst>
</file>

<file path=ppt/tags/tag745.xml><?xml version="1.0" encoding="utf-8"?>
<p:tagLst xmlns:p="http://schemas.openxmlformats.org/presentationml/2006/main">
  <p:tag name="AS_UNIQUEID" val="3660"/>
</p:tagLst>
</file>

<file path=ppt/tags/tag746.xml><?xml version="1.0" encoding="utf-8"?>
<p:tagLst xmlns:p="http://schemas.openxmlformats.org/presentationml/2006/main">
  <p:tag name="AS_UNIQUEID" val="3661"/>
</p:tagLst>
</file>

<file path=ppt/tags/tag747.xml><?xml version="1.0" encoding="utf-8"?>
<p:tagLst xmlns:p="http://schemas.openxmlformats.org/presentationml/2006/main">
  <p:tag name="AS_UNIQUEID" val="3662"/>
</p:tagLst>
</file>

<file path=ppt/tags/tag748.xml><?xml version="1.0" encoding="utf-8"?>
<p:tagLst xmlns:p="http://schemas.openxmlformats.org/presentationml/2006/main">
  <p:tag name="AS_UNIQUEID" val="3663"/>
</p:tagLst>
</file>

<file path=ppt/tags/tag749.xml><?xml version="1.0" encoding="utf-8"?>
<p:tagLst xmlns:p="http://schemas.openxmlformats.org/presentationml/2006/main">
  <p:tag name="AS_UNIQUEID" val="3664"/>
</p:tagLst>
</file>

<file path=ppt/tags/tag75.xml><?xml version="1.0" encoding="utf-8"?>
<p:tagLst xmlns:p="http://schemas.openxmlformats.org/presentationml/2006/main">
  <p:tag name="AS_UNIQUEID" val="2992"/>
</p:tagLst>
</file>

<file path=ppt/tags/tag750.xml><?xml version="1.0" encoding="utf-8"?>
<p:tagLst xmlns:p="http://schemas.openxmlformats.org/presentationml/2006/main">
  <p:tag name="AS_UNIQUEID" val="3665"/>
</p:tagLst>
</file>

<file path=ppt/tags/tag751.xml><?xml version="1.0" encoding="utf-8"?>
<p:tagLst xmlns:p="http://schemas.openxmlformats.org/presentationml/2006/main">
  <p:tag name="AS_UNIQUEID" val="3666"/>
</p:tagLst>
</file>

<file path=ppt/tags/tag752.xml><?xml version="1.0" encoding="utf-8"?>
<p:tagLst xmlns:p="http://schemas.openxmlformats.org/presentationml/2006/main">
  <p:tag name="AS_UNIQUEID" val="3667"/>
</p:tagLst>
</file>

<file path=ppt/tags/tag753.xml><?xml version="1.0" encoding="utf-8"?>
<p:tagLst xmlns:p="http://schemas.openxmlformats.org/presentationml/2006/main">
  <p:tag name="AS_UNIQUEID" val="3668"/>
</p:tagLst>
</file>

<file path=ppt/tags/tag754.xml><?xml version="1.0" encoding="utf-8"?>
<p:tagLst xmlns:p="http://schemas.openxmlformats.org/presentationml/2006/main">
  <p:tag name="AS_UNIQUEID" val="3669"/>
</p:tagLst>
</file>

<file path=ppt/tags/tag755.xml><?xml version="1.0" encoding="utf-8"?>
<p:tagLst xmlns:p="http://schemas.openxmlformats.org/presentationml/2006/main">
  <p:tag name="AS_UNIQUEID" val="3670"/>
</p:tagLst>
</file>

<file path=ppt/tags/tag756.xml><?xml version="1.0" encoding="utf-8"?>
<p:tagLst xmlns:p="http://schemas.openxmlformats.org/presentationml/2006/main">
  <p:tag name="AS_UNIQUEID" val="3671"/>
</p:tagLst>
</file>

<file path=ppt/tags/tag757.xml><?xml version="1.0" encoding="utf-8"?>
<p:tagLst xmlns:p="http://schemas.openxmlformats.org/presentationml/2006/main">
  <p:tag name="AS_UNIQUEID" val="3672"/>
</p:tagLst>
</file>

<file path=ppt/tags/tag758.xml><?xml version="1.0" encoding="utf-8"?>
<p:tagLst xmlns:p="http://schemas.openxmlformats.org/presentationml/2006/main">
  <p:tag name="AS_UNIQUEID" val="3673"/>
</p:tagLst>
</file>

<file path=ppt/tags/tag759.xml><?xml version="1.0" encoding="utf-8"?>
<p:tagLst xmlns:p="http://schemas.openxmlformats.org/presentationml/2006/main">
  <p:tag name="AS_UNIQUEID" val="3674"/>
</p:tagLst>
</file>

<file path=ppt/tags/tag76.xml><?xml version="1.0" encoding="utf-8"?>
<p:tagLst xmlns:p="http://schemas.openxmlformats.org/presentationml/2006/main">
  <p:tag name="AS_UNIQUEID" val="2993"/>
</p:tagLst>
</file>

<file path=ppt/tags/tag760.xml><?xml version="1.0" encoding="utf-8"?>
<p:tagLst xmlns:p="http://schemas.openxmlformats.org/presentationml/2006/main">
  <p:tag name="AS_UNIQUEID" val="3675"/>
</p:tagLst>
</file>

<file path=ppt/tags/tag761.xml><?xml version="1.0" encoding="utf-8"?>
<p:tagLst xmlns:p="http://schemas.openxmlformats.org/presentationml/2006/main">
  <p:tag name="AS_UNIQUEID" val="3676"/>
</p:tagLst>
</file>

<file path=ppt/tags/tag762.xml><?xml version="1.0" encoding="utf-8"?>
<p:tagLst xmlns:p="http://schemas.openxmlformats.org/presentationml/2006/main">
  <p:tag name="AS_UNIQUEID" val="3677"/>
</p:tagLst>
</file>

<file path=ppt/tags/tag763.xml><?xml version="1.0" encoding="utf-8"?>
<p:tagLst xmlns:p="http://schemas.openxmlformats.org/presentationml/2006/main">
  <p:tag name="AS_UNIQUEID" val="3678"/>
</p:tagLst>
</file>

<file path=ppt/tags/tag764.xml><?xml version="1.0" encoding="utf-8"?>
<p:tagLst xmlns:p="http://schemas.openxmlformats.org/presentationml/2006/main">
  <p:tag name="AS_UNIQUEID" val="3679"/>
</p:tagLst>
</file>

<file path=ppt/tags/tag765.xml><?xml version="1.0" encoding="utf-8"?>
<p:tagLst xmlns:p="http://schemas.openxmlformats.org/presentationml/2006/main">
  <p:tag name="AS_UNIQUEID" val="3680"/>
</p:tagLst>
</file>

<file path=ppt/tags/tag766.xml><?xml version="1.0" encoding="utf-8"?>
<p:tagLst xmlns:p="http://schemas.openxmlformats.org/presentationml/2006/main">
  <p:tag name="AS_UNIQUEID" val="3681"/>
</p:tagLst>
</file>

<file path=ppt/tags/tag767.xml><?xml version="1.0" encoding="utf-8"?>
<p:tagLst xmlns:p="http://schemas.openxmlformats.org/presentationml/2006/main">
  <p:tag name="AS_UNIQUEID" val="3682"/>
</p:tagLst>
</file>

<file path=ppt/tags/tag768.xml><?xml version="1.0" encoding="utf-8"?>
<p:tagLst xmlns:p="http://schemas.openxmlformats.org/presentationml/2006/main">
  <p:tag name="AS_UNIQUEID" val="3683"/>
</p:tagLst>
</file>

<file path=ppt/tags/tag769.xml><?xml version="1.0" encoding="utf-8"?>
<p:tagLst xmlns:p="http://schemas.openxmlformats.org/presentationml/2006/main">
  <p:tag name="AS_UNIQUEID" val="3684"/>
</p:tagLst>
</file>

<file path=ppt/tags/tag77.xml><?xml version="1.0" encoding="utf-8"?>
<p:tagLst xmlns:p="http://schemas.openxmlformats.org/presentationml/2006/main">
  <p:tag name="AS_UNIQUEID" val="2994"/>
</p:tagLst>
</file>

<file path=ppt/tags/tag770.xml><?xml version="1.0" encoding="utf-8"?>
<p:tagLst xmlns:p="http://schemas.openxmlformats.org/presentationml/2006/main">
  <p:tag name="AS_UNIQUEID" val="3685"/>
</p:tagLst>
</file>

<file path=ppt/tags/tag771.xml><?xml version="1.0" encoding="utf-8"?>
<p:tagLst xmlns:p="http://schemas.openxmlformats.org/presentationml/2006/main">
  <p:tag name="AS_UNIQUEID" val="3686"/>
</p:tagLst>
</file>

<file path=ppt/tags/tag772.xml><?xml version="1.0" encoding="utf-8"?>
<p:tagLst xmlns:p="http://schemas.openxmlformats.org/presentationml/2006/main">
  <p:tag name="AS_UNIQUEID" val="3687"/>
</p:tagLst>
</file>

<file path=ppt/tags/tag773.xml><?xml version="1.0" encoding="utf-8"?>
<p:tagLst xmlns:p="http://schemas.openxmlformats.org/presentationml/2006/main">
  <p:tag name="AS_UNIQUEID" val="3688"/>
</p:tagLst>
</file>

<file path=ppt/tags/tag774.xml><?xml version="1.0" encoding="utf-8"?>
<p:tagLst xmlns:p="http://schemas.openxmlformats.org/presentationml/2006/main">
  <p:tag name="AS_UNIQUEID" val="3689"/>
</p:tagLst>
</file>

<file path=ppt/tags/tag775.xml><?xml version="1.0" encoding="utf-8"?>
<p:tagLst xmlns:p="http://schemas.openxmlformats.org/presentationml/2006/main">
  <p:tag name="AS_UNIQUEID" val="3690"/>
</p:tagLst>
</file>

<file path=ppt/tags/tag776.xml><?xml version="1.0" encoding="utf-8"?>
<p:tagLst xmlns:p="http://schemas.openxmlformats.org/presentationml/2006/main">
  <p:tag name="AS_UNIQUEID" val="3691"/>
</p:tagLst>
</file>

<file path=ppt/tags/tag777.xml><?xml version="1.0" encoding="utf-8"?>
<p:tagLst xmlns:p="http://schemas.openxmlformats.org/presentationml/2006/main">
  <p:tag name="AS_UNIQUEID" val="3692"/>
</p:tagLst>
</file>

<file path=ppt/tags/tag778.xml><?xml version="1.0" encoding="utf-8"?>
<p:tagLst xmlns:p="http://schemas.openxmlformats.org/presentationml/2006/main">
  <p:tag name="AS_UNIQUEID" val="3693"/>
</p:tagLst>
</file>

<file path=ppt/tags/tag779.xml><?xml version="1.0" encoding="utf-8"?>
<p:tagLst xmlns:p="http://schemas.openxmlformats.org/presentationml/2006/main">
  <p:tag name="AS_UNIQUEID" val="3694"/>
</p:tagLst>
</file>

<file path=ppt/tags/tag78.xml><?xml version="1.0" encoding="utf-8"?>
<p:tagLst xmlns:p="http://schemas.openxmlformats.org/presentationml/2006/main">
  <p:tag name="AS_UNIQUEID" val="2995"/>
</p:tagLst>
</file>

<file path=ppt/tags/tag780.xml><?xml version="1.0" encoding="utf-8"?>
<p:tagLst xmlns:p="http://schemas.openxmlformats.org/presentationml/2006/main">
  <p:tag name="AS_UNIQUEID" val="3695"/>
</p:tagLst>
</file>

<file path=ppt/tags/tag781.xml><?xml version="1.0" encoding="utf-8"?>
<p:tagLst xmlns:p="http://schemas.openxmlformats.org/presentationml/2006/main">
  <p:tag name="AS_UNIQUEID" val="3696"/>
</p:tagLst>
</file>

<file path=ppt/tags/tag782.xml><?xml version="1.0" encoding="utf-8"?>
<p:tagLst xmlns:p="http://schemas.openxmlformats.org/presentationml/2006/main">
  <p:tag name="AS_UNIQUEID" val="3697"/>
</p:tagLst>
</file>

<file path=ppt/tags/tag783.xml><?xml version="1.0" encoding="utf-8"?>
<p:tagLst xmlns:p="http://schemas.openxmlformats.org/presentationml/2006/main">
  <p:tag name="AS_UNIQUEID" val="3698"/>
</p:tagLst>
</file>

<file path=ppt/tags/tag784.xml><?xml version="1.0" encoding="utf-8"?>
<p:tagLst xmlns:p="http://schemas.openxmlformats.org/presentationml/2006/main">
  <p:tag name="AS_UNIQUEID" val="3699"/>
</p:tagLst>
</file>

<file path=ppt/tags/tag785.xml><?xml version="1.0" encoding="utf-8"?>
<p:tagLst xmlns:p="http://schemas.openxmlformats.org/presentationml/2006/main">
  <p:tag name="AS_UNIQUEID" val="3700"/>
</p:tagLst>
</file>

<file path=ppt/tags/tag786.xml><?xml version="1.0" encoding="utf-8"?>
<p:tagLst xmlns:p="http://schemas.openxmlformats.org/presentationml/2006/main">
  <p:tag name="AS_UNIQUEID" val="3701"/>
</p:tagLst>
</file>

<file path=ppt/tags/tag787.xml><?xml version="1.0" encoding="utf-8"?>
<p:tagLst xmlns:p="http://schemas.openxmlformats.org/presentationml/2006/main">
  <p:tag name="AS_UNIQUEID" val="3702"/>
</p:tagLst>
</file>

<file path=ppt/tags/tag788.xml><?xml version="1.0" encoding="utf-8"?>
<p:tagLst xmlns:p="http://schemas.openxmlformats.org/presentationml/2006/main">
  <p:tag name="AS_UNIQUEID" val="3703"/>
</p:tagLst>
</file>

<file path=ppt/tags/tag789.xml><?xml version="1.0" encoding="utf-8"?>
<p:tagLst xmlns:p="http://schemas.openxmlformats.org/presentationml/2006/main">
  <p:tag name="AS_UNIQUEID" val="3704"/>
</p:tagLst>
</file>

<file path=ppt/tags/tag79.xml><?xml version="1.0" encoding="utf-8"?>
<p:tagLst xmlns:p="http://schemas.openxmlformats.org/presentationml/2006/main">
  <p:tag name="AS_UNIQUEID" val="2996"/>
</p:tagLst>
</file>

<file path=ppt/tags/tag790.xml><?xml version="1.0" encoding="utf-8"?>
<p:tagLst xmlns:p="http://schemas.openxmlformats.org/presentationml/2006/main">
  <p:tag name="AS_UNIQUEID" val="3705"/>
</p:tagLst>
</file>

<file path=ppt/tags/tag791.xml><?xml version="1.0" encoding="utf-8"?>
<p:tagLst xmlns:p="http://schemas.openxmlformats.org/presentationml/2006/main">
  <p:tag name="AS_UNIQUEID" val="3706"/>
</p:tagLst>
</file>

<file path=ppt/tags/tag792.xml><?xml version="1.0" encoding="utf-8"?>
<p:tagLst xmlns:p="http://schemas.openxmlformats.org/presentationml/2006/main">
  <p:tag name="AS_UNIQUEID" val="3707"/>
</p:tagLst>
</file>

<file path=ppt/tags/tag793.xml><?xml version="1.0" encoding="utf-8"?>
<p:tagLst xmlns:p="http://schemas.openxmlformats.org/presentationml/2006/main">
  <p:tag name="AS_UNIQUEID" val="3708"/>
</p:tagLst>
</file>

<file path=ppt/tags/tag794.xml><?xml version="1.0" encoding="utf-8"?>
<p:tagLst xmlns:p="http://schemas.openxmlformats.org/presentationml/2006/main">
  <p:tag name="AS_UNIQUEID" val="3709"/>
</p:tagLst>
</file>

<file path=ppt/tags/tag795.xml><?xml version="1.0" encoding="utf-8"?>
<p:tagLst xmlns:p="http://schemas.openxmlformats.org/presentationml/2006/main">
  <p:tag name="AS_UNIQUEID" val="3710"/>
</p:tagLst>
</file>

<file path=ppt/tags/tag796.xml><?xml version="1.0" encoding="utf-8"?>
<p:tagLst xmlns:p="http://schemas.openxmlformats.org/presentationml/2006/main">
  <p:tag name="AS_UNIQUEID" val="3711"/>
</p:tagLst>
</file>

<file path=ppt/tags/tag797.xml><?xml version="1.0" encoding="utf-8"?>
<p:tagLst xmlns:p="http://schemas.openxmlformats.org/presentationml/2006/main">
  <p:tag name="AS_UNIQUEID" val="3712"/>
</p:tagLst>
</file>

<file path=ppt/tags/tag798.xml><?xml version="1.0" encoding="utf-8"?>
<p:tagLst xmlns:p="http://schemas.openxmlformats.org/presentationml/2006/main">
  <p:tag name="AS_UNIQUEID" val="3713"/>
</p:tagLst>
</file>

<file path=ppt/tags/tag799.xml><?xml version="1.0" encoding="utf-8"?>
<p:tagLst xmlns:p="http://schemas.openxmlformats.org/presentationml/2006/main">
  <p:tag name="AS_UNIQUEID" val="3714"/>
</p:tagLst>
</file>

<file path=ppt/tags/tag8.xml><?xml version="1.0" encoding="utf-8"?>
<p:tagLst xmlns:p="http://schemas.openxmlformats.org/presentationml/2006/main">
  <p:tag name="AS_UNIQUEID" val="2925"/>
</p:tagLst>
</file>

<file path=ppt/tags/tag80.xml><?xml version="1.0" encoding="utf-8"?>
<p:tagLst xmlns:p="http://schemas.openxmlformats.org/presentationml/2006/main">
  <p:tag name="AS_UNIQUEID" val="2997"/>
</p:tagLst>
</file>

<file path=ppt/tags/tag800.xml><?xml version="1.0" encoding="utf-8"?>
<p:tagLst xmlns:p="http://schemas.openxmlformats.org/presentationml/2006/main">
  <p:tag name="AS_UNIQUEID" val="3715"/>
</p:tagLst>
</file>

<file path=ppt/tags/tag801.xml><?xml version="1.0" encoding="utf-8"?>
<p:tagLst xmlns:p="http://schemas.openxmlformats.org/presentationml/2006/main">
  <p:tag name="AS_UNIQUEID" val="3716"/>
</p:tagLst>
</file>

<file path=ppt/tags/tag802.xml><?xml version="1.0" encoding="utf-8"?>
<p:tagLst xmlns:p="http://schemas.openxmlformats.org/presentationml/2006/main">
  <p:tag name="AS_UNIQUEID" val="3717"/>
</p:tagLst>
</file>

<file path=ppt/tags/tag803.xml><?xml version="1.0" encoding="utf-8"?>
<p:tagLst xmlns:p="http://schemas.openxmlformats.org/presentationml/2006/main">
  <p:tag name="AS_UNIQUEID" val="3718"/>
</p:tagLst>
</file>

<file path=ppt/tags/tag804.xml><?xml version="1.0" encoding="utf-8"?>
<p:tagLst xmlns:p="http://schemas.openxmlformats.org/presentationml/2006/main">
  <p:tag name="AS_UNIQUEID" val="3719"/>
</p:tagLst>
</file>

<file path=ppt/tags/tag805.xml><?xml version="1.0" encoding="utf-8"?>
<p:tagLst xmlns:p="http://schemas.openxmlformats.org/presentationml/2006/main">
  <p:tag name="AS_UNIQUEID" val="3720"/>
</p:tagLst>
</file>

<file path=ppt/tags/tag806.xml><?xml version="1.0" encoding="utf-8"?>
<p:tagLst xmlns:p="http://schemas.openxmlformats.org/presentationml/2006/main">
  <p:tag name="AS_UNIQUEID" val="3721"/>
</p:tagLst>
</file>

<file path=ppt/tags/tag807.xml><?xml version="1.0" encoding="utf-8"?>
<p:tagLst xmlns:p="http://schemas.openxmlformats.org/presentationml/2006/main">
  <p:tag name="AS_UNIQUEID" val="3722"/>
</p:tagLst>
</file>

<file path=ppt/tags/tag808.xml><?xml version="1.0" encoding="utf-8"?>
<p:tagLst xmlns:p="http://schemas.openxmlformats.org/presentationml/2006/main">
  <p:tag name="AS_UNIQUEID" val="3723"/>
</p:tagLst>
</file>

<file path=ppt/tags/tag809.xml><?xml version="1.0" encoding="utf-8"?>
<p:tagLst xmlns:p="http://schemas.openxmlformats.org/presentationml/2006/main">
  <p:tag name="AS_UNIQUEID" val="3724"/>
</p:tagLst>
</file>

<file path=ppt/tags/tag81.xml><?xml version="1.0" encoding="utf-8"?>
<p:tagLst xmlns:p="http://schemas.openxmlformats.org/presentationml/2006/main">
  <p:tag name="AS_UNIQUEID" val="2998"/>
</p:tagLst>
</file>

<file path=ppt/tags/tag810.xml><?xml version="1.0" encoding="utf-8"?>
<p:tagLst xmlns:p="http://schemas.openxmlformats.org/presentationml/2006/main">
  <p:tag name="AS_UNIQUEID" val="3725"/>
</p:tagLst>
</file>

<file path=ppt/tags/tag811.xml><?xml version="1.0" encoding="utf-8"?>
<p:tagLst xmlns:p="http://schemas.openxmlformats.org/presentationml/2006/main">
  <p:tag name="AS_UNIQUEID" val="3726"/>
</p:tagLst>
</file>

<file path=ppt/tags/tag812.xml><?xml version="1.0" encoding="utf-8"?>
<p:tagLst xmlns:p="http://schemas.openxmlformats.org/presentationml/2006/main">
  <p:tag name="AS_UNIQUEID" val="3727"/>
</p:tagLst>
</file>

<file path=ppt/tags/tag813.xml><?xml version="1.0" encoding="utf-8"?>
<p:tagLst xmlns:p="http://schemas.openxmlformats.org/presentationml/2006/main">
  <p:tag name="AS_UNIQUEID" val="3728"/>
</p:tagLst>
</file>

<file path=ppt/tags/tag814.xml><?xml version="1.0" encoding="utf-8"?>
<p:tagLst xmlns:p="http://schemas.openxmlformats.org/presentationml/2006/main">
  <p:tag name="AS_UNIQUEID" val="3729"/>
</p:tagLst>
</file>

<file path=ppt/tags/tag815.xml><?xml version="1.0" encoding="utf-8"?>
<p:tagLst xmlns:p="http://schemas.openxmlformats.org/presentationml/2006/main">
  <p:tag name="AS_UNIQUEID" val="3730"/>
</p:tagLst>
</file>

<file path=ppt/tags/tag816.xml><?xml version="1.0" encoding="utf-8"?>
<p:tagLst xmlns:p="http://schemas.openxmlformats.org/presentationml/2006/main">
  <p:tag name="AS_UNIQUEID" val="3731"/>
</p:tagLst>
</file>

<file path=ppt/tags/tag817.xml><?xml version="1.0" encoding="utf-8"?>
<p:tagLst xmlns:p="http://schemas.openxmlformats.org/presentationml/2006/main">
  <p:tag name="AS_UNIQUEID" val="1629"/>
</p:tagLst>
</file>

<file path=ppt/tags/tag818.xml><?xml version="1.0" encoding="utf-8"?>
<p:tagLst xmlns:p="http://schemas.openxmlformats.org/presentationml/2006/main">
  <p:tag name="AS_UNIQUEID" val="1630"/>
</p:tagLst>
</file>

<file path=ppt/tags/tag819.xml><?xml version="1.0" encoding="utf-8"?>
<p:tagLst xmlns:p="http://schemas.openxmlformats.org/presentationml/2006/main">
  <p:tag name="AS_UNIQUEID" val="1631"/>
</p:tagLst>
</file>

<file path=ppt/tags/tag82.xml><?xml version="1.0" encoding="utf-8"?>
<p:tagLst xmlns:p="http://schemas.openxmlformats.org/presentationml/2006/main">
  <p:tag name="AS_UNIQUEID" val="2999"/>
</p:tagLst>
</file>

<file path=ppt/tags/tag820.xml><?xml version="1.0" encoding="utf-8"?>
<p:tagLst xmlns:p="http://schemas.openxmlformats.org/presentationml/2006/main">
  <p:tag name="AS_UNIQUEID" val="3732"/>
</p:tagLst>
</file>

<file path=ppt/tags/tag821.xml><?xml version="1.0" encoding="utf-8"?>
<p:tagLst xmlns:p="http://schemas.openxmlformats.org/presentationml/2006/main">
  <p:tag name="AS_UNIQUEID" val="3733"/>
</p:tagLst>
</file>

<file path=ppt/tags/tag822.xml><?xml version="1.0" encoding="utf-8"?>
<p:tagLst xmlns:p="http://schemas.openxmlformats.org/presentationml/2006/main">
  <p:tag name="AS_UNIQUEID" val="1633"/>
</p:tagLst>
</file>

<file path=ppt/tags/tag823.xml><?xml version="1.0" encoding="utf-8"?>
<p:tagLst xmlns:p="http://schemas.openxmlformats.org/presentationml/2006/main">
  <p:tag name="AS_UNIQUEID" val="1635"/>
</p:tagLst>
</file>

<file path=ppt/tags/tag824.xml><?xml version="1.0" encoding="utf-8"?>
<p:tagLst xmlns:p="http://schemas.openxmlformats.org/presentationml/2006/main">
  <p:tag name="AS_UNIQUEID" val="1636"/>
</p:tagLst>
</file>

<file path=ppt/tags/tag825.xml><?xml version="1.0" encoding="utf-8"?>
<p:tagLst xmlns:p="http://schemas.openxmlformats.org/presentationml/2006/main">
  <p:tag name="AS_UNIQUEID" val="3734"/>
</p:tagLst>
</file>

<file path=ppt/tags/tag826.xml><?xml version="1.0" encoding="utf-8"?>
<p:tagLst xmlns:p="http://schemas.openxmlformats.org/presentationml/2006/main">
  <p:tag name="AS_UNIQUEID" val="3735"/>
</p:tagLst>
</file>

<file path=ppt/tags/tag827.xml><?xml version="1.0" encoding="utf-8"?>
<p:tagLst xmlns:p="http://schemas.openxmlformats.org/presentationml/2006/main">
  <p:tag name="AS_UNIQUEID" val="2908"/>
</p:tagLst>
</file>

<file path=ppt/tags/tag828.xml><?xml version="1.0" encoding="utf-8"?>
<p:tagLst xmlns:p="http://schemas.openxmlformats.org/presentationml/2006/main">
  <p:tag name="AS_UNIQUEID" val="2909"/>
</p:tagLst>
</file>

<file path=ppt/tags/tag829.xml><?xml version="1.0" encoding="utf-8"?>
<p:tagLst xmlns:p="http://schemas.openxmlformats.org/presentationml/2006/main">
  <p:tag name="AS_UNIQUEID" val="2910"/>
</p:tagLst>
</file>

<file path=ppt/tags/tag83.xml><?xml version="1.0" encoding="utf-8"?>
<p:tagLst xmlns:p="http://schemas.openxmlformats.org/presentationml/2006/main">
  <p:tag name="AS_UNIQUEID" val="3000"/>
</p:tagLst>
</file>

<file path=ppt/tags/tag830.xml><?xml version="1.0" encoding="utf-8"?>
<p:tagLst xmlns:p="http://schemas.openxmlformats.org/presentationml/2006/main">
  <p:tag name="AS_UNIQUEID" val="3736"/>
</p:tagLst>
</file>

<file path=ppt/tags/tag831.xml><?xml version="1.0" encoding="utf-8"?>
<p:tagLst xmlns:p="http://schemas.openxmlformats.org/presentationml/2006/main">
  <p:tag name="AS_UNIQUEID" val="2912"/>
</p:tagLst>
</file>

<file path=ppt/tags/tag832.xml><?xml version="1.0" encoding="utf-8"?>
<p:tagLst xmlns:p="http://schemas.openxmlformats.org/presentationml/2006/main">
  <p:tag name="AS_UNIQUEID" val="2913"/>
</p:tagLst>
</file>

<file path=ppt/tags/tag833.xml><?xml version="1.0" encoding="utf-8"?>
<p:tagLst xmlns:p="http://schemas.openxmlformats.org/presentationml/2006/main">
  <p:tag name="AS_UNIQUEID" val="2914"/>
</p:tagLst>
</file>

<file path=ppt/tags/tag834.xml><?xml version="1.0" encoding="utf-8"?>
<p:tagLst xmlns:p="http://schemas.openxmlformats.org/presentationml/2006/main">
  <p:tag name="AS_UNIQUEID" val="2916"/>
</p:tagLst>
</file>

<file path=ppt/tags/tag835.xml><?xml version="1.0" encoding="utf-8"?>
<p:tagLst xmlns:p="http://schemas.openxmlformats.org/presentationml/2006/main">
  <p:tag name="AS_UNIQUEID" val="2917"/>
</p:tagLst>
</file>

<file path=ppt/tags/tag836.xml><?xml version="1.0" encoding="utf-8"?>
<p:tagLst xmlns:p="http://schemas.openxmlformats.org/presentationml/2006/main">
  <p:tag name="AS_UNIQUEID" val="3737"/>
</p:tagLst>
</file>

<file path=ppt/tags/tag837.xml><?xml version="1.0" encoding="utf-8"?>
<p:tagLst xmlns:p="http://schemas.openxmlformats.org/presentationml/2006/main">
  <p:tag name="AS_UNIQUEID" val="3738"/>
</p:tagLst>
</file>

<file path=ppt/tags/tag838.xml><?xml version="1.0" encoding="utf-8"?>
<p:tagLst xmlns:p="http://schemas.openxmlformats.org/presentationml/2006/main">
  <p:tag name="AS_UNIQUEID" val="3739"/>
</p:tagLst>
</file>

<file path=ppt/tags/tag839.xml><?xml version="1.0" encoding="utf-8"?>
<p:tagLst xmlns:p="http://schemas.openxmlformats.org/presentationml/2006/main">
  <p:tag name="AS_UNIQUEID" val="3740"/>
</p:tagLst>
</file>

<file path=ppt/tags/tag84.xml><?xml version="1.0" encoding="utf-8"?>
<p:tagLst xmlns:p="http://schemas.openxmlformats.org/presentationml/2006/main">
  <p:tag name="AS_UNIQUEID" val="3001"/>
</p:tagLst>
</file>

<file path=ppt/tags/tag840.xml><?xml version="1.0" encoding="utf-8"?>
<p:tagLst xmlns:p="http://schemas.openxmlformats.org/presentationml/2006/main">
  <p:tag name="AS_UNIQUEID" val="3741"/>
</p:tagLst>
</file>

<file path=ppt/tags/tag841.xml><?xml version="1.0" encoding="utf-8"?>
<p:tagLst xmlns:p="http://schemas.openxmlformats.org/presentationml/2006/main">
  <p:tag name="AS_UNIQUEID" val="3742"/>
</p:tagLst>
</file>

<file path=ppt/tags/tag842.xml><?xml version="1.0" encoding="utf-8"?>
<p:tagLst xmlns:p="http://schemas.openxmlformats.org/presentationml/2006/main">
  <p:tag name="AS_UNIQUEID" val="3743"/>
</p:tagLst>
</file>

<file path=ppt/tags/tag843.xml><?xml version="1.0" encoding="utf-8"?>
<p:tagLst xmlns:p="http://schemas.openxmlformats.org/presentationml/2006/main">
  <p:tag name="AS_UNIQUEID" val="3744"/>
</p:tagLst>
</file>

<file path=ppt/tags/tag844.xml><?xml version="1.0" encoding="utf-8"?>
<p:tagLst xmlns:p="http://schemas.openxmlformats.org/presentationml/2006/main">
  <p:tag name="AS_UNIQUEID" val="3745"/>
</p:tagLst>
</file>

<file path=ppt/tags/tag845.xml><?xml version="1.0" encoding="utf-8"?>
<p:tagLst xmlns:p="http://schemas.openxmlformats.org/presentationml/2006/main">
  <p:tag name="AS_UNIQUEID" val="3746"/>
</p:tagLst>
</file>

<file path=ppt/tags/tag846.xml><?xml version="1.0" encoding="utf-8"?>
<p:tagLst xmlns:p="http://schemas.openxmlformats.org/presentationml/2006/main">
  <p:tag name="AS_UNIQUEID" val="3747"/>
</p:tagLst>
</file>

<file path=ppt/tags/tag847.xml><?xml version="1.0" encoding="utf-8"?>
<p:tagLst xmlns:p="http://schemas.openxmlformats.org/presentationml/2006/main">
  <p:tag name="AS_UNIQUEID" val="3748"/>
</p:tagLst>
</file>

<file path=ppt/tags/tag848.xml><?xml version="1.0" encoding="utf-8"?>
<p:tagLst xmlns:p="http://schemas.openxmlformats.org/presentationml/2006/main">
  <p:tag name="AS_UNIQUEID" val="3749"/>
</p:tagLst>
</file>

<file path=ppt/tags/tag849.xml><?xml version="1.0" encoding="utf-8"?>
<p:tagLst xmlns:p="http://schemas.openxmlformats.org/presentationml/2006/main">
  <p:tag name="AS_UNIQUEID" val="3750"/>
</p:tagLst>
</file>

<file path=ppt/tags/tag85.xml><?xml version="1.0" encoding="utf-8"?>
<p:tagLst xmlns:p="http://schemas.openxmlformats.org/presentationml/2006/main">
  <p:tag name="AS_UNIQUEID" val="3002"/>
</p:tagLst>
</file>

<file path=ppt/tags/tag850.xml><?xml version="1.0" encoding="utf-8"?>
<p:tagLst xmlns:p="http://schemas.openxmlformats.org/presentationml/2006/main">
  <p:tag name="AS_UNIQUEID" val="3751"/>
</p:tagLst>
</file>

<file path=ppt/tags/tag851.xml><?xml version="1.0" encoding="utf-8"?>
<p:tagLst xmlns:p="http://schemas.openxmlformats.org/presentationml/2006/main">
  <p:tag name="AS_NET" val="4.0.30319.42000"/>
  <p:tag name="AS_OS" val="Microsoft Windows NT 10.0.22621.0"/>
  <p:tag name="AS_RELEASE_DATE" val="2021.03.14"/>
  <p:tag name="AS_TITLE" val="Aspose.Slides for .NET 4.0 Client Profile"/>
  <p:tag name="AS_VERSION" val="21.3"/>
  <p:tag name="THINKCELLUNDODONOTDELETE" val="0"/>
</p:tagLst>
</file>

<file path=ppt/tags/tag86.xml><?xml version="1.0" encoding="utf-8"?>
<p:tagLst xmlns:p="http://schemas.openxmlformats.org/presentationml/2006/main">
  <p:tag name="AS_UNIQUEID" val="3003"/>
</p:tagLst>
</file>

<file path=ppt/tags/tag87.xml><?xml version="1.0" encoding="utf-8"?>
<p:tagLst xmlns:p="http://schemas.openxmlformats.org/presentationml/2006/main">
  <p:tag name="AS_UNIQUEID" val="3004"/>
</p:tagLst>
</file>

<file path=ppt/tags/tag88.xml><?xml version="1.0" encoding="utf-8"?>
<p:tagLst xmlns:p="http://schemas.openxmlformats.org/presentationml/2006/main">
  <p:tag name="AS_UNIQUEID" val="3005"/>
</p:tagLst>
</file>

<file path=ppt/tags/tag89.xml><?xml version="1.0" encoding="utf-8"?>
<p:tagLst xmlns:p="http://schemas.openxmlformats.org/presentationml/2006/main">
  <p:tag name="AS_UNIQUEID" val="3006"/>
</p:tagLst>
</file>

<file path=ppt/tags/tag9.xml><?xml version="1.0" encoding="utf-8"?>
<p:tagLst xmlns:p="http://schemas.openxmlformats.org/presentationml/2006/main">
  <p:tag name="AS_UNIQUEID" val="2926"/>
</p:tagLst>
</file>

<file path=ppt/tags/tag90.xml><?xml version="1.0" encoding="utf-8"?>
<p:tagLst xmlns:p="http://schemas.openxmlformats.org/presentationml/2006/main">
  <p:tag name="AS_UNIQUEID" val="3007"/>
</p:tagLst>
</file>

<file path=ppt/tags/tag91.xml><?xml version="1.0" encoding="utf-8"?>
<p:tagLst xmlns:p="http://schemas.openxmlformats.org/presentationml/2006/main">
  <p:tag name="AS_UNIQUEID" val="3008"/>
</p:tagLst>
</file>

<file path=ppt/tags/tag92.xml><?xml version="1.0" encoding="utf-8"?>
<p:tagLst xmlns:p="http://schemas.openxmlformats.org/presentationml/2006/main">
  <p:tag name="AS_UNIQUEID" val="3009"/>
</p:tagLst>
</file>

<file path=ppt/tags/tag93.xml><?xml version="1.0" encoding="utf-8"?>
<p:tagLst xmlns:p="http://schemas.openxmlformats.org/presentationml/2006/main">
  <p:tag name="AS_UNIQUEID" val="3010"/>
</p:tagLst>
</file>

<file path=ppt/tags/tag94.xml><?xml version="1.0" encoding="utf-8"?>
<p:tagLst xmlns:p="http://schemas.openxmlformats.org/presentationml/2006/main">
  <p:tag name="AS_UNIQUEID" val="3011"/>
</p:tagLst>
</file>

<file path=ppt/tags/tag95.xml><?xml version="1.0" encoding="utf-8"?>
<p:tagLst xmlns:p="http://schemas.openxmlformats.org/presentationml/2006/main">
  <p:tag name="AS_UNIQUEID" val="3012"/>
</p:tagLst>
</file>

<file path=ppt/tags/tag96.xml><?xml version="1.0" encoding="utf-8"?>
<p:tagLst xmlns:p="http://schemas.openxmlformats.org/presentationml/2006/main">
  <p:tag name="AS_UNIQUEID" val="3013"/>
</p:tagLst>
</file>

<file path=ppt/tags/tag97.xml><?xml version="1.0" encoding="utf-8"?>
<p:tagLst xmlns:p="http://schemas.openxmlformats.org/presentationml/2006/main">
  <p:tag name="AS_UNIQUEID" val="3014"/>
</p:tagLst>
</file>

<file path=ppt/tags/tag98.xml><?xml version="1.0" encoding="utf-8"?>
<p:tagLst xmlns:p="http://schemas.openxmlformats.org/presentationml/2006/main">
  <p:tag name="AS_UNIQUEID" val="3015"/>
</p:tagLst>
</file>

<file path=ppt/tags/tag99.xml><?xml version="1.0" encoding="utf-8"?>
<p:tagLst xmlns:p="http://schemas.openxmlformats.org/presentationml/2006/main">
  <p:tag name="AS_UNIQUEID" val="3016"/>
</p:tagLst>
</file>

<file path=ppt/theme/theme1.xml><?xml version="1.0" encoding="utf-8"?>
<a:theme xmlns:r="http://schemas.openxmlformats.org/officeDocument/2006/relationships" xmlns:a="http://schemas.openxmlformats.org/drawingml/2006/main" name="Office Theme">
  <a:themeElements>
    <a:clrScheme name="Custom 5">
      <a:dk1>
        <a:sysClr val="windowText" lastClr="000000"/>
      </a:dk1>
      <a:lt1>
        <a:sysClr val="window" lastClr="FFFFFF"/>
      </a:lt1>
      <a:dk2>
        <a:srgbClr val="00292E"/>
      </a:dk2>
      <a:lt2>
        <a:srgbClr val="64B2C1"/>
      </a:lt2>
      <a:accent1>
        <a:srgbClr val="F0CDA1"/>
      </a:accent1>
      <a:accent2>
        <a:srgbClr val="107082"/>
      </a:accent2>
      <a:accent3>
        <a:srgbClr val="054854"/>
      </a:accent3>
      <a:accent4>
        <a:srgbClr val="00AEEF"/>
      </a:accent4>
      <a:accent5>
        <a:srgbClr val="F99927"/>
      </a:accent5>
      <a:accent6>
        <a:srgbClr val="EC7216"/>
      </a:accent6>
      <a:hlink>
        <a:srgbClr val="D27405"/>
      </a:hlink>
      <a:folHlink>
        <a:srgbClr val="000000"/>
      </a:folHlink>
    </a:clrScheme>
    <a:fontScheme name="Custom 25">
      <a:majorFont>
        <a:latin typeface="Gill Sans MT"/>
        <a:ea typeface="Arial"/>
        <a:cs typeface="Arial"/>
      </a:majorFont>
      <a:minorFont>
        <a:latin typeface="Arial 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TM23188392_Professional services pitch deck_SL_V1.potx" id="{A16A60D7-542B-43C6-BB27-7BA8168B4019}" vid="{8C6CFC53-4DED-4518-8264-5814B6A3711B}"/>
    </a:ext>
  </a:extLst>
</a:theme>
</file>

<file path=ppt/theme/theme2.xml><?xml version="1.0" encoding="utf-8"?>
<a:theme xmlns:r="http://schemas.openxmlformats.org/officeDocument/2006/relationships"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r="http://schemas.openxmlformats.org/officeDocument/2006/relationships"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r="http://schemas.openxmlformats.org/officeDocument/2006/relationships"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 standalone="yes"?><Relationships xmlns="http://schemas.openxmlformats.org/package/2006/relationships"><Relationship Id="rId1" Type="http://schemas.openxmlformats.org/officeDocument/2006/relationships/customXmlProps" Target="itemProps1.xml" /></Relationships>
</file>

<file path=customXml/_rels/item2.xml.rels>&#65279;<?xml version="1.0" encoding="utf-8" standalone="yes"?><Relationships xmlns="http://schemas.openxmlformats.org/package/2006/relationships"><Relationship Id="rId1" Type="http://schemas.openxmlformats.org/officeDocument/2006/relationships/customXmlProps" Target="itemProps2.xml" /></Relationships>
</file>

<file path=customXml/_rels/item3.xml.rels>&#65279;<?xml version="1.0" encoding="utf-8" standalone="yes"?><Relationships xmlns="http://schemas.openxmlformats.org/package/2006/relationships"><Relationship Id="rId1" Type="http://schemas.openxmlformats.org/officeDocument/2006/relationships/customXmlProps" Target="itemProps3.xml" /></Relationships>
</file>

<file path=customXml/_rels/item4.xml.rels>&#65279;<?xml version="1.0" encoding="utf-8" standalone="yes"?><Relationships xmlns="http://schemas.openxmlformats.org/package/2006/relationships"><Relationship Id="rId1" Type="http://schemas.openxmlformats.org/officeDocument/2006/relationships/customXmlProps" Target="itemProps4.xml" /></Relationships>
</file>

<file path=customXml/item1.xml>��< ? x m l   v e r s i o n = " 1 . 0 "   e n c o d i n g = " u t f - 1 6 " ? > < p r o p e r t i e s   x m l n s = " h t t p : / / w w w . i m a n a g e . c o m / w o r k / x m l s c h e m a " >  
     < d o c u m e n t i d > O G L E T R E E ! 8 7 3 4 6 8 4 7 . 1 < / d o c u m e n t i d >  
     < s e n d e r i d > W I Y D 8 0 6 8 < / s e n d e r i d >  
     < s e n d e r e m a i l > J A M I . W I Y D A @ O G L E T R E E D E A K I N S . C O M < / s e n d e r e m a i l >  
     < l a s t m o d i f i e d > 2 0 2 5 - 0 1 - 0 3 T 1 3 : 3 9 : 5 2 . 0 0 0 0 0 0 0 - 0 5 : 0 0 < / l a s t m o d i f i e d >  
     < d a t a b a s e > O G L E T R E E < / d a t a b a s e >  
 < / p r o p e r t i e s > 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e8df1450-8e28-48cf-b599-c9e91c6de9f9">
      <Value>Templates</Value>
    </Category>
    <TaxCatchAll xmlns="6ac50d4a-bb12-4184-9d9a-686bec9743fc">
      <Value>410</Value>
    </TaxCatchAl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4B70F88C60144E8DC7DFCB84809370" ma:contentTypeVersion="18" ma:contentTypeDescription="Create a new document." ma:contentTypeScope="" ma:versionID="6f66a02ffb3a68e526ca7fb7d97afc6e">
  <xsd:schema xmlns:xsd="http://www.w3.org/2001/XMLSchema" xmlns:xs="http://www.w3.org/2001/XMLSchema" xmlns:p="http://schemas.microsoft.com/office/2006/metadata/properties" xmlns:ns2="6ac50d4a-bb12-4184-9d9a-686bec9743fc" xmlns:ns3="e8df1450-8e28-48cf-b599-c9e91c6de9f9" targetNamespace="http://schemas.microsoft.com/office/2006/metadata/properties" ma:root="true" ma:fieldsID="53429b852f0c98e3ea5441e4a44cc7dc" ns2:_="" ns3:_="">
    <xsd:import namespace="6ac50d4a-bb12-4184-9d9a-686bec9743fc"/>
    <xsd:import namespace="e8df1450-8e28-48cf-b599-c9e91c6de9f9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3:Categor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c50d4a-bb12-4184-9d9a-686bec9743fc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806414af-61e6-4601-addb-0e44ab5c5751}" ma:internalName="TaxCatchAll" ma:showField="CatchAllData" ma:web="6ac50d4a-bb12-4184-9d9a-686bec9743f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df1450-8e28-48cf-b599-c9e91c6de9f9" elementFormDefault="qualified">
    <xsd:import namespace="http://schemas.microsoft.com/office/2006/documentManagement/types"/>
    <xsd:import namespace="http://schemas.microsoft.com/office/infopath/2007/PartnerControls"/>
    <xsd:element name="Category" ma:index="9" nillable="true" ma:displayName="Category" ma:format="Dropdown" ma:internalName="Category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bout Us"/>
                    <xsd:enumeration value="Ad-CreativeProj"/>
                    <xsd:enumeration value="Aderant"/>
                    <xsd:enumeration value="Agenda"/>
                    <xsd:enumeration value="Alternate Rates Review"/>
                    <xsd:enumeration value="Article"/>
                    <xsd:enumeration value="Attachment-News"/>
                    <xsd:enumeration value="Audit Requests"/>
                    <xsd:enumeration value="Benefits"/>
                    <xsd:enumeration value="Benefits Enrollment"/>
                    <xsd:enumeration value="Benefits Notification"/>
                    <xsd:enumeration value="BillBack"/>
                    <xsd:enumeration value="Billing"/>
                    <xsd:enumeration value="Blog"/>
                    <xsd:enumeration value="BNA"/>
                    <xsd:enumeration value="Brochures"/>
                    <xsd:enumeration value="Checklists"/>
                    <xsd:enumeration value="CLE - Continuing Legal Ed"/>
                    <xsd:enumeration value="Client Communications"/>
                    <xsd:enumeration value="Codes"/>
                    <xsd:enumeration value="Codes-Activity&amp;Task"/>
                    <xsd:enumeration value="Communication and Reports"/>
                    <xsd:enumeration value="Compose"/>
                    <xsd:enumeration value="CR - Credit Card"/>
                    <xsd:enumeration value="CR - Expense"/>
                    <xsd:enumeration value="CR - Invoice"/>
                    <xsd:enumeration value="Direct Deposit"/>
                    <xsd:enumeration value="Discussion Questions"/>
                    <xsd:enumeration value="Docketing"/>
                    <xsd:enumeration value="Documentation"/>
                    <xsd:enumeration value="eBilling"/>
                    <xsd:enumeration value="Education"/>
                    <xsd:enumeration value="EEO Advantage"/>
                    <xsd:enumeration value="Events"/>
                    <xsd:enumeration value="Expense Reimbursements"/>
                    <xsd:enumeration value="Extracts"/>
                    <xsd:enumeration value="Firm Leadership"/>
                    <xsd:enumeration value="Forms"/>
                    <xsd:enumeration value="General"/>
                    <xsd:enumeration value="Guidebooks"/>
                    <xsd:enumeration value="Guidelines"/>
                    <xsd:enumeration value="Hotels"/>
                    <xsd:enumeration value="IA Reports"/>
                    <xsd:enumeration value="IA Training"/>
                    <xsd:enumeration value="Immigration Billing"/>
                    <xsd:enumeration value="IntelliCase"/>
                    <xsd:enumeration value="InterAction"/>
                    <xsd:enumeration value="InterCall"/>
                    <xsd:enumeration value="International"/>
                    <xsd:enumeration value="Invoices"/>
                    <xsd:enumeration value="KARLOS"/>
                    <xsd:enumeration value="Labor Law Solutions"/>
                    <xsd:enumeration value="Lawcountability"/>
                    <xsd:enumeration value="LECE"/>
                    <xsd:enumeration value="LegalMation"/>
                    <xsd:enumeration value="Lexis"/>
                    <xsd:enumeration value="Licensing"/>
                    <xsd:enumeration value="Logos"/>
                    <xsd:enumeration value="Manzama"/>
                    <xsd:enumeration value="Maps"/>
                    <xsd:enumeration value="Marketing"/>
                    <xsd:enumeration value="Matter Budgeting"/>
                    <xsd:enumeration value="Matter Planning"/>
                    <xsd:enumeration value="Membership List"/>
                    <xsd:enumeration value="Metrics"/>
                    <xsd:enumeration value="Newsletter"/>
                    <xsd:enumeration value="ODConnect"/>
                    <xsd:enumeration value="ODPro"/>
                    <xsd:enumeration value="ODSearch"/>
                    <xsd:enumeration value="ODWIN"/>
                    <xsd:enumeration value="Open Enrollment"/>
                    <xsd:enumeration value="Org Chart"/>
                    <xsd:enumeration value="Overview"/>
                    <xsd:enumeration value="PACER/ECF"/>
                    <xsd:enumeration value="Payroll"/>
                    <xsd:enumeration value="PHI - Protected Health Information"/>
                    <xsd:enumeration value="Policy"/>
                    <xsd:enumeration value="Post-Matter Review"/>
                    <xsd:enumeration value="Presentations"/>
                    <xsd:enumeration value="Pricing"/>
                    <xsd:enumeration value="Procedures"/>
                    <xsd:enumeration value="Proformas"/>
                    <xsd:enumeration value="Promotions"/>
                    <xsd:enumeration value="Publications"/>
                    <xsd:enumeration value="Questionnaire"/>
                    <xsd:enumeration value="Quick Checks"/>
                    <xsd:enumeration value="Quick Reports"/>
                    <xsd:enumeration value="QuickBits"/>
                    <xsd:enumeration value="Rates"/>
                    <xsd:enumeration value="Recommended Reading"/>
                    <xsd:enumeration value="Remote Access"/>
                    <xsd:enumeration value="Research Services"/>
                    <xsd:enumeration value="Resources"/>
                    <xsd:enumeration value="RFPs &amp; Pitches"/>
                    <xsd:enumeration value="Samples"/>
                    <xsd:enumeration value="Scoping and Pricing"/>
                    <xsd:enumeration value="Security"/>
                    <xsd:enumeration value="Seminar Tools"/>
                    <xsd:enumeration value="Shareholder Meeting"/>
                    <xsd:enumeration value="Shareholder Onboarding"/>
                    <xsd:enumeration value="Talking Points"/>
                    <xsd:enumeration value="Task Codes"/>
                    <xsd:enumeration value="Tech Tune-Up"/>
                    <xsd:enumeration value="Templates"/>
                    <xsd:enumeration value="Timekeeping"/>
                    <xsd:enumeration value="Toolkit"/>
                    <xsd:enumeration value="Training"/>
                    <xsd:enumeration value="Trust"/>
                    <xsd:enumeration value="UltiPro"/>
                    <xsd:enumeration value="UMUC Alliance"/>
                    <xsd:enumeration value="Uploads"/>
                    <xsd:enumeration value="Vendors"/>
                    <xsd:enumeration value="Video"/>
                    <xsd:enumeration value="Webinar"/>
                    <xsd:enumeration value="Webview"/>
                    <xsd:enumeration value="Well-Being"/>
                    <xsd:enumeration value="Westlaw"/>
                    <xsd:enumeration value="Wire Transfers"/>
                    <xsd:enumeration value="Workflow"/>
                    <xsd:enumeration value="Workplace Strategies"/>
                    <xsd:enumeration value="Xcelerate"/>
                    <xsd:enumeration value="Handout"/>
                    <xsd:enumeration value="Business Resource Group (BRG)"/>
                  </xsd:restriction>
                </xsd:simple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9A07B8-B05F-475A-96C6-5E96911D71F9}">
  <ds:schemaRefs>
    <ds:schemaRef ds:uri="http://www.imanage.com/work/xmlschema"/>
  </ds:schemaRefs>
</ds:datastoreItem>
</file>

<file path=customXml/itemProps2.xml><?xml version="1.0" encoding="utf-8"?>
<ds:datastoreItem xmlns:ds="http://schemas.openxmlformats.org/officeDocument/2006/customXml" ds:itemID="{171946EF-A3EA-4ECB-8D9A-56C36FFF4075}">
  <ds:schemaRefs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e8df1450-8e28-48cf-b599-c9e91c6de9f9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6ac50d4a-bb12-4184-9d9a-686bec9743fc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72DAF9E5-DED4-4A50-A81B-4CC218A03F2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3E0CB12-F756-4869-AF06-F05221EFB7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ac50d4a-bb12-4184-9d9a-686bec9743fc"/>
    <ds:schemaRef ds:uri="e8df1450-8e28-48cf-b599-c9e91c6de9f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:vt="http://schemas.openxmlformats.org/officeDocument/2006/docPropsVTypes" xmlns="http://schemas.openxmlformats.org/officeDocument/2006/extended-properties">
  <Template>Professional services pitch deck</Template>
  <Company/>
  <PresentationFormat>Widescreen</PresentationFormat>
  <Paragraphs>0</Paragraphs>
  <Slides>0</Slides>
  <Notes>0</Notes>
  <TotalTime>0</TotalTime>
  <HiddenSlides>0</HiddenSlides>
  <MMClips>0</MMClips>
  <ScaleCrop>0</ScaleCrop>
  <LinksUpToDate>0</LinksUpToDate>
  <SharedDoc>0</SharedDoc>
  <HyperlinksChanged>0</HyperlinksChanged>
  <Application>Aspose.Slides for .NET</Application>
  <AppVersion>21.0300</AppVersion>
</Properties>
</file>

<file path=docProps/core.xml><?xml version="1.0" encoding="utf-8"?>
<cp:coreProperties xmlns:dc="http://purl.org/dc/elements/1.1/" xmlns:dcterms="http://purl.org/dc/terms/" xmlns:dcmitype="http://purl.org/dc/dcmitype/" xmlns:xsi="http://www.w3.org/2001/XMLSchema-instance" xmlns:cp="http://schemas.openxmlformats.org/package/2006/metadata/core-properties">
  <cp:revision>1</cp:revision>
  <dcterms:created xsi:type="dcterms:W3CDTF">1601-01-01T00:00:00Z</dcterms:created>
  <dcterms:modified xsi:type="dcterms:W3CDTF">1601-01-01T00:00:00Z</dcterms:modified>
</cp:coreProperties>
</file>

<file path=docProps/custom.xml><?xml version="1.0" encoding="utf-8"?>
<Properties xmlns:vt="http://schemas.openxmlformats.org/officeDocument/2006/docPropsVTypes" xmlns="http://schemas.openxmlformats.org/officeDocument/2006/custom-properties"/>
</file>